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ebp" ContentType="image/webp"/>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2" r:id="rId4"/>
    <p:sldMasterId id="2147483929" r:id="rId5"/>
    <p:sldMasterId id="2147483785" r:id="rId6"/>
    <p:sldMasterId id="2147483660" r:id="rId7"/>
    <p:sldMasterId id="2147483677" r:id="rId8"/>
    <p:sldMasterId id="2147483664" r:id="rId9"/>
    <p:sldMasterId id="2147483648" r:id="rId10"/>
  </p:sldMasterIdLst>
  <p:notesMasterIdLst>
    <p:notesMasterId r:id="rId47"/>
  </p:notesMasterIdLst>
  <p:handoutMasterIdLst>
    <p:handoutMasterId r:id="rId48"/>
  </p:handoutMasterIdLst>
  <p:sldIdLst>
    <p:sldId id="465" r:id="rId11"/>
    <p:sldId id="470" r:id="rId12"/>
    <p:sldId id="467" r:id="rId13"/>
    <p:sldId id="466" r:id="rId14"/>
    <p:sldId id="284" r:id="rId15"/>
    <p:sldId id="257" r:id="rId16"/>
    <p:sldId id="471" r:id="rId17"/>
    <p:sldId id="256" r:id="rId18"/>
    <p:sldId id="448" r:id="rId19"/>
    <p:sldId id="289" r:id="rId20"/>
    <p:sldId id="290" r:id="rId21"/>
    <p:sldId id="291" r:id="rId22"/>
    <p:sldId id="4678" r:id="rId23"/>
    <p:sldId id="4679" r:id="rId24"/>
    <p:sldId id="4680" r:id="rId25"/>
    <p:sldId id="4670" r:id="rId26"/>
    <p:sldId id="4671" r:id="rId27"/>
    <p:sldId id="292" r:id="rId28"/>
    <p:sldId id="4681" r:id="rId29"/>
    <p:sldId id="462" r:id="rId30"/>
    <p:sldId id="449" r:id="rId31"/>
    <p:sldId id="436" r:id="rId32"/>
    <p:sldId id="299" r:id="rId33"/>
    <p:sldId id="300" r:id="rId34"/>
    <p:sldId id="298" r:id="rId35"/>
    <p:sldId id="446" r:id="rId36"/>
    <p:sldId id="445" r:id="rId37"/>
    <p:sldId id="444" r:id="rId38"/>
    <p:sldId id="443" r:id="rId39"/>
    <p:sldId id="442" r:id="rId40"/>
    <p:sldId id="441" r:id="rId41"/>
    <p:sldId id="440" r:id="rId42"/>
    <p:sldId id="469" r:id="rId43"/>
    <p:sldId id="4683" r:id="rId44"/>
    <p:sldId id="4682" r:id="rId45"/>
    <p:sldId id="439" r:id="rId46"/>
  </p:sldIdLst>
  <p:sldSz cx="12188825"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3AA6D4B5-A077-45B9-BD7C-DC226935FB00}">
          <p14:sldIdLst>
            <p14:sldId id="465"/>
            <p14:sldId id="470"/>
            <p14:sldId id="467"/>
            <p14:sldId id="466"/>
            <p14:sldId id="284"/>
            <p14:sldId id="257"/>
            <p14:sldId id="471"/>
            <p14:sldId id="256"/>
            <p14:sldId id="448"/>
            <p14:sldId id="289"/>
            <p14:sldId id="290"/>
            <p14:sldId id="291"/>
            <p14:sldId id="4678"/>
            <p14:sldId id="4679"/>
            <p14:sldId id="4680"/>
            <p14:sldId id="4670"/>
            <p14:sldId id="4671"/>
            <p14:sldId id="292"/>
            <p14:sldId id="4681"/>
          </p14:sldIdLst>
        </p14:section>
        <p14:section name="Template Layouts" id="{17427A44-4DCE-4ECD-91F8-0FF90B009E8E}">
          <p14:sldIdLst>
            <p14:sldId id="462"/>
            <p14:sldId id="449"/>
            <p14:sldId id="436"/>
            <p14:sldId id="299"/>
            <p14:sldId id="300"/>
            <p14:sldId id="298"/>
            <p14:sldId id="446"/>
            <p14:sldId id="445"/>
            <p14:sldId id="444"/>
            <p14:sldId id="443"/>
            <p14:sldId id="442"/>
            <p14:sldId id="441"/>
            <p14:sldId id="440"/>
            <p14:sldId id="469"/>
            <p14:sldId id="4683"/>
            <p14:sldId id="4682"/>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rie Gabucan" initials="VG" lastIdx="1" clrIdx="0">
    <p:extLst>
      <p:ext uri="{19B8F6BF-5375-455C-9EA6-DF929625EA0E}">
        <p15:presenceInfo xmlns:p15="http://schemas.microsoft.com/office/powerpoint/2012/main" userId="S::valerie.gabucan@slidegenius.com::9a8cc9be-a2df-4d36-b8d0-36deb011f0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BB26"/>
    <a:srgbClr val="DEDEDE"/>
    <a:srgbClr val="D5D5D6"/>
    <a:srgbClr val="A3AEAE"/>
    <a:srgbClr val="58595B"/>
    <a:srgbClr val="DFE3E3"/>
    <a:srgbClr val="0067DF"/>
    <a:srgbClr val="9AA4AD"/>
    <a:srgbClr val="8C8D90"/>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7E3757-E652-9148-81DC-E0AE977BCB51}" v="19" dt="2022-11-21T10:57:51.398"/>
    <p1510:client id="{285A2AB8-9A3F-4BD5-2D5C-55B572CF93AE}" v="5" dt="2022-11-03T06:54:28.295"/>
    <p1510:client id="{7CCFAD98-EA6A-90C5-B8DA-40ADBD1FA4D7}" v="61" dt="2023-04-19T05:15:19.387"/>
    <p1510:client id="{A5E3C8C9-19C4-96F3-7DF1-9262D5BDD101}" v="266" dt="2023-04-19T07:43:56.467"/>
    <p1510:client id="{E2210F76-690C-67FD-E3A6-B7CBCF1A4E95}" v="10" dt="2023-04-18T14:36:48.164"/>
    <p1510:client id="{E3BE4677-6FB8-405A-B21A-02788950C409}" v="4" dt="2022-11-03T05:58:47.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dhavi Singh" userId="S::500085697@stu.upes.ac.in::fad78aed-70f4-4abe-b12d-7c4a44de9aa6" providerId="AD" clId="Web-{7CCFAD98-EA6A-90C5-B8DA-40ADBD1FA4D7}"/>
    <pc:docChg chg="delSld modSld modSection">
      <pc:chgData name="Medhavi Singh" userId="S::500085697@stu.upes.ac.in::fad78aed-70f4-4abe-b12d-7c4a44de9aa6" providerId="AD" clId="Web-{7CCFAD98-EA6A-90C5-B8DA-40ADBD1FA4D7}" dt="2023-04-19T05:15:19.387" v="58"/>
      <pc:docMkLst>
        <pc:docMk/>
      </pc:docMkLst>
      <pc:sldChg chg="addSp modSp">
        <pc:chgData name="Medhavi Singh" userId="S::500085697@stu.upes.ac.in::fad78aed-70f4-4abe-b12d-7c4a44de9aa6" providerId="AD" clId="Web-{7CCFAD98-EA6A-90C5-B8DA-40ADBD1FA4D7}" dt="2023-04-19T05:08:07.231" v="12" actId="1076"/>
        <pc:sldMkLst>
          <pc:docMk/>
          <pc:sldMk cId="2392129436" sldId="256"/>
        </pc:sldMkLst>
        <pc:picChg chg="add mod">
          <ac:chgData name="Medhavi Singh" userId="S::500085697@stu.upes.ac.in::fad78aed-70f4-4abe-b12d-7c4a44de9aa6" providerId="AD" clId="Web-{7CCFAD98-EA6A-90C5-B8DA-40ADBD1FA4D7}" dt="2023-04-19T05:08:07.231" v="12" actId="1076"/>
          <ac:picMkLst>
            <pc:docMk/>
            <pc:sldMk cId="2392129436" sldId="256"/>
            <ac:picMk id="3" creationId="{405D21CB-A222-0AE0-7753-50F69B5062C9}"/>
          </ac:picMkLst>
        </pc:picChg>
      </pc:sldChg>
      <pc:sldChg chg="addSp">
        <pc:chgData name="Medhavi Singh" userId="S::500085697@stu.upes.ac.in::fad78aed-70f4-4abe-b12d-7c4a44de9aa6" providerId="AD" clId="Web-{7CCFAD98-EA6A-90C5-B8DA-40ADBD1FA4D7}" dt="2023-04-19T05:07:22.995" v="5"/>
        <pc:sldMkLst>
          <pc:docMk/>
          <pc:sldMk cId="2060487043" sldId="284"/>
        </pc:sldMkLst>
        <pc:picChg chg="add">
          <ac:chgData name="Medhavi Singh" userId="S::500085697@stu.upes.ac.in::fad78aed-70f4-4abe-b12d-7c4a44de9aa6" providerId="AD" clId="Web-{7CCFAD98-EA6A-90C5-B8DA-40ADBD1FA4D7}" dt="2023-04-19T05:07:22.995" v="5"/>
          <ac:picMkLst>
            <pc:docMk/>
            <pc:sldMk cId="2060487043" sldId="284"/>
            <ac:picMk id="3" creationId="{9B0A35ED-2E51-F38D-3CB3-E045CC79BDBF}"/>
          </ac:picMkLst>
        </pc:picChg>
      </pc:sldChg>
      <pc:sldChg chg="addSp">
        <pc:chgData name="Medhavi Singh" userId="S::500085697@stu.upes.ac.in::fad78aed-70f4-4abe-b12d-7c4a44de9aa6" providerId="AD" clId="Web-{7CCFAD98-EA6A-90C5-B8DA-40ADBD1FA4D7}" dt="2023-04-19T05:08:49.795" v="17"/>
        <pc:sldMkLst>
          <pc:docMk/>
          <pc:sldMk cId="3045896803" sldId="289"/>
        </pc:sldMkLst>
        <pc:picChg chg="add">
          <ac:chgData name="Medhavi Singh" userId="S::500085697@stu.upes.ac.in::fad78aed-70f4-4abe-b12d-7c4a44de9aa6" providerId="AD" clId="Web-{7CCFAD98-EA6A-90C5-B8DA-40ADBD1FA4D7}" dt="2023-04-19T05:08:49.795" v="17"/>
          <ac:picMkLst>
            <pc:docMk/>
            <pc:sldMk cId="3045896803" sldId="289"/>
            <ac:picMk id="3" creationId="{FB3170DC-9DBF-21FA-C970-3A495498216F}"/>
          </ac:picMkLst>
        </pc:picChg>
      </pc:sldChg>
      <pc:sldChg chg="addSp modSp">
        <pc:chgData name="Medhavi Singh" userId="S::500085697@stu.upes.ac.in::fad78aed-70f4-4abe-b12d-7c4a44de9aa6" providerId="AD" clId="Web-{7CCFAD98-EA6A-90C5-B8DA-40ADBD1FA4D7}" dt="2023-04-19T05:09:55.563" v="19" actId="1076"/>
        <pc:sldMkLst>
          <pc:docMk/>
          <pc:sldMk cId="251014697" sldId="290"/>
        </pc:sldMkLst>
        <pc:picChg chg="add mod">
          <ac:chgData name="Medhavi Singh" userId="S::500085697@stu.upes.ac.in::fad78aed-70f4-4abe-b12d-7c4a44de9aa6" providerId="AD" clId="Web-{7CCFAD98-EA6A-90C5-B8DA-40ADBD1FA4D7}" dt="2023-04-19T05:09:55.563" v="19" actId="1076"/>
          <ac:picMkLst>
            <pc:docMk/>
            <pc:sldMk cId="251014697" sldId="290"/>
            <ac:picMk id="3" creationId="{C889C494-35C7-2A74-1D35-E0A0C433346D}"/>
          </ac:picMkLst>
        </pc:picChg>
      </pc:sldChg>
      <pc:sldChg chg="addSp delSp modSp">
        <pc:chgData name="Medhavi Singh" userId="S::500085697@stu.upes.ac.in::fad78aed-70f4-4abe-b12d-7c4a44de9aa6" providerId="AD" clId="Web-{7CCFAD98-EA6A-90C5-B8DA-40ADBD1FA4D7}" dt="2023-04-19T05:10:07.032" v="23"/>
        <pc:sldMkLst>
          <pc:docMk/>
          <pc:sldMk cId="704433291" sldId="291"/>
        </pc:sldMkLst>
        <pc:picChg chg="add">
          <ac:chgData name="Medhavi Singh" userId="S::500085697@stu.upes.ac.in::fad78aed-70f4-4abe-b12d-7c4a44de9aa6" providerId="AD" clId="Web-{7CCFAD98-EA6A-90C5-B8DA-40ADBD1FA4D7}" dt="2023-04-19T05:09:55.610" v="20"/>
          <ac:picMkLst>
            <pc:docMk/>
            <pc:sldMk cId="704433291" sldId="291"/>
            <ac:picMk id="3" creationId="{A4F6FB31-32B7-238C-A04F-DEC2A8671027}"/>
          </ac:picMkLst>
        </pc:picChg>
        <pc:picChg chg="add del mod">
          <ac:chgData name="Medhavi Singh" userId="S::500085697@stu.upes.ac.in::fad78aed-70f4-4abe-b12d-7c4a44de9aa6" providerId="AD" clId="Web-{7CCFAD98-EA6A-90C5-B8DA-40ADBD1FA4D7}" dt="2023-04-19T05:10:07.032" v="23"/>
          <ac:picMkLst>
            <pc:docMk/>
            <pc:sldMk cId="704433291" sldId="291"/>
            <ac:picMk id="5" creationId="{C414412D-A785-0002-2CB6-3F4846480A3A}"/>
          </ac:picMkLst>
        </pc:picChg>
      </pc:sldChg>
      <pc:sldChg chg="addSp">
        <pc:chgData name="Medhavi Singh" userId="S::500085697@stu.upes.ac.in::fad78aed-70f4-4abe-b12d-7c4a44de9aa6" providerId="AD" clId="Web-{7CCFAD98-EA6A-90C5-B8DA-40ADBD1FA4D7}" dt="2023-04-19T05:10:55.893" v="28"/>
        <pc:sldMkLst>
          <pc:docMk/>
          <pc:sldMk cId="3233265533" sldId="292"/>
        </pc:sldMkLst>
        <pc:picChg chg="add">
          <ac:chgData name="Medhavi Singh" userId="S::500085697@stu.upes.ac.in::fad78aed-70f4-4abe-b12d-7c4a44de9aa6" providerId="AD" clId="Web-{7CCFAD98-EA6A-90C5-B8DA-40ADBD1FA4D7}" dt="2023-04-19T05:10:55.893" v="28"/>
          <ac:picMkLst>
            <pc:docMk/>
            <pc:sldMk cId="3233265533" sldId="292"/>
            <ac:picMk id="12" creationId="{FEDE615A-5487-B470-DBBF-4E6E4981D4D1}"/>
          </ac:picMkLst>
        </pc:picChg>
      </pc:sldChg>
      <pc:sldChg chg="addSp">
        <pc:chgData name="Medhavi Singh" userId="S::500085697@stu.upes.ac.in::fad78aed-70f4-4abe-b12d-7c4a44de9aa6" providerId="AD" clId="Web-{7CCFAD98-EA6A-90C5-B8DA-40ADBD1FA4D7}" dt="2023-04-19T05:13:07.867" v="42"/>
        <pc:sldMkLst>
          <pc:docMk/>
          <pc:sldMk cId="2672882050" sldId="298"/>
        </pc:sldMkLst>
        <pc:picChg chg="add">
          <ac:chgData name="Medhavi Singh" userId="S::500085697@stu.upes.ac.in::fad78aed-70f4-4abe-b12d-7c4a44de9aa6" providerId="AD" clId="Web-{7CCFAD98-EA6A-90C5-B8DA-40ADBD1FA4D7}" dt="2023-04-19T05:13:07.867" v="42"/>
          <ac:picMkLst>
            <pc:docMk/>
            <pc:sldMk cId="2672882050" sldId="298"/>
            <ac:picMk id="3" creationId="{6943F300-A406-66F2-E655-E3960F6D9A8A}"/>
          </ac:picMkLst>
        </pc:picChg>
      </pc:sldChg>
      <pc:sldChg chg="addSp modSp">
        <pc:chgData name="Medhavi Singh" userId="S::500085697@stu.upes.ac.in::fad78aed-70f4-4abe-b12d-7c4a44de9aa6" providerId="AD" clId="Web-{7CCFAD98-EA6A-90C5-B8DA-40ADBD1FA4D7}" dt="2023-04-19T05:12:29.068" v="38" actId="1076"/>
        <pc:sldMkLst>
          <pc:docMk/>
          <pc:sldMk cId="1006531914" sldId="300"/>
        </pc:sldMkLst>
        <pc:picChg chg="add mod">
          <ac:chgData name="Medhavi Singh" userId="S::500085697@stu.upes.ac.in::fad78aed-70f4-4abe-b12d-7c4a44de9aa6" providerId="AD" clId="Web-{7CCFAD98-EA6A-90C5-B8DA-40ADBD1FA4D7}" dt="2023-04-19T05:12:29.068" v="38" actId="1076"/>
          <ac:picMkLst>
            <pc:docMk/>
            <pc:sldMk cId="1006531914" sldId="300"/>
            <ac:picMk id="3" creationId="{A98CB114-CE9D-A3B9-5B11-84C37CF31DFD}"/>
          </ac:picMkLst>
        </pc:picChg>
      </pc:sldChg>
      <pc:sldChg chg="addSp modSp">
        <pc:chgData name="Medhavi Singh" userId="S::500085697@stu.upes.ac.in::fad78aed-70f4-4abe-b12d-7c4a44de9aa6" providerId="AD" clId="Web-{7CCFAD98-EA6A-90C5-B8DA-40ADBD1FA4D7}" dt="2023-04-19T05:11:55.551" v="34" actId="1076"/>
        <pc:sldMkLst>
          <pc:docMk/>
          <pc:sldMk cId="3222702607" sldId="436"/>
        </pc:sldMkLst>
        <pc:picChg chg="add mod">
          <ac:chgData name="Medhavi Singh" userId="S::500085697@stu.upes.ac.in::fad78aed-70f4-4abe-b12d-7c4a44de9aa6" providerId="AD" clId="Web-{7CCFAD98-EA6A-90C5-B8DA-40ADBD1FA4D7}" dt="2023-04-19T05:11:55.551" v="34" actId="1076"/>
          <ac:picMkLst>
            <pc:docMk/>
            <pc:sldMk cId="3222702607" sldId="436"/>
            <ac:picMk id="3" creationId="{F8E0D239-606F-E8D6-7172-A8A788FC48BB}"/>
          </ac:picMkLst>
        </pc:picChg>
      </pc:sldChg>
      <pc:sldChg chg="addSp">
        <pc:chgData name="Medhavi Singh" userId="S::500085697@stu.upes.ac.in::fad78aed-70f4-4abe-b12d-7c4a44de9aa6" providerId="AD" clId="Web-{7CCFAD98-EA6A-90C5-B8DA-40ADBD1FA4D7}" dt="2023-04-19T05:15:19.387" v="58"/>
        <pc:sldMkLst>
          <pc:docMk/>
          <pc:sldMk cId="2189123842" sldId="439"/>
        </pc:sldMkLst>
        <pc:picChg chg="add">
          <ac:chgData name="Medhavi Singh" userId="S::500085697@stu.upes.ac.in::fad78aed-70f4-4abe-b12d-7c4a44de9aa6" providerId="AD" clId="Web-{7CCFAD98-EA6A-90C5-B8DA-40ADBD1FA4D7}" dt="2023-04-19T05:15:19.387" v="58"/>
          <ac:picMkLst>
            <pc:docMk/>
            <pc:sldMk cId="2189123842" sldId="439"/>
            <ac:picMk id="57348" creationId="{3BC833CF-6769-9F5F-599E-BD378D68D165}"/>
          </ac:picMkLst>
        </pc:picChg>
      </pc:sldChg>
      <pc:sldChg chg="addSp">
        <pc:chgData name="Medhavi Singh" userId="S::500085697@stu.upes.ac.in::fad78aed-70f4-4abe-b12d-7c4a44de9aa6" providerId="AD" clId="Web-{7CCFAD98-EA6A-90C5-B8DA-40ADBD1FA4D7}" dt="2023-04-19T05:14:42.229" v="53"/>
        <pc:sldMkLst>
          <pc:docMk/>
          <pc:sldMk cId="1893196021" sldId="440"/>
        </pc:sldMkLst>
        <pc:picChg chg="add">
          <ac:chgData name="Medhavi Singh" userId="S::500085697@stu.upes.ac.in::fad78aed-70f4-4abe-b12d-7c4a44de9aa6" providerId="AD" clId="Web-{7CCFAD98-EA6A-90C5-B8DA-40ADBD1FA4D7}" dt="2023-04-19T05:14:42.229" v="53"/>
          <ac:picMkLst>
            <pc:docMk/>
            <pc:sldMk cId="1893196021" sldId="440"/>
            <ac:picMk id="4" creationId="{7E699587-0678-331C-7338-811235570DB6}"/>
          </ac:picMkLst>
        </pc:picChg>
      </pc:sldChg>
      <pc:sldChg chg="addSp">
        <pc:chgData name="Medhavi Singh" userId="S::500085697@stu.upes.ac.in::fad78aed-70f4-4abe-b12d-7c4a44de9aa6" providerId="AD" clId="Web-{7CCFAD98-EA6A-90C5-B8DA-40ADBD1FA4D7}" dt="2023-04-19T05:14:37.495" v="52"/>
        <pc:sldMkLst>
          <pc:docMk/>
          <pc:sldMk cId="2337275257" sldId="441"/>
        </pc:sldMkLst>
        <pc:picChg chg="add">
          <ac:chgData name="Medhavi Singh" userId="S::500085697@stu.upes.ac.in::fad78aed-70f4-4abe-b12d-7c4a44de9aa6" providerId="AD" clId="Web-{7CCFAD98-EA6A-90C5-B8DA-40ADBD1FA4D7}" dt="2023-04-19T05:14:37.495" v="52"/>
          <ac:picMkLst>
            <pc:docMk/>
            <pc:sldMk cId="2337275257" sldId="441"/>
            <ac:picMk id="3" creationId="{33F69570-947E-7E02-D686-0E4769FD47C7}"/>
          </ac:picMkLst>
        </pc:picChg>
      </pc:sldChg>
      <pc:sldChg chg="addSp">
        <pc:chgData name="Medhavi Singh" userId="S::500085697@stu.upes.ac.in::fad78aed-70f4-4abe-b12d-7c4a44de9aa6" providerId="AD" clId="Web-{7CCFAD98-EA6A-90C5-B8DA-40ADBD1FA4D7}" dt="2023-04-19T05:14:33.041" v="51"/>
        <pc:sldMkLst>
          <pc:docMk/>
          <pc:sldMk cId="2036694233" sldId="442"/>
        </pc:sldMkLst>
        <pc:picChg chg="add">
          <ac:chgData name="Medhavi Singh" userId="S::500085697@stu.upes.ac.in::fad78aed-70f4-4abe-b12d-7c4a44de9aa6" providerId="AD" clId="Web-{7CCFAD98-EA6A-90C5-B8DA-40ADBD1FA4D7}" dt="2023-04-19T05:14:33.041" v="51"/>
          <ac:picMkLst>
            <pc:docMk/>
            <pc:sldMk cId="2036694233" sldId="442"/>
            <ac:picMk id="3" creationId="{9E07656C-A0E0-91AC-CBDE-C029FFB63A0B}"/>
          </ac:picMkLst>
        </pc:picChg>
      </pc:sldChg>
      <pc:sldChg chg="addSp">
        <pc:chgData name="Medhavi Singh" userId="S::500085697@stu.upes.ac.in::fad78aed-70f4-4abe-b12d-7c4a44de9aa6" providerId="AD" clId="Web-{7CCFAD98-EA6A-90C5-B8DA-40ADBD1FA4D7}" dt="2023-04-19T05:13:42.696" v="46"/>
        <pc:sldMkLst>
          <pc:docMk/>
          <pc:sldMk cId="2327278742" sldId="443"/>
        </pc:sldMkLst>
        <pc:picChg chg="add">
          <ac:chgData name="Medhavi Singh" userId="S::500085697@stu.upes.ac.in::fad78aed-70f4-4abe-b12d-7c4a44de9aa6" providerId="AD" clId="Web-{7CCFAD98-EA6A-90C5-B8DA-40ADBD1FA4D7}" dt="2023-04-19T05:13:42.696" v="46"/>
          <ac:picMkLst>
            <pc:docMk/>
            <pc:sldMk cId="2327278742" sldId="443"/>
            <ac:picMk id="3" creationId="{A1D6B6B8-9515-60CA-57D4-FCEF085E9884}"/>
          </ac:picMkLst>
        </pc:picChg>
      </pc:sldChg>
      <pc:sldChg chg="addSp">
        <pc:chgData name="Medhavi Singh" userId="S::500085697@stu.upes.ac.in::fad78aed-70f4-4abe-b12d-7c4a44de9aa6" providerId="AD" clId="Web-{7CCFAD98-EA6A-90C5-B8DA-40ADBD1FA4D7}" dt="2023-04-19T05:13:35.211" v="45"/>
        <pc:sldMkLst>
          <pc:docMk/>
          <pc:sldMk cId="37386696" sldId="444"/>
        </pc:sldMkLst>
        <pc:picChg chg="add">
          <ac:chgData name="Medhavi Singh" userId="S::500085697@stu.upes.ac.in::fad78aed-70f4-4abe-b12d-7c4a44de9aa6" providerId="AD" clId="Web-{7CCFAD98-EA6A-90C5-B8DA-40ADBD1FA4D7}" dt="2023-04-19T05:13:35.211" v="45"/>
          <ac:picMkLst>
            <pc:docMk/>
            <pc:sldMk cId="37386696" sldId="444"/>
            <ac:picMk id="3" creationId="{16A64B90-C01B-3D09-2CF9-5E9E65A2C0A1}"/>
          </ac:picMkLst>
        </pc:picChg>
      </pc:sldChg>
      <pc:sldChg chg="addSp">
        <pc:chgData name="Medhavi Singh" userId="S::500085697@stu.upes.ac.in::fad78aed-70f4-4abe-b12d-7c4a44de9aa6" providerId="AD" clId="Web-{7CCFAD98-EA6A-90C5-B8DA-40ADBD1FA4D7}" dt="2023-04-19T05:13:29.211" v="44"/>
        <pc:sldMkLst>
          <pc:docMk/>
          <pc:sldMk cId="912653584" sldId="445"/>
        </pc:sldMkLst>
        <pc:picChg chg="add">
          <ac:chgData name="Medhavi Singh" userId="S::500085697@stu.upes.ac.in::fad78aed-70f4-4abe-b12d-7c4a44de9aa6" providerId="AD" clId="Web-{7CCFAD98-EA6A-90C5-B8DA-40ADBD1FA4D7}" dt="2023-04-19T05:13:29.211" v="44"/>
          <ac:picMkLst>
            <pc:docMk/>
            <pc:sldMk cId="912653584" sldId="445"/>
            <ac:picMk id="3" creationId="{AF0CB8CD-5914-112B-04DC-AC4990A6484F}"/>
          </ac:picMkLst>
        </pc:picChg>
      </pc:sldChg>
      <pc:sldChg chg="addSp modSp">
        <pc:chgData name="Medhavi Singh" userId="S::500085697@stu.upes.ac.in::fad78aed-70f4-4abe-b12d-7c4a44de9aa6" providerId="AD" clId="Web-{7CCFAD98-EA6A-90C5-B8DA-40ADBD1FA4D7}" dt="2023-04-19T05:13:16.367" v="43" actId="1076"/>
        <pc:sldMkLst>
          <pc:docMk/>
          <pc:sldMk cId="3438453304" sldId="446"/>
        </pc:sldMkLst>
        <pc:picChg chg="add">
          <ac:chgData name="Medhavi Singh" userId="S::500085697@stu.upes.ac.in::fad78aed-70f4-4abe-b12d-7c4a44de9aa6" providerId="AD" clId="Web-{7CCFAD98-EA6A-90C5-B8DA-40ADBD1FA4D7}" dt="2023-04-19T05:12:52.366" v="39"/>
          <ac:picMkLst>
            <pc:docMk/>
            <pc:sldMk cId="3438453304" sldId="446"/>
            <ac:picMk id="3" creationId="{64B2B2E3-0FD3-C639-8FCF-4D433E8360AC}"/>
          </ac:picMkLst>
        </pc:picChg>
        <pc:picChg chg="add mod">
          <ac:chgData name="Medhavi Singh" userId="S::500085697@stu.upes.ac.in::fad78aed-70f4-4abe-b12d-7c4a44de9aa6" providerId="AD" clId="Web-{7CCFAD98-EA6A-90C5-B8DA-40ADBD1FA4D7}" dt="2023-04-19T05:13:16.367" v="43" actId="1076"/>
          <ac:picMkLst>
            <pc:docMk/>
            <pc:sldMk cId="3438453304" sldId="446"/>
            <ac:picMk id="5" creationId="{BFA911ED-5E54-B7AA-52B4-D68B6AE7B9B3}"/>
          </ac:picMkLst>
        </pc:picChg>
      </pc:sldChg>
      <pc:sldChg chg="addSp delSp modSp">
        <pc:chgData name="Medhavi Singh" userId="S::500085697@stu.upes.ac.in::fad78aed-70f4-4abe-b12d-7c4a44de9aa6" providerId="AD" clId="Web-{7CCFAD98-EA6A-90C5-B8DA-40ADBD1FA4D7}" dt="2023-04-19T05:08:40.451" v="16"/>
        <pc:sldMkLst>
          <pc:docMk/>
          <pc:sldMk cId="3755304205" sldId="448"/>
        </pc:sldMkLst>
        <pc:picChg chg="add">
          <ac:chgData name="Medhavi Singh" userId="S::500085697@stu.upes.ac.in::fad78aed-70f4-4abe-b12d-7c4a44de9aa6" providerId="AD" clId="Web-{7CCFAD98-EA6A-90C5-B8DA-40ADBD1FA4D7}" dt="2023-04-19T05:08:23.653" v="13"/>
          <ac:picMkLst>
            <pc:docMk/>
            <pc:sldMk cId="3755304205" sldId="448"/>
            <ac:picMk id="3" creationId="{AF9DC6C9-8CD9-5E9F-395A-E6933784D5BC}"/>
          </ac:picMkLst>
        </pc:picChg>
        <pc:picChg chg="add del mod">
          <ac:chgData name="Medhavi Singh" userId="S::500085697@stu.upes.ac.in::fad78aed-70f4-4abe-b12d-7c4a44de9aa6" providerId="AD" clId="Web-{7CCFAD98-EA6A-90C5-B8DA-40ADBD1FA4D7}" dt="2023-04-19T05:08:40.451" v="16"/>
          <ac:picMkLst>
            <pc:docMk/>
            <pc:sldMk cId="3755304205" sldId="448"/>
            <ac:picMk id="5" creationId="{1D269F56-6D1A-A52C-6FE7-03D01CB6C7FE}"/>
          </ac:picMkLst>
        </pc:picChg>
      </pc:sldChg>
      <pc:sldChg chg="addSp">
        <pc:chgData name="Medhavi Singh" userId="S::500085697@stu.upes.ac.in::fad78aed-70f4-4abe-b12d-7c4a44de9aa6" providerId="AD" clId="Web-{7CCFAD98-EA6A-90C5-B8DA-40ADBD1FA4D7}" dt="2023-04-19T05:12:57.382" v="41"/>
        <pc:sldMkLst>
          <pc:docMk/>
          <pc:sldMk cId="3678404162" sldId="449"/>
        </pc:sldMkLst>
        <pc:picChg chg="add">
          <ac:chgData name="Medhavi Singh" userId="S::500085697@stu.upes.ac.in::fad78aed-70f4-4abe-b12d-7c4a44de9aa6" providerId="AD" clId="Web-{7CCFAD98-EA6A-90C5-B8DA-40ADBD1FA4D7}" dt="2023-04-19T05:12:57.382" v="41"/>
          <ac:picMkLst>
            <pc:docMk/>
            <pc:sldMk cId="3678404162" sldId="449"/>
            <ac:picMk id="3" creationId="{89AD0026-59EB-9692-A0C3-2F10545FABBF}"/>
          </ac:picMkLst>
        </pc:picChg>
      </pc:sldChg>
      <pc:sldChg chg="addSp del">
        <pc:chgData name="Medhavi Singh" userId="S::500085697@stu.upes.ac.in::fad78aed-70f4-4abe-b12d-7c4a44de9aa6" providerId="AD" clId="Web-{7CCFAD98-EA6A-90C5-B8DA-40ADBD1FA4D7}" dt="2023-04-19T05:11:25.035" v="31"/>
        <pc:sldMkLst>
          <pc:docMk/>
          <pc:sldMk cId="1946823509" sldId="450"/>
        </pc:sldMkLst>
        <pc:picChg chg="add">
          <ac:chgData name="Medhavi Singh" userId="S::500085697@stu.upes.ac.in::fad78aed-70f4-4abe-b12d-7c4a44de9aa6" providerId="AD" clId="Web-{7CCFAD98-EA6A-90C5-B8DA-40ADBD1FA4D7}" dt="2023-04-19T05:11:14.503" v="30"/>
          <ac:picMkLst>
            <pc:docMk/>
            <pc:sldMk cId="1946823509" sldId="450"/>
            <ac:picMk id="3" creationId="{D736147A-AE67-1640-9A2F-9998AA9475C5}"/>
          </ac:picMkLst>
        </pc:picChg>
      </pc:sldChg>
      <pc:sldChg chg="del">
        <pc:chgData name="Medhavi Singh" userId="S::500085697@stu.upes.ac.in::fad78aed-70f4-4abe-b12d-7c4a44de9aa6" providerId="AD" clId="Web-{7CCFAD98-EA6A-90C5-B8DA-40ADBD1FA4D7}" dt="2023-04-19T05:14:22.307" v="50"/>
        <pc:sldMkLst>
          <pc:docMk/>
          <pc:sldMk cId="4127469300" sldId="454"/>
        </pc:sldMkLst>
      </pc:sldChg>
      <pc:sldChg chg="del">
        <pc:chgData name="Medhavi Singh" userId="S::500085697@stu.upes.ac.in::fad78aed-70f4-4abe-b12d-7c4a44de9aa6" providerId="AD" clId="Web-{7CCFAD98-EA6A-90C5-B8DA-40ADBD1FA4D7}" dt="2023-04-19T05:14:20.385" v="49"/>
        <pc:sldMkLst>
          <pc:docMk/>
          <pc:sldMk cId="1820154206" sldId="455"/>
        </pc:sldMkLst>
      </pc:sldChg>
      <pc:sldChg chg="del">
        <pc:chgData name="Medhavi Singh" userId="S::500085697@stu.upes.ac.in::fad78aed-70f4-4abe-b12d-7c4a44de9aa6" providerId="AD" clId="Web-{7CCFAD98-EA6A-90C5-B8DA-40ADBD1FA4D7}" dt="2023-04-19T05:14:15.791" v="48"/>
        <pc:sldMkLst>
          <pc:docMk/>
          <pc:sldMk cId="749872342" sldId="456"/>
        </pc:sldMkLst>
      </pc:sldChg>
      <pc:sldChg chg="del">
        <pc:chgData name="Medhavi Singh" userId="S::500085697@stu.upes.ac.in::fad78aed-70f4-4abe-b12d-7c4a44de9aa6" providerId="AD" clId="Web-{7CCFAD98-EA6A-90C5-B8DA-40ADBD1FA4D7}" dt="2023-04-19T05:14:12.838" v="47"/>
        <pc:sldMkLst>
          <pc:docMk/>
          <pc:sldMk cId="2437635237" sldId="457"/>
        </pc:sldMkLst>
      </pc:sldChg>
      <pc:sldChg chg="addSp">
        <pc:chgData name="Medhavi Singh" userId="S::500085697@stu.upes.ac.in::fad78aed-70f4-4abe-b12d-7c4a44de9aa6" providerId="AD" clId="Web-{7CCFAD98-EA6A-90C5-B8DA-40ADBD1FA4D7}" dt="2023-04-19T05:11:39.192" v="32"/>
        <pc:sldMkLst>
          <pc:docMk/>
          <pc:sldMk cId="3333929384" sldId="462"/>
        </pc:sldMkLst>
        <pc:picChg chg="add">
          <ac:chgData name="Medhavi Singh" userId="S::500085697@stu.upes.ac.in::fad78aed-70f4-4abe-b12d-7c4a44de9aa6" providerId="AD" clId="Web-{7CCFAD98-EA6A-90C5-B8DA-40ADBD1FA4D7}" dt="2023-04-19T05:11:39.192" v="32"/>
          <ac:picMkLst>
            <pc:docMk/>
            <pc:sldMk cId="3333929384" sldId="462"/>
            <ac:picMk id="9" creationId="{9B1AC45D-2BBC-2A16-DAC0-A6808448DA8D}"/>
          </ac:picMkLst>
        </pc:picChg>
      </pc:sldChg>
      <pc:sldChg chg="addSp">
        <pc:chgData name="Medhavi Singh" userId="S::500085697@stu.upes.ac.in::fad78aed-70f4-4abe-b12d-7c4a44de9aa6" providerId="AD" clId="Web-{7CCFAD98-EA6A-90C5-B8DA-40ADBD1FA4D7}" dt="2023-04-19T05:07:17.198" v="4"/>
        <pc:sldMkLst>
          <pc:docMk/>
          <pc:sldMk cId="89828776" sldId="466"/>
        </pc:sldMkLst>
        <pc:picChg chg="add">
          <ac:chgData name="Medhavi Singh" userId="S::500085697@stu.upes.ac.in::fad78aed-70f4-4abe-b12d-7c4a44de9aa6" providerId="AD" clId="Web-{7CCFAD98-EA6A-90C5-B8DA-40ADBD1FA4D7}" dt="2023-04-19T05:07:17.198" v="4"/>
          <ac:picMkLst>
            <pc:docMk/>
            <pc:sldMk cId="89828776" sldId="466"/>
            <ac:picMk id="3" creationId="{32FDB477-7BD8-1BAF-CBDA-948D7541B18F}"/>
          </ac:picMkLst>
        </pc:picChg>
      </pc:sldChg>
      <pc:sldChg chg="addSp modSp">
        <pc:chgData name="Medhavi Singh" userId="S::500085697@stu.upes.ac.in::fad78aed-70f4-4abe-b12d-7c4a44de9aa6" providerId="AD" clId="Web-{7CCFAD98-EA6A-90C5-B8DA-40ADBD1FA4D7}" dt="2023-04-19T05:07:12.182" v="3" actId="1076"/>
        <pc:sldMkLst>
          <pc:docMk/>
          <pc:sldMk cId="227240304" sldId="467"/>
        </pc:sldMkLst>
        <pc:picChg chg="add mod">
          <ac:chgData name="Medhavi Singh" userId="S::500085697@stu.upes.ac.in::fad78aed-70f4-4abe-b12d-7c4a44de9aa6" providerId="AD" clId="Web-{7CCFAD98-EA6A-90C5-B8DA-40ADBD1FA4D7}" dt="2023-04-19T05:07:12.182" v="3" actId="1076"/>
          <ac:picMkLst>
            <pc:docMk/>
            <pc:sldMk cId="227240304" sldId="467"/>
            <ac:picMk id="2" creationId="{C568994E-6FC0-D4F9-435A-CAA7A5DA2A68}"/>
          </ac:picMkLst>
        </pc:picChg>
      </pc:sldChg>
      <pc:sldChg chg="addSp modSp">
        <pc:chgData name="Medhavi Singh" userId="S::500085697@stu.upes.ac.in::fad78aed-70f4-4abe-b12d-7c4a44de9aa6" providerId="AD" clId="Web-{7CCFAD98-EA6A-90C5-B8DA-40ADBD1FA4D7}" dt="2023-04-19T05:14:53.261" v="55" actId="1076"/>
        <pc:sldMkLst>
          <pc:docMk/>
          <pc:sldMk cId="95389064" sldId="469"/>
        </pc:sldMkLst>
        <pc:picChg chg="add mod">
          <ac:chgData name="Medhavi Singh" userId="S::500085697@stu.upes.ac.in::fad78aed-70f4-4abe-b12d-7c4a44de9aa6" providerId="AD" clId="Web-{7CCFAD98-EA6A-90C5-B8DA-40ADBD1FA4D7}" dt="2023-04-19T05:14:53.261" v="55" actId="1076"/>
          <ac:picMkLst>
            <pc:docMk/>
            <pc:sldMk cId="95389064" sldId="469"/>
            <ac:picMk id="3" creationId="{7938D4F5-CEE0-CF93-849C-58A1ED327BB5}"/>
          </ac:picMkLst>
        </pc:picChg>
      </pc:sldChg>
      <pc:sldChg chg="addSp modSp">
        <pc:chgData name="Medhavi Singh" userId="S::500085697@stu.upes.ac.in::fad78aed-70f4-4abe-b12d-7c4a44de9aa6" providerId="AD" clId="Web-{7CCFAD98-EA6A-90C5-B8DA-40ADBD1FA4D7}" dt="2023-04-19T05:15:12.668" v="57" actId="1076"/>
        <pc:sldMkLst>
          <pc:docMk/>
          <pc:sldMk cId="3528570944" sldId="470"/>
        </pc:sldMkLst>
        <pc:picChg chg="add mod">
          <ac:chgData name="Medhavi Singh" userId="S::500085697@stu.upes.ac.in::fad78aed-70f4-4abe-b12d-7c4a44de9aa6" providerId="AD" clId="Web-{7CCFAD98-EA6A-90C5-B8DA-40ADBD1FA4D7}" dt="2023-04-19T05:15:12.668" v="57" actId="1076"/>
          <ac:picMkLst>
            <pc:docMk/>
            <pc:sldMk cId="3528570944" sldId="470"/>
            <ac:picMk id="3" creationId="{BD32F0DC-90A9-F3DE-30E6-8284A9BF9BC6}"/>
          </ac:picMkLst>
        </pc:picChg>
      </pc:sldChg>
      <pc:sldChg chg="addSp">
        <pc:chgData name="Medhavi Singh" userId="S::500085697@stu.upes.ac.in::fad78aed-70f4-4abe-b12d-7c4a44de9aa6" providerId="AD" clId="Web-{7CCFAD98-EA6A-90C5-B8DA-40ADBD1FA4D7}" dt="2023-04-19T05:07:54.402" v="8"/>
        <pc:sldMkLst>
          <pc:docMk/>
          <pc:sldMk cId="2737703602" sldId="471"/>
        </pc:sldMkLst>
        <pc:picChg chg="add">
          <ac:chgData name="Medhavi Singh" userId="S::500085697@stu.upes.ac.in::fad78aed-70f4-4abe-b12d-7c4a44de9aa6" providerId="AD" clId="Web-{7CCFAD98-EA6A-90C5-B8DA-40ADBD1FA4D7}" dt="2023-04-19T05:07:37.120" v="6"/>
          <ac:picMkLst>
            <pc:docMk/>
            <pc:sldMk cId="2737703602" sldId="471"/>
            <ac:picMk id="3" creationId="{0B7AA612-0DCE-4F91-FE00-AE6BCF85C70C}"/>
          </ac:picMkLst>
        </pc:picChg>
        <pc:picChg chg="add">
          <ac:chgData name="Medhavi Singh" userId="S::500085697@stu.upes.ac.in::fad78aed-70f4-4abe-b12d-7c4a44de9aa6" providerId="AD" clId="Web-{7CCFAD98-EA6A-90C5-B8DA-40ADBD1FA4D7}" dt="2023-04-19T05:07:46.746" v="7"/>
          <ac:picMkLst>
            <pc:docMk/>
            <pc:sldMk cId="2737703602" sldId="471"/>
            <ac:picMk id="6" creationId="{EA74E10E-F166-B272-09E6-54D85FBE29FA}"/>
          </ac:picMkLst>
        </pc:picChg>
        <pc:picChg chg="add">
          <ac:chgData name="Medhavi Singh" userId="S::500085697@stu.upes.ac.in::fad78aed-70f4-4abe-b12d-7c4a44de9aa6" providerId="AD" clId="Web-{7CCFAD98-EA6A-90C5-B8DA-40ADBD1FA4D7}" dt="2023-04-19T05:07:54.402" v="8"/>
          <ac:picMkLst>
            <pc:docMk/>
            <pc:sldMk cId="2737703602" sldId="471"/>
            <ac:picMk id="8" creationId="{AA6EB413-4628-E596-2660-B80CC266A349}"/>
          </ac:picMkLst>
        </pc:picChg>
      </pc:sldChg>
      <pc:sldChg chg="addSp">
        <pc:chgData name="Medhavi Singh" userId="S::500085697@stu.upes.ac.in::fad78aed-70f4-4abe-b12d-7c4a44de9aa6" providerId="AD" clId="Web-{7CCFAD98-EA6A-90C5-B8DA-40ADBD1FA4D7}" dt="2023-04-19T05:10:45.268" v="27"/>
        <pc:sldMkLst>
          <pc:docMk/>
          <pc:sldMk cId="764605680" sldId="4670"/>
        </pc:sldMkLst>
        <pc:picChg chg="add">
          <ac:chgData name="Medhavi Singh" userId="S::500085697@stu.upes.ac.in::fad78aed-70f4-4abe-b12d-7c4a44de9aa6" providerId="AD" clId="Web-{7CCFAD98-EA6A-90C5-B8DA-40ADBD1FA4D7}" dt="2023-04-19T05:10:45.268" v="27"/>
          <ac:picMkLst>
            <pc:docMk/>
            <pc:sldMk cId="764605680" sldId="4670"/>
            <ac:picMk id="6" creationId="{D71C241B-C836-1BA4-510C-D12156C8B1AF}"/>
          </ac:picMkLst>
        </pc:picChg>
      </pc:sldChg>
      <pc:sldChg chg="addSp">
        <pc:chgData name="Medhavi Singh" userId="S::500085697@stu.upes.ac.in::fad78aed-70f4-4abe-b12d-7c4a44de9aa6" providerId="AD" clId="Web-{7CCFAD98-EA6A-90C5-B8DA-40ADBD1FA4D7}" dt="2023-04-19T05:10:20.032" v="24"/>
        <pc:sldMkLst>
          <pc:docMk/>
          <pc:sldMk cId="3029665428" sldId="4678"/>
        </pc:sldMkLst>
        <pc:picChg chg="add">
          <ac:chgData name="Medhavi Singh" userId="S::500085697@stu.upes.ac.in::fad78aed-70f4-4abe-b12d-7c4a44de9aa6" providerId="AD" clId="Web-{7CCFAD98-EA6A-90C5-B8DA-40ADBD1FA4D7}" dt="2023-04-19T05:10:20.032" v="24"/>
          <ac:picMkLst>
            <pc:docMk/>
            <pc:sldMk cId="3029665428" sldId="4678"/>
            <ac:picMk id="15" creationId="{4191F358-FD86-0442-24F1-3BD13FB48EAA}"/>
          </ac:picMkLst>
        </pc:picChg>
      </pc:sldChg>
      <pc:sldChg chg="addSp">
        <pc:chgData name="Medhavi Singh" userId="S::500085697@stu.upes.ac.in::fad78aed-70f4-4abe-b12d-7c4a44de9aa6" providerId="AD" clId="Web-{7CCFAD98-EA6A-90C5-B8DA-40ADBD1FA4D7}" dt="2023-04-19T05:10:27.048" v="25"/>
        <pc:sldMkLst>
          <pc:docMk/>
          <pc:sldMk cId="1656899783" sldId="4679"/>
        </pc:sldMkLst>
        <pc:picChg chg="add">
          <ac:chgData name="Medhavi Singh" userId="S::500085697@stu.upes.ac.in::fad78aed-70f4-4abe-b12d-7c4a44de9aa6" providerId="AD" clId="Web-{7CCFAD98-EA6A-90C5-B8DA-40ADBD1FA4D7}" dt="2023-04-19T05:10:27.048" v="25"/>
          <ac:picMkLst>
            <pc:docMk/>
            <pc:sldMk cId="1656899783" sldId="4679"/>
            <ac:picMk id="20" creationId="{BEA014A6-71FE-4FF5-E5C1-891BA2E5CD0F}"/>
          </ac:picMkLst>
        </pc:picChg>
      </pc:sldChg>
      <pc:sldChg chg="addSp">
        <pc:chgData name="Medhavi Singh" userId="S::500085697@stu.upes.ac.in::fad78aed-70f4-4abe-b12d-7c4a44de9aa6" providerId="AD" clId="Web-{7CCFAD98-EA6A-90C5-B8DA-40ADBD1FA4D7}" dt="2023-04-19T05:10:38.611" v="26"/>
        <pc:sldMkLst>
          <pc:docMk/>
          <pc:sldMk cId="30136227" sldId="4680"/>
        </pc:sldMkLst>
        <pc:picChg chg="add">
          <ac:chgData name="Medhavi Singh" userId="S::500085697@stu.upes.ac.in::fad78aed-70f4-4abe-b12d-7c4a44de9aa6" providerId="AD" clId="Web-{7CCFAD98-EA6A-90C5-B8DA-40ADBD1FA4D7}" dt="2023-04-19T05:10:38.611" v="26"/>
          <ac:picMkLst>
            <pc:docMk/>
            <pc:sldMk cId="30136227" sldId="4680"/>
            <ac:picMk id="13" creationId="{CF370A75-7467-CA92-14C6-C98DCD945ABA}"/>
          </ac:picMkLst>
        </pc:picChg>
      </pc:sldChg>
      <pc:sldChg chg="addSp">
        <pc:chgData name="Medhavi Singh" userId="S::500085697@stu.upes.ac.in::fad78aed-70f4-4abe-b12d-7c4a44de9aa6" providerId="AD" clId="Web-{7CCFAD98-EA6A-90C5-B8DA-40ADBD1FA4D7}" dt="2023-04-19T05:11:03.300" v="29"/>
        <pc:sldMkLst>
          <pc:docMk/>
          <pc:sldMk cId="4041741223" sldId="4681"/>
        </pc:sldMkLst>
        <pc:picChg chg="add">
          <ac:chgData name="Medhavi Singh" userId="S::500085697@stu.upes.ac.in::fad78aed-70f4-4abe-b12d-7c4a44de9aa6" providerId="AD" clId="Web-{7CCFAD98-EA6A-90C5-B8DA-40ADBD1FA4D7}" dt="2023-04-19T05:11:03.300" v="29"/>
          <ac:picMkLst>
            <pc:docMk/>
            <pc:sldMk cId="4041741223" sldId="4681"/>
            <ac:picMk id="5" creationId="{6AB9EB2C-A28E-E64A-B7BA-9101ACFDA76E}"/>
          </ac:picMkLst>
        </pc:picChg>
      </pc:sldChg>
    </pc:docChg>
  </pc:docChgLst>
  <pc:docChgLst>
    <pc:chgData name="Medhavi Singh" userId="S::500085697@stu.upes.ac.in::fad78aed-70f4-4abe-b12d-7c4a44de9aa6" providerId="AD" clId="Web-{A5E3C8C9-19C4-96F3-7DF1-9262D5BDD101}"/>
    <pc:docChg chg="addSld delSld modSld sldOrd modSection">
      <pc:chgData name="Medhavi Singh" userId="S::500085697@stu.upes.ac.in::fad78aed-70f4-4abe-b12d-7c4a44de9aa6" providerId="AD" clId="Web-{A5E3C8C9-19C4-96F3-7DF1-9262D5BDD101}" dt="2023-04-19T07:43:53.827" v="181" actId="20577"/>
      <pc:docMkLst>
        <pc:docMk/>
      </pc:docMkLst>
      <pc:sldChg chg="add del">
        <pc:chgData name="Medhavi Singh" userId="S::500085697@stu.upes.ac.in::fad78aed-70f4-4abe-b12d-7c4a44de9aa6" providerId="AD" clId="Web-{A5E3C8C9-19C4-96F3-7DF1-9262D5BDD101}" dt="2023-04-19T07:02:47.843" v="1"/>
        <pc:sldMkLst>
          <pc:docMk/>
          <pc:sldMk cId="2060487043" sldId="284"/>
        </pc:sldMkLst>
      </pc:sldChg>
      <pc:sldChg chg="addSp modSp">
        <pc:chgData name="Medhavi Singh" userId="S::500085697@stu.upes.ac.in::fad78aed-70f4-4abe-b12d-7c4a44de9aa6" providerId="AD" clId="Web-{A5E3C8C9-19C4-96F3-7DF1-9262D5BDD101}" dt="2023-04-19T07:31:47.335" v="22" actId="1076"/>
        <pc:sldMkLst>
          <pc:docMk/>
          <pc:sldMk cId="95389064" sldId="469"/>
        </pc:sldMkLst>
        <pc:spChg chg="mod">
          <ac:chgData name="Medhavi Singh" userId="S::500085697@stu.upes.ac.in::fad78aed-70f4-4abe-b12d-7c4a44de9aa6" providerId="AD" clId="Web-{A5E3C8C9-19C4-96F3-7DF1-9262D5BDD101}" dt="2023-04-19T07:31:41.382" v="21" actId="1076"/>
          <ac:spMkLst>
            <pc:docMk/>
            <pc:sldMk cId="95389064" sldId="469"/>
            <ac:spMk id="17410" creationId="{B6D65709-CE6D-099B-4C4D-2D7A714A1078}"/>
          </ac:spMkLst>
        </pc:spChg>
        <pc:picChg chg="add mod">
          <ac:chgData name="Medhavi Singh" userId="S::500085697@stu.upes.ac.in::fad78aed-70f4-4abe-b12d-7c4a44de9aa6" providerId="AD" clId="Web-{A5E3C8C9-19C4-96F3-7DF1-9262D5BDD101}" dt="2023-04-19T07:31:47.335" v="22" actId="1076"/>
          <ac:picMkLst>
            <pc:docMk/>
            <pc:sldMk cId="95389064" sldId="469"/>
            <ac:picMk id="2" creationId="{D4125DA8-0C7F-7A79-7B17-DE8265CA3C2A}"/>
          </ac:picMkLst>
        </pc:picChg>
      </pc:sldChg>
      <pc:sldChg chg="ord">
        <pc:chgData name="Medhavi Singh" userId="S::500085697@stu.upes.ac.in::fad78aed-70f4-4abe-b12d-7c4a44de9aa6" providerId="AD" clId="Web-{A5E3C8C9-19C4-96F3-7DF1-9262D5BDD101}" dt="2023-04-19T07:04:48.363" v="3"/>
        <pc:sldMkLst>
          <pc:docMk/>
          <pc:sldMk cId="3528570944" sldId="470"/>
        </pc:sldMkLst>
      </pc:sldChg>
      <pc:sldChg chg="modSp add replId">
        <pc:chgData name="Medhavi Singh" userId="S::500085697@stu.upes.ac.in::fad78aed-70f4-4abe-b12d-7c4a44de9aa6" providerId="AD" clId="Web-{A5E3C8C9-19C4-96F3-7DF1-9262D5BDD101}" dt="2023-04-19T07:07:26.649" v="10" actId="20577"/>
        <pc:sldMkLst>
          <pc:docMk/>
          <pc:sldMk cId="125966502" sldId="4682"/>
        </pc:sldMkLst>
        <pc:spChg chg="mod">
          <ac:chgData name="Medhavi Singh" userId="S::500085697@stu.upes.ac.in::fad78aed-70f4-4abe-b12d-7c4a44de9aa6" providerId="AD" clId="Web-{A5E3C8C9-19C4-96F3-7DF1-9262D5BDD101}" dt="2023-04-19T07:07:26.649" v="10" actId="20577"/>
          <ac:spMkLst>
            <pc:docMk/>
            <pc:sldMk cId="125966502" sldId="4682"/>
            <ac:spMk id="17410" creationId="{B6D65709-CE6D-099B-4C4D-2D7A714A1078}"/>
          </ac:spMkLst>
        </pc:spChg>
      </pc:sldChg>
      <pc:sldChg chg="addSp modSp add replId">
        <pc:chgData name="Medhavi Singh" userId="S::500085697@stu.upes.ac.in::fad78aed-70f4-4abe-b12d-7c4a44de9aa6" providerId="AD" clId="Web-{A5E3C8C9-19C4-96F3-7DF1-9262D5BDD101}" dt="2023-04-19T07:43:53.827" v="181" actId="20577"/>
        <pc:sldMkLst>
          <pc:docMk/>
          <pc:sldMk cId="1316233985" sldId="4683"/>
        </pc:sldMkLst>
        <pc:spChg chg="add mod">
          <ac:chgData name="Medhavi Singh" userId="S::500085697@stu.upes.ac.in::fad78aed-70f4-4abe-b12d-7c4a44de9aa6" providerId="AD" clId="Web-{A5E3C8C9-19C4-96F3-7DF1-9262D5BDD101}" dt="2023-04-19T07:41:55.917" v="135" actId="1076"/>
          <ac:spMkLst>
            <pc:docMk/>
            <pc:sldMk cId="1316233985" sldId="4683"/>
            <ac:spMk id="5" creationId="{E038F213-AD2E-772F-0BDB-1167B123AF31}"/>
          </ac:spMkLst>
        </pc:spChg>
        <pc:spChg chg="add mod">
          <ac:chgData name="Medhavi Singh" userId="S::500085697@stu.upes.ac.in::fad78aed-70f4-4abe-b12d-7c4a44de9aa6" providerId="AD" clId="Web-{A5E3C8C9-19C4-96F3-7DF1-9262D5BDD101}" dt="2023-04-19T07:43:53.827" v="181" actId="20577"/>
          <ac:spMkLst>
            <pc:docMk/>
            <pc:sldMk cId="1316233985" sldId="4683"/>
            <ac:spMk id="6" creationId="{944AF32E-509E-40AD-8B41-8F3FB4B46BC6}"/>
          </ac:spMkLst>
        </pc:spChg>
        <pc:spChg chg="mod">
          <ac:chgData name="Medhavi Singh" userId="S::500085697@stu.upes.ac.in::fad78aed-70f4-4abe-b12d-7c4a44de9aa6" providerId="AD" clId="Web-{A5E3C8C9-19C4-96F3-7DF1-9262D5BDD101}" dt="2023-04-19T07:41:50.526" v="132" actId="1076"/>
          <ac:spMkLst>
            <pc:docMk/>
            <pc:sldMk cId="1316233985" sldId="4683"/>
            <ac:spMk id="17410" creationId="{B6D65709-CE6D-099B-4C4D-2D7A714A1078}"/>
          </ac:spMkLst>
        </pc:spChg>
        <pc:picChg chg="add mod">
          <ac:chgData name="Medhavi Singh" userId="S::500085697@stu.upes.ac.in::fad78aed-70f4-4abe-b12d-7c4a44de9aa6" providerId="AD" clId="Web-{A5E3C8C9-19C4-96F3-7DF1-9262D5BDD101}" dt="2023-04-19T07:41:51.229" v="133" actId="1076"/>
          <ac:picMkLst>
            <pc:docMk/>
            <pc:sldMk cId="1316233985" sldId="4683"/>
            <ac:picMk id="2" creationId="{FF4AC6E2-66CD-A003-B450-4EFD9E3FC279}"/>
          </ac:picMkLst>
        </pc:picChg>
        <pc:picChg chg="add mod">
          <ac:chgData name="Medhavi Singh" userId="S::500085697@stu.upes.ac.in::fad78aed-70f4-4abe-b12d-7c4a44de9aa6" providerId="AD" clId="Web-{A5E3C8C9-19C4-96F3-7DF1-9262D5BDD101}" dt="2023-04-19T07:41:52.651" v="134" actId="1076"/>
          <ac:picMkLst>
            <pc:docMk/>
            <pc:sldMk cId="1316233985" sldId="4683"/>
            <ac:picMk id="4" creationId="{B2718A81-5373-1171-8639-4C5BA92B46B7}"/>
          </ac:picMkLst>
        </pc:picChg>
      </pc:sldChg>
    </pc:docChg>
  </pc:docChgLst>
  <pc:docChgLst>
    <pc:chgData name="Medhavi Singh" userId="S::500085697@stu.upes.ac.in::fad78aed-70f4-4abe-b12d-7c4a44de9aa6" providerId="AD" clId="Web-{E2210F76-690C-67FD-E3A6-B7CBCF1A4E95}"/>
    <pc:docChg chg="modSld sldOrd">
      <pc:chgData name="Medhavi Singh" userId="S::500085697@stu.upes.ac.in::fad78aed-70f4-4abe-b12d-7c4a44de9aa6" providerId="AD" clId="Web-{E2210F76-690C-67FD-E3A6-B7CBCF1A4E95}" dt="2023-04-18T14:36:48.164" v="8"/>
      <pc:docMkLst>
        <pc:docMk/>
      </pc:docMkLst>
      <pc:sldChg chg="ord">
        <pc:chgData name="Medhavi Singh" userId="S::500085697@stu.upes.ac.in::fad78aed-70f4-4abe-b12d-7c4a44de9aa6" providerId="AD" clId="Web-{E2210F76-690C-67FD-E3A6-B7CBCF1A4E95}" dt="2023-04-18T14:36:48.164" v="8"/>
        <pc:sldMkLst>
          <pc:docMk/>
          <pc:sldMk cId="2036694233" sldId="442"/>
        </pc:sldMkLst>
      </pc:sldChg>
      <pc:sldChg chg="addSp delSp modSp">
        <pc:chgData name="Medhavi Singh" userId="S::500085697@stu.upes.ac.in::fad78aed-70f4-4abe-b12d-7c4a44de9aa6" providerId="AD" clId="Web-{E2210F76-690C-67FD-E3A6-B7CBCF1A4E95}" dt="2023-04-18T14:29:54.854" v="2"/>
        <pc:sldMkLst>
          <pc:docMk/>
          <pc:sldMk cId="227240304" sldId="467"/>
        </pc:sldMkLst>
        <pc:picChg chg="add del mod">
          <ac:chgData name="Medhavi Singh" userId="S::500085697@stu.upes.ac.in::fad78aed-70f4-4abe-b12d-7c4a44de9aa6" providerId="AD" clId="Web-{E2210F76-690C-67FD-E3A6-B7CBCF1A4E95}" dt="2023-04-18T14:29:54.854" v="2"/>
          <ac:picMkLst>
            <pc:docMk/>
            <pc:sldMk cId="227240304" sldId="467"/>
            <ac:picMk id="3" creationId="{8602D47B-62B0-E54E-7131-121FC5B9A34C}"/>
          </ac:picMkLst>
        </pc:picChg>
      </pc:sldChg>
      <pc:sldChg chg="modSp ord">
        <pc:chgData name="Medhavi Singh" userId="S::500085697@stu.upes.ac.in::fad78aed-70f4-4abe-b12d-7c4a44de9aa6" providerId="AD" clId="Web-{E2210F76-690C-67FD-E3A6-B7CBCF1A4E95}" dt="2023-04-18T14:35:43.584" v="7" actId="1076"/>
        <pc:sldMkLst>
          <pc:docMk/>
          <pc:sldMk cId="2737703602" sldId="471"/>
        </pc:sldMkLst>
        <pc:spChg chg="mod">
          <ac:chgData name="Medhavi Singh" userId="S::500085697@stu.upes.ac.in::fad78aed-70f4-4abe-b12d-7c4a44de9aa6" providerId="AD" clId="Web-{E2210F76-690C-67FD-E3A6-B7CBCF1A4E95}" dt="2023-04-18T14:35:36.068" v="6" actId="20577"/>
          <ac:spMkLst>
            <pc:docMk/>
            <pc:sldMk cId="2737703602" sldId="471"/>
            <ac:spMk id="5" creationId="{82495971-6812-6FBC-4C07-C214DCA9CE48}"/>
          </ac:spMkLst>
        </pc:spChg>
        <pc:picChg chg="mod">
          <ac:chgData name="Medhavi Singh" userId="S::500085697@stu.upes.ac.in::fad78aed-70f4-4abe-b12d-7c4a44de9aa6" providerId="AD" clId="Web-{E2210F76-690C-67FD-E3A6-B7CBCF1A4E95}" dt="2023-04-18T14:35:43.584" v="7" actId="1076"/>
          <ac:picMkLst>
            <pc:docMk/>
            <pc:sldMk cId="2737703602" sldId="471"/>
            <ac:picMk id="11" creationId="{581A7A6E-79C1-A531-9113-548BD0EA62D6}"/>
          </ac:picMkLst>
        </pc:picChg>
      </pc:sldChg>
      <pc:sldChg chg="modSp">
        <pc:chgData name="Medhavi Singh" userId="S::500085697@stu.upes.ac.in::fad78aed-70f4-4abe-b12d-7c4a44de9aa6" providerId="AD" clId="Web-{E2210F76-690C-67FD-E3A6-B7CBCF1A4E95}" dt="2023-04-18T14:34:46.785" v="4" actId="14100"/>
        <pc:sldMkLst>
          <pc:docMk/>
          <pc:sldMk cId="3029665428" sldId="4678"/>
        </pc:sldMkLst>
        <pc:spChg chg="mod">
          <ac:chgData name="Medhavi Singh" userId="S::500085697@stu.upes.ac.in::fad78aed-70f4-4abe-b12d-7c4a44de9aa6" providerId="AD" clId="Web-{E2210F76-690C-67FD-E3A6-B7CBCF1A4E95}" dt="2023-04-18T14:34:46.785" v="4" actId="14100"/>
          <ac:spMkLst>
            <pc:docMk/>
            <pc:sldMk cId="3029665428" sldId="4678"/>
            <ac:spMk id="2" creationId="{B1A4437F-ED28-49C8-A947-221EB518E62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3203BB-E193-4BFB-90C8-3257E64BF1BA}"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IN"/>
        </a:p>
      </dgm:t>
    </dgm:pt>
    <dgm:pt modelId="{A33AE2A5-B69A-4BD3-812E-78166F059F9C}">
      <dgm:prSet custT="1"/>
      <dgm:spPr/>
      <dgm:t>
        <a:bodyPr/>
        <a:lstStyle/>
        <a:p>
          <a:r>
            <a:rPr lang="en-US" sz="1200" b="0" i="0"/>
            <a:t>Intelligent automation is a combination of artificial intelligence (AI) and automation technologies that work together to automate business processes and decision-making. </a:t>
          </a:r>
        </a:p>
      </dgm:t>
    </dgm:pt>
    <dgm:pt modelId="{541E4315-64B7-43CE-ABE6-A717CE8EEC3D}" type="parTrans" cxnId="{F5EE3C01-D636-48A2-9918-2590381AF884}">
      <dgm:prSet/>
      <dgm:spPr/>
      <dgm:t>
        <a:bodyPr/>
        <a:lstStyle/>
        <a:p>
          <a:endParaRPr lang="en-IN" sz="1400"/>
        </a:p>
      </dgm:t>
    </dgm:pt>
    <dgm:pt modelId="{14FEB9FF-C681-4294-A34A-4EED3BA11957}" type="sibTrans" cxnId="{F5EE3C01-D636-48A2-9918-2590381AF884}">
      <dgm:prSet/>
      <dgm:spPr/>
      <dgm:t>
        <a:bodyPr/>
        <a:lstStyle/>
        <a:p>
          <a:endParaRPr lang="en-IN" sz="1400"/>
        </a:p>
      </dgm:t>
    </dgm:pt>
    <dgm:pt modelId="{8BD4768F-32F3-4D8C-8313-64A5CE1C5CE3}">
      <dgm:prSet custT="1"/>
      <dgm:spPr/>
      <dgm:t>
        <a:bodyPr/>
        <a:lstStyle/>
        <a:p>
          <a:r>
            <a:rPr lang="en-US" sz="1200" b="0" i="0"/>
            <a:t>Intelligent automation can be used in a variety of industries, including manufacturing, healthcare, finance, and customer service. </a:t>
          </a:r>
        </a:p>
      </dgm:t>
    </dgm:pt>
    <dgm:pt modelId="{DEF8B6EC-45A5-442D-ABAB-880C145CC57D}" type="parTrans" cxnId="{CA8892E7-0F9C-4550-9F85-CCDFBABE0B24}">
      <dgm:prSet/>
      <dgm:spPr/>
      <dgm:t>
        <a:bodyPr/>
        <a:lstStyle/>
        <a:p>
          <a:endParaRPr lang="en-IN" sz="1400"/>
        </a:p>
      </dgm:t>
    </dgm:pt>
    <dgm:pt modelId="{3C3A8648-FF14-4AFC-8743-90FD72D9F9AD}" type="sibTrans" cxnId="{CA8892E7-0F9C-4550-9F85-CCDFBABE0B24}">
      <dgm:prSet/>
      <dgm:spPr/>
      <dgm:t>
        <a:bodyPr/>
        <a:lstStyle/>
        <a:p>
          <a:endParaRPr lang="en-IN" sz="1400"/>
        </a:p>
      </dgm:t>
    </dgm:pt>
    <dgm:pt modelId="{E4D7E1CB-5016-4747-9514-A2F6BA2E52E0}">
      <dgm:prSet custT="1"/>
      <dgm:spPr/>
      <dgm:t>
        <a:bodyPr/>
        <a:lstStyle/>
        <a:p>
          <a:r>
            <a:rPr lang="en-US" sz="1200" b="0" i="0"/>
            <a:t>It involves using machine learning, natural language processing, and other AI technologies to improve the efficiency and accuracy of business processes, while also reducing the need for human intervention.</a:t>
          </a:r>
        </a:p>
      </dgm:t>
    </dgm:pt>
    <dgm:pt modelId="{93D05862-D5B8-4160-BD79-B0E05516442C}" type="parTrans" cxnId="{8B69634E-D5B4-4180-86CC-84FFF5FF1FC4}">
      <dgm:prSet/>
      <dgm:spPr/>
      <dgm:t>
        <a:bodyPr/>
        <a:lstStyle/>
        <a:p>
          <a:endParaRPr lang="en-IN" sz="1400"/>
        </a:p>
      </dgm:t>
    </dgm:pt>
    <dgm:pt modelId="{A4040D3A-FC4D-4489-8EA7-A2B9EE62452B}" type="sibTrans" cxnId="{8B69634E-D5B4-4180-86CC-84FFF5FF1FC4}">
      <dgm:prSet/>
      <dgm:spPr/>
      <dgm:t>
        <a:bodyPr/>
        <a:lstStyle/>
        <a:p>
          <a:endParaRPr lang="en-IN" sz="1400"/>
        </a:p>
      </dgm:t>
    </dgm:pt>
    <dgm:pt modelId="{5EDA7B08-9CC3-4C58-B6AB-F9F681ECD839}">
      <dgm:prSet custT="1"/>
      <dgm:spPr/>
      <dgm:t>
        <a:bodyPr/>
        <a:lstStyle/>
        <a:p>
          <a:r>
            <a:rPr lang="en-US" sz="1200" b="0" i="0"/>
            <a:t>It can be used for tasks such as data entry, document processing, customer support, and even complex decision-making processes. By using intelligent automation, businesses can reduce costs, increase productivity, and improve the overall quality of their products or services.</a:t>
          </a:r>
        </a:p>
      </dgm:t>
    </dgm:pt>
    <dgm:pt modelId="{68D1FE47-1FD9-4201-BFF9-D40328D0BDCD}" type="parTrans" cxnId="{602F5BD3-7EBF-4CC5-BB59-8AB90FF5F19F}">
      <dgm:prSet/>
      <dgm:spPr/>
      <dgm:t>
        <a:bodyPr/>
        <a:lstStyle/>
        <a:p>
          <a:endParaRPr lang="en-IN" sz="1400"/>
        </a:p>
      </dgm:t>
    </dgm:pt>
    <dgm:pt modelId="{0341F8AB-A4A7-434D-AF2B-7908465DE8CE}" type="sibTrans" cxnId="{602F5BD3-7EBF-4CC5-BB59-8AB90FF5F19F}">
      <dgm:prSet/>
      <dgm:spPr/>
      <dgm:t>
        <a:bodyPr/>
        <a:lstStyle/>
        <a:p>
          <a:endParaRPr lang="en-IN" sz="1400"/>
        </a:p>
      </dgm:t>
    </dgm:pt>
    <dgm:pt modelId="{A0790303-686D-4FB7-9D78-BC6ECA6A143D}" type="pres">
      <dgm:prSet presAssocID="{943203BB-E193-4BFB-90C8-3257E64BF1BA}" presName="Name0" presStyleCnt="0">
        <dgm:presLayoutVars>
          <dgm:dir/>
          <dgm:resizeHandles val="exact"/>
        </dgm:presLayoutVars>
      </dgm:prSet>
      <dgm:spPr/>
    </dgm:pt>
    <dgm:pt modelId="{D45B0B4E-DCC9-473F-9D06-DEFEF1F7FFE0}" type="pres">
      <dgm:prSet presAssocID="{943203BB-E193-4BFB-90C8-3257E64BF1BA}" presName="arrow" presStyleLbl="bgShp" presStyleIdx="0" presStyleCnt="1"/>
      <dgm:spPr/>
    </dgm:pt>
    <dgm:pt modelId="{05C6C314-57BA-471A-8479-C42DFD4DA388}" type="pres">
      <dgm:prSet presAssocID="{943203BB-E193-4BFB-90C8-3257E64BF1BA}" presName="points" presStyleCnt="0"/>
      <dgm:spPr/>
    </dgm:pt>
    <dgm:pt modelId="{C12DCB64-6581-484A-9790-F99CF6C418DC}" type="pres">
      <dgm:prSet presAssocID="{A33AE2A5-B69A-4BD3-812E-78166F059F9C}" presName="compositeA" presStyleCnt="0"/>
      <dgm:spPr/>
    </dgm:pt>
    <dgm:pt modelId="{1C2CF3F1-4591-482D-8EAB-8AFDFCB8E0D2}" type="pres">
      <dgm:prSet presAssocID="{A33AE2A5-B69A-4BD3-812E-78166F059F9C}" presName="textA" presStyleLbl="revTx" presStyleIdx="0" presStyleCnt="4">
        <dgm:presLayoutVars>
          <dgm:bulletEnabled val="1"/>
        </dgm:presLayoutVars>
      </dgm:prSet>
      <dgm:spPr/>
    </dgm:pt>
    <dgm:pt modelId="{91853867-26E2-40D3-AAF4-F599CB4199B9}" type="pres">
      <dgm:prSet presAssocID="{A33AE2A5-B69A-4BD3-812E-78166F059F9C}" presName="circleA" presStyleLbl="node1" presStyleIdx="0" presStyleCnt="4"/>
      <dgm:spPr/>
    </dgm:pt>
    <dgm:pt modelId="{89F67BEF-FDF1-47E8-9362-6C8C48064339}" type="pres">
      <dgm:prSet presAssocID="{A33AE2A5-B69A-4BD3-812E-78166F059F9C}" presName="spaceA" presStyleCnt="0"/>
      <dgm:spPr/>
    </dgm:pt>
    <dgm:pt modelId="{F7D49F2A-DAD4-43DD-A747-374AEE7E35B0}" type="pres">
      <dgm:prSet presAssocID="{14FEB9FF-C681-4294-A34A-4EED3BA11957}" presName="space" presStyleCnt="0"/>
      <dgm:spPr/>
    </dgm:pt>
    <dgm:pt modelId="{08EE4114-A9E3-49CC-A22F-3A8FBD0DF43C}" type="pres">
      <dgm:prSet presAssocID="{E4D7E1CB-5016-4747-9514-A2F6BA2E52E0}" presName="compositeB" presStyleCnt="0"/>
      <dgm:spPr/>
    </dgm:pt>
    <dgm:pt modelId="{E89CC34F-71A5-4C39-B840-5C199324C38B}" type="pres">
      <dgm:prSet presAssocID="{E4D7E1CB-5016-4747-9514-A2F6BA2E52E0}" presName="textB" presStyleLbl="revTx" presStyleIdx="1" presStyleCnt="4">
        <dgm:presLayoutVars>
          <dgm:bulletEnabled val="1"/>
        </dgm:presLayoutVars>
      </dgm:prSet>
      <dgm:spPr/>
    </dgm:pt>
    <dgm:pt modelId="{4CEEA3C2-8E28-48EA-A183-1E8B7AACA723}" type="pres">
      <dgm:prSet presAssocID="{E4D7E1CB-5016-4747-9514-A2F6BA2E52E0}" presName="circleB" presStyleLbl="node1" presStyleIdx="1" presStyleCnt="4"/>
      <dgm:spPr/>
    </dgm:pt>
    <dgm:pt modelId="{43DA9296-F3BA-4811-A4DD-331CA466056A}" type="pres">
      <dgm:prSet presAssocID="{E4D7E1CB-5016-4747-9514-A2F6BA2E52E0}" presName="spaceB" presStyleCnt="0"/>
      <dgm:spPr/>
    </dgm:pt>
    <dgm:pt modelId="{270A23B1-E710-4A41-AEDA-C01F7EB5C9DB}" type="pres">
      <dgm:prSet presAssocID="{A4040D3A-FC4D-4489-8EA7-A2B9EE62452B}" presName="space" presStyleCnt="0"/>
      <dgm:spPr/>
    </dgm:pt>
    <dgm:pt modelId="{E48B4F93-3629-413D-AF77-01E6F68BDA2F}" type="pres">
      <dgm:prSet presAssocID="{8BD4768F-32F3-4D8C-8313-64A5CE1C5CE3}" presName="compositeA" presStyleCnt="0"/>
      <dgm:spPr/>
    </dgm:pt>
    <dgm:pt modelId="{0FEEE7F9-2738-4DFE-B61C-A601C49574D3}" type="pres">
      <dgm:prSet presAssocID="{8BD4768F-32F3-4D8C-8313-64A5CE1C5CE3}" presName="textA" presStyleLbl="revTx" presStyleIdx="2" presStyleCnt="4">
        <dgm:presLayoutVars>
          <dgm:bulletEnabled val="1"/>
        </dgm:presLayoutVars>
      </dgm:prSet>
      <dgm:spPr/>
    </dgm:pt>
    <dgm:pt modelId="{B8AE8859-F1B8-47CA-A313-D2BF74426A55}" type="pres">
      <dgm:prSet presAssocID="{8BD4768F-32F3-4D8C-8313-64A5CE1C5CE3}" presName="circleA" presStyleLbl="node1" presStyleIdx="2" presStyleCnt="4"/>
      <dgm:spPr/>
    </dgm:pt>
    <dgm:pt modelId="{C47E545B-4F30-45E0-BD1C-117A211F96C4}" type="pres">
      <dgm:prSet presAssocID="{8BD4768F-32F3-4D8C-8313-64A5CE1C5CE3}" presName="spaceA" presStyleCnt="0"/>
      <dgm:spPr/>
    </dgm:pt>
    <dgm:pt modelId="{117C2795-AE6B-4A70-BEA0-545A1D7591D3}" type="pres">
      <dgm:prSet presAssocID="{3C3A8648-FF14-4AFC-8743-90FD72D9F9AD}" presName="space" presStyleCnt="0"/>
      <dgm:spPr/>
    </dgm:pt>
    <dgm:pt modelId="{ED2BEFE6-7EB0-40F9-86AC-43210EBBA436}" type="pres">
      <dgm:prSet presAssocID="{5EDA7B08-9CC3-4C58-B6AB-F9F681ECD839}" presName="compositeB" presStyleCnt="0"/>
      <dgm:spPr/>
    </dgm:pt>
    <dgm:pt modelId="{143ECAD4-5B46-4247-AD34-4D6FC4E9B6E2}" type="pres">
      <dgm:prSet presAssocID="{5EDA7B08-9CC3-4C58-B6AB-F9F681ECD839}" presName="textB" presStyleLbl="revTx" presStyleIdx="3" presStyleCnt="4">
        <dgm:presLayoutVars>
          <dgm:bulletEnabled val="1"/>
        </dgm:presLayoutVars>
      </dgm:prSet>
      <dgm:spPr/>
    </dgm:pt>
    <dgm:pt modelId="{8A201806-47B3-429E-8151-8FAC97645E9F}" type="pres">
      <dgm:prSet presAssocID="{5EDA7B08-9CC3-4C58-B6AB-F9F681ECD839}" presName="circleB" presStyleLbl="node1" presStyleIdx="3" presStyleCnt="4"/>
      <dgm:spPr/>
    </dgm:pt>
    <dgm:pt modelId="{0F8DA473-3502-434B-8EA6-DF46D409E6EE}" type="pres">
      <dgm:prSet presAssocID="{5EDA7B08-9CC3-4C58-B6AB-F9F681ECD839}" presName="spaceB" presStyleCnt="0"/>
      <dgm:spPr/>
    </dgm:pt>
  </dgm:ptLst>
  <dgm:cxnLst>
    <dgm:cxn modelId="{F5EE3C01-D636-48A2-9918-2590381AF884}" srcId="{943203BB-E193-4BFB-90C8-3257E64BF1BA}" destId="{A33AE2A5-B69A-4BD3-812E-78166F059F9C}" srcOrd="0" destOrd="0" parTransId="{541E4315-64B7-43CE-ABE6-A717CE8EEC3D}" sibTransId="{14FEB9FF-C681-4294-A34A-4EED3BA11957}"/>
    <dgm:cxn modelId="{B9309D46-EE7A-484C-8B60-52E5E0AAB54D}" type="presOf" srcId="{943203BB-E193-4BFB-90C8-3257E64BF1BA}" destId="{A0790303-686D-4FB7-9D78-BC6ECA6A143D}" srcOrd="0" destOrd="0" presId="urn:microsoft.com/office/officeart/2005/8/layout/hProcess11"/>
    <dgm:cxn modelId="{8B69634E-D5B4-4180-86CC-84FFF5FF1FC4}" srcId="{943203BB-E193-4BFB-90C8-3257E64BF1BA}" destId="{E4D7E1CB-5016-4747-9514-A2F6BA2E52E0}" srcOrd="1" destOrd="0" parTransId="{93D05862-D5B8-4160-BD79-B0E05516442C}" sibTransId="{A4040D3A-FC4D-4489-8EA7-A2B9EE62452B}"/>
    <dgm:cxn modelId="{3C5B287E-6F8D-426A-824E-04D569E0F06E}" type="presOf" srcId="{A33AE2A5-B69A-4BD3-812E-78166F059F9C}" destId="{1C2CF3F1-4591-482D-8EAB-8AFDFCB8E0D2}" srcOrd="0" destOrd="0" presId="urn:microsoft.com/office/officeart/2005/8/layout/hProcess11"/>
    <dgm:cxn modelId="{E7E3BE7F-C516-45FA-89E1-F39D56380639}" type="presOf" srcId="{E4D7E1CB-5016-4747-9514-A2F6BA2E52E0}" destId="{E89CC34F-71A5-4C39-B840-5C199324C38B}" srcOrd="0" destOrd="0" presId="urn:microsoft.com/office/officeart/2005/8/layout/hProcess11"/>
    <dgm:cxn modelId="{C3455AB5-768F-4FA8-B5DC-868190F97E19}" type="presOf" srcId="{5EDA7B08-9CC3-4C58-B6AB-F9F681ECD839}" destId="{143ECAD4-5B46-4247-AD34-4D6FC4E9B6E2}" srcOrd="0" destOrd="0" presId="urn:microsoft.com/office/officeart/2005/8/layout/hProcess11"/>
    <dgm:cxn modelId="{602F5BD3-7EBF-4CC5-BB59-8AB90FF5F19F}" srcId="{943203BB-E193-4BFB-90C8-3257E64BF1BA}" destId="{5EDA7B08-9CC3-4C58-B6AB-F9F681ECD839}" srcOrd="3" destOrd="0" parTransId="{68D1FE47-1FD9-4201-BFF9-D40328D0BDCD}" sibTransId="{0341F8AB-A4A7-434D-AF2B-7908465DE8CE}"/>
    <dgm:cxn modelId="{CA8892E7-0F9C-4550-9F85-CCDFBABE0B24}" srcId="{943203BB-E193-4BFB-90C8-3257E64BF1BA}" destId="{8BD4768F-32F3-4D8C-8313-64A5CE1C5CE3}" srcOrd="2" destOrd="0" parTransId="{DEF8B6EC-45A5-442D-ABAB-880C145CC57D}" sibTransId="{3C3A8648-FF14-4AFC-8743-90FD72D9F9AD}"/>
    <dgm:cxn modelId="{AC92CAF5-DF9B-41CD-B694-92996C4036ED}" type="presOf" srcId="{8BD4768F-32F3-4D8C-8313-64A5CE1C5CE3}" destId="{0FEEE7F9-2738-4DFE-B61C-A601C49574D3}" srcOrd="0" destOrd="0" presId="urn:microsoft.com/office/officeart/2005/8/layout/hProcess11"/>
    <dgm:cxn modelId="{B90D819A-17B8-401F-9B68-D91FBF935B87}" type="presParOf" srcId="{A0790303-686D-4FB7-9D78-BC6ECA6A143D}" destId="{D45B0B4E-DCC9-473F-9D06-DEFEF1F7FFE0}" srcOrd="0" destOrd="0" presId="urn:microsoft.com/office/officeart/2005/8/layout/hProcess11"/>
    <dgm:cxn modelId="{A4C83F30-EB4C-42BD-9EF8-3C63FD4C295C}" type="presParOf" srcId="{A0790303-686D-4FB7-9D78-BC6ECA6A143D}" destId="{05C6C314-57BA-471A-8479-C42DFD4DA388}" srcOrd="1" destOrd="0" presId="urn:microsoft.com/office/officeart/2005/8/layout/hProcess11"/>
    <dgm:cxn modelId="{109059C0-D1EA-4CAF-9578-513E8D7E4FA0}" type="presParOf" srcId="{05C6C314-57BA-471A-8479-C42DFD4DA388}" destId="{C12DCB64-6581-484A-9790-F99CF6C418DC}" srcOrd="0" destOrd="0" presId="urn:microsoft.com/office/officeart/2005/8/layout/hProcess11"/>
    <dgm:cxn modelId="{647B11BB-B1B5-41A2-B751-1190F6755A71}" type="presParOf" srcId="{C12DCB64-6581-484A-9790-F99CF6C418DC}" destId="{1C2CF3F1-4591-482D-8EAB-8AFDFCB8E0D2}" srcOrd="0" destOrd="0" presId="urn:microsoft.com/office/officeart/2005/8/layout/hProcess11"/>
    <dgm:cxn modelId="{247EF72A-D5A6-40A2-B7DC-B6DBD5628E6A}" type="presParOf" srcId="{C12DCB64-6581-484A-9790-F99CF6C418DC}" destId="{91853867-26E2-40D3-AAF4-F599CB4199B9}" srcOrd="1" destOrd="0" presId="urn:microsoft.com/office/officeart/2005/8/layout/hProcess11"/>
    <dgm:cxn modelId="{39FECE7F-216D-4DA7-8DE6-1DEA7A54E374}" type="presParOf" srcId="{C12DCB64-6581-484A-9790-F99CF6C418DC}" destId="{89F67BEF-FDF1-47E8-9362-6C8C48064339}" srcOrd="2" destOrd="0" presId="urn:microsoft.com/office/officeart/2005/8/layout/hProcess11"/>
    <dgm:cxn modelId="{B85B6505-2A68-4A32-8DA2-065A79E53531}" type="presParOf" srcId="{05C6C314-57BA-471A-8479-C42DFD4DA388}" destId="{F7D49F2A-DAD4-43DD-A747-374AEE7E35B0}" srcOrd="1" destOrd="0" presId="urn:microsoft.com/office/officeart/2005/8/layout/hProcess11"/>
    <dgm:cxn modelId="{2BFC2D3B-FA16-4DD3-9DAE-3706D4E24E36}" type="presParOf" srcId="{05C6C314-57BA-471A-8479-C42DFD4DA388}" destId="{08EE4114-A9E3-49CC-A22F-3A8FBD0DF43C}" srcOrd="2" destOrd="0" presId="urn:microsoft.com/office/officeart/2005/8/layout/hProcess11"/>
    <dgm:cxn modelId="{991D4D10-21AC-4C85-90EC-2EBEE6CF40E6}" type="presParOf" srcId="{08EE4114-A9E3-49CC-A22F-3A8FBD0DF43C}" destId="{E89CC34F-71A5-4C39-B840-5C199324C38B}" srcOrd="0" destOrd="0" presId="urn:microsoft.com/office/officeart/2005/8/layout/hProcess11"/>
    <dgm:cxn modelId="{2D7EB981-2DA6-4BF4-ADE0-CA2488788228}" type="presParOf" srcId="{08EE4114-A9E3-49CC-A22F-3A8FBD0DF43C}" destId="{4CEEA3C2-8E28-48EA-A183-1E8B7AACA723}" srcOrd="1" destOrd="0" presId="urn:microsoft.com/office/officeart/2005/8/layout/hProcess11"/>
    <dgm:cxn modelId="{C8FA7BC5-5F0F-4BA4-967B-AC6B51E87EDB}" type="presParOf" srcId="{08EE4114-A9E3-49CC-A22F-3A8FBD0DF43C}" destId="{43DA9296-F3BA-4811-A4DD-331CA466056A}" srcOrd="2" destOrd="0" presId="urn:microsoft.com/office/officeart/2005/8/layout/hProcess11"/>
    <dgm:cxn modelId="{A9CC9051-32DF-4603-8CAF-16748221EDB6}" type="presParOf" srcId="{05C6C314-57BA-471A-8479-C42DFD4DA388}" destId="{270A23B1-E710-4A41-AEDA-C01F7EB5C9DB}" srcOrd="3" destOrd="0" presId="urn:microsoft.com/office/officeart/2005/8/layout/hProcess11"/>
    <dgm:cxn modelId="{AE9BB057-78F3-426D-87B1-38D2DB5389A5}" type="presParOf" srcId="{05C6C314-57BA-471A-8479-C42DFD4DA388}" destId="{E48B4F93-3629-413D-AF77-01E6F68BDA2F}" srcOrd="4" destOrd="0" presId="urn:microsoft.com/office/officeart/2005/8/layout/hProcess11"/>
    <dgm:cxn modelId="{C979BD08-EEA8-441D-81E0-AC63B03C880B}" type="presParOf" srcId="{E48B4F93-3629-413D-AF77-01E6F68BDA2F}" destId="{0FEEE7F9-2738-4DFE-B61C-A601C49574D3}" srcOrd="0" destOrd="0" presId="urn:microsoft.com/office/officeart/2005/8/layout/hProcess11"/>
    <dgm:cxn modelId="{6CF39599-89E0-434F-9EE8-2EBEE8F16884}" type="presParOf" srcId="{E48B4F93-3629-413D-AF77-01E6F68BDA2F}" destId="{B8AE8859-F1B8-47CA-A313-D2BF74426A55}" srcOrd="1" destOrd="0" presId="urn:microsoft.com/office/officeart/2005/8/layout/hProcess11"/>
    <dgm:cxn modelId="{F8BFEACB-59BA-4433-A56F-E1F166D1A279}" type="presParOf" srcId="{E48B4F93-3629-413D-AF77-01E6F68BDA2F}" destId="{C47E545B-4F30-45E0-BD1C-117A211F96C4}" srcOrd="2" destOrd="0" presId="urn:microsoft.com/office/officeart/2005/8/layout/hProcess11"/>
    <dgm:cxn modelId="{364C2CBF-2445-4322-9706-D2A3CDC24748}" type="presParOf" srcId="{05C6C314-57BA-471A-8479-C42DFD4DA388}" destId="{117C2795-AE6B-4A70-BEA0-545A1D7591D3}" srcOrd="5" destOrd="0" presId="urn:microsoft.com/office/officeart/2005/8/layout/hProcess11"/>
    <dgm:cxn modelId="{9957D394-57AC-4B04-8CC5-FE9FD0733A22}" type="presParOf" srcId="{05C6C314-57BA-471A-8479-C42DFD4DA388}" destId="{ED2BEFE6-7EB0-40F9-86AC-43210EBBA436}" srcOrd="6" destOrd="0" presId="urn:microsoft.com/office/officeart/2005/8/layout/hProcess11"/>
    <dgm:cxn modelId="{EE078179-EFF1-427D-BD62-34A7E4C9ADCE}" type="presParOf" srcId="{ED2BEFE6-7EB0-40F9-86AC-43210EBBA436}" destId="{143ECAD4-5B46-4247-AD34-4D6FC4E9B6E2}" srcOrd="0" destOrd="0" presId="urn:microsoft.com/office/officeart/2005/8/layout/hProcess11"/>
    <dgm:cxn modelId="{BE6AF472-9A1C-468E-8767-3A993E4FF4E5}" type="presParOf" srcId="{ED2BEFE6-7EB0-40F9-86AC-43210EBBA436}" destId="{8A201806-47B3-429E-8151-8FAC97645E9F}" srcOrd="1" destOrd="0" presId="urn:microsoft.com/office/officeart/2005/8/layout/hProcess11"/>
    <dgm:cxn modelId="{C59A26D5-1966-4F6A-84CF-879236E870CF}" type="presParOf" srcId="{ED2BEFE6-7EB0-40F9-86AC-43210EBBA436}" destId="{0F8DA473-3502-434B-8EA6-DF46D409E6E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54A8F0-838D-46E0-9D80-93607F6573FF}"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en-IN"/>
        </a:p>
      </dgm:t>
    </dgm:pt>
    <dgm:pt modelId="{56F39443-C689-4C70-8929-A7B7FCBFCB78}">
      <dgm:prSet custT="1"/>
      <dgm:spPr/>
      <dgm:t>
        <a:bodyPr/>
        <a:lstStyle/>
        <a:p>
          <a:r>
            <a:rPr lang="en-US" sz="1100" b="0" i="0"/>
            <a:t>Increased Efficiency: Intelligent automation can automate repetitive and time-consuming tasks, allowing employees to focus on more strategic and high-value activities. This can lead to increased productivity and efficiency.</a:t>
          </a:r>
          <a:endParaRPr lang="en-IN" sz="1100" b="0"/>
        </a:p>
      </dgm:t>
    </dgm:pt>
    <dgm:pt modelId="{1321C907-B7F4-429D-972E-40D38D7CBC97}" type="parTrans" cxnId="{46E9D515-95D0-47DE-B0DD-978EC59BD7DE}">
      <dgm:prSet/>
      <dgm:spPr/>
      <dgm:t>
        <a:bodyPr/>
        <a:lstStyle/>
        <a:p>
          <a:endParaRPr lang="en-IN"/>
        </a:p>
      </dgm:t>
    </dgm:pt>
    <dgm:pt modelId="{AEBB4E46-A54B-4677-BA07-EC0C27C1C6D9}" type="sibTrans" cxnId="{46E9D515-95D0-47DE-B0DD-978EC59BD7DE}">
      <dgm:prSet/>
      <dgm:spPr/>
      <dgm:t>
        <a:bodyPr/>
        <a:lstStyle/>
        <a:p>
          <a:endParaRPr lang="en-IN"/>
        </a:p>
      </dgm:t>
    </dgm:pt>
    <dgm:pt modelId="{1FA0DEA4-C1AF-4E7F-8C56-4AD0BF7E3750}">
      <dgm:prSet custT="1"/>
      <dgm:spPr/>
      <dgm:t>
        <a:bodyPr/>
        <a:lstStyle/>
        <a:p>
          <a:r>
            <a:rPr lang="en-US" sz="1100" b="0" i="0"/>
            <a:t>Improved Accuracy: Intelligent automation technologies such as machine learning and natural language processing can improve the accuracy of business processes, reducing errors and improving the overall quality of work.</a:t>
          </a:r>
          <a:endParaRPr lang="en-IN" sz="1100" b="0"/>
        </a:p>
      </dgm:t>
    </dgm:pt>
    <dgm:pt modelId="{FF5E2D9B-0F2F-4252-B6F5-D951E6FEDE4E}" type="parTrans" cxnId="{D906912D-3C0A-40A0-9121-30CB6BCE4B65}">
      <dgm:prSet/>
      <dgm:spPr/>
      <dgm:t>
        <a:bodyPr/>
        <a:lstStyle/>
        <a:p>
          <a:endParaRPr lang="en-IN"/>
        </a:p>
      </dgm:t>
    </dgm:pt>
    <dgm:pt modelId="{70270919-ABB9-4162-B6EF-409E2FA4D9C8}" type="sibTrans" cxnId="{D906912D-3C0A-40A0-9121-30CB6BCE4B65}">
      <dgm:prSet/>
      <dgm:spPr/>
      <dgm:t>
        <a:bodyPr/>
        <a:lstStyle/>
        <a:p>
          <a:endParaRPr lang="en-IN"/>
        </a:p>
      </dgm:t>
    </dgm:pt>
    <dgm:pt modelId="{CBAC37DB-D612-4324-A1A5-5E8B5C9EC7ED}">
      <dgm:prSet custT="1"/>
      <dgm:spPr/>
      <dgm:t>
        <a:bodyPr/>
        <a:lstStyle/>
        <a:p>
          <a:r>
            <a:rPr lang="en-US" sz="1100" b="0" i="0"/>
            <a:t>Cost Savings: By automating tasks that were previously done manually, businesses can reduce labor costs and increase cost savings.</a:t>
          </a:r>
          <a:endParaRPr lang="en-IN" sz="1100" b="0"/>
        </a:p>
      </dgm:t>
    </dgm:pt>
    <dgm:pt modelId="{FBEEB1C6-B20E-47D7-A5F8-4C287EF97BCD}" type="parTrans" cxnId="{1A960DCD-70B6-407B-ADB1-87EAD96B281A}">
      <dgm:prSet/>
      <dgm:spPr/>
      <dgm:t>
        <a:bodyPr/>
        <a:lstStyle/>
        <a:p>
          <a:endParaRPr lang="en-IN"/>
        </a:p>
      </dgm:t>
    </dgm:pt>
    <dgm:pt modelId="{C210650A-3A97-41F1-83EA-6722EC60833F}" type="sibTrans" cxnId="{1A960DCD-70B6-407B-ADB1-87EAD96B281A}">
      <dgm:prSet/>
      <dgm:spPr/>
      <dgm:t>
        <a:bodyPr/>
        <a:lstStyle/>
        <a:p>
          <a:endParaRPr lang="en-IN"/>
        </a:p>
      </dgm:t>
    </dgm:pt>
    <dgm:pt modelId="{FDE80DD3-1E4E-4E52-8D3D-7CA88DB09D8D}">
      <dgm:prSet custT="1"/>
      <dgm:spPr/>
      <dgm:t>
        <a:bodyPr/>
        <a:lstStyle/>
        <a:p>
          <a:r>
            <a:rPr lang="en-US" sz="1100" b="0" i="0"/>
            <a:t>Faster Processing: With intelligent automation, businesses can process data and information more quickly and accurately than humans, leading to faster decision-making and better outcomes.</a:t>
          </a:r>
          <a:endParaRPr lang="en-IN" sz="1100" b="0"/>
        </a:p>
      </dgm:t>
    </dgm:pt>
    <dgm:pt modelId="{F5AA7C6D-D6DB-4B6E-BE9D-75AEBC2B6EA9}" type="parTrans" cxnId="{465D8B09-BA94-4B8C-A981-7EB0EB4AA1A2}">
      <dgm:prSet/>
      <dgm:spPr/>
      <dgm:t>
        <a:bodyPr/>
        <a:lstStyle/>
        <a:p>
          <a:endParaRPr lang="en-IN"/>
        </a:p>
      </dgm:t>
    </dgm:pt>
    <dgm:pt modelId="{C538492E-58FE-478D-A519-6637B1E66028}" type="sibTrans" cxnId="{465D8B09-BA94-4B8C-A981-7EB0EB4AA1A2}">
      <dgm:prSet/>
      <dgm:spPr/>
      <dgm:t>
        <a:bodyPr/>
        <a:lstStyle/>
        <a:p>
          <a:endParaRPr lang="en-IN"/>
        </a:p>
      </dgm:t>
    </dgm:pt>
    <dgm:pt modelId="{D246B889-6953-4F48-A508-AA9ED0DDA2CA}">
      <dgm:prSet custT="1"/>
      <dgm:spPr/>
      <dgm:t>
        <a:bodyPr/>
        <a:lstStyle/>
        <a:p>
          <a:r>
            <a:rPr lang="en-US" sz="1100" b="0" i="0"/>
            <a:t>Enhanced Customer Experience: By automating customer service tasks, such as answering frequently asked questions or resolving common issues, businesses can improve the overall customer experience.</a:t>
          </a:r>
          <a:endParaRPr lang="en-IN" sz="1100" b="0"/>
        </a:p>
      </dgm:t>
    </dgm:pt>
    <dgm:pt modelId="{85481BDC-E13C-423F-B66A-C131C540BFAF}" type="parTrans" cxnId="{B1BF9691-25C3-4B93-AEB1-D36A3050B139}">
      <dgm:prSet/>
      <dgm:spPr/>
      <dgm:t>
        <a:bodyPr/>
        <a:lstStyle/>
        <a:p>
          <a:endParaRPr lang="en-IN"/>
        </a:p>
      </dgm:t>
    </dgm:pt>
    <dgm:pt modelId="{CE3D86EC-5B6E-4BD9-9C40-B9F4D2EB7FA1}" type="sibTrans" cxnId="{B1BF9691-25C3-4B93-AEB1-D36A3050B139}">
      <dgm:prSet/>
      <dgm:spPr/>
      <dgm:t>
        <a:bodyPr/>
        <a:lstStyle/>
        <a:p>
          <a:endParaRPr lang="en-IN"/>
        </a:p>
      </dgm:t>
    </dgm:pt>
    <dgm:pt modelId="{2D8D0DBC-68DE-4C80-92D0-B2B3D50BE34F}">
      <dgm:prSet custT="1"/>
      <dgm:spPr/>
      <dgm:t>
        <a:bodyPr/>
        <a:lstStyle/>
        <a:p>
          <a:r>
            <a:rPr lang="en-US" sz="1100" b="0" i="0"/>
            <a:t>Scalability: Intelligent automation can easily scale up or down to meet changing business demands, allowing businesses to adapt to changing market conditions quickly.</a:t>
          </a:r>
          <a:endParaRPr lang="en-IN" sz="1100" b="0"/>
        </a:p>
      </dgm:t>
    </dgm:pt>
    <dgm:pt modelId="{11EF4605-21D7-485E-9F62-1DAF60BAC902}" type="parTrans" cxnId="{9A20DBFE-2CB1-42CF-8348-EA02D917BF11}">
      <dgm:prSet/>
      <dgm:spPr/>
      <dgm:t>
        <a:bodyPr/>
        <a:lstStyle/>
        <a:p>
          <a:endParaRPr lang="en-IN"/>
        </a:p>
      </dgm:t>
    </dgm:pt>
    <dgm:pt modelId="{175E30D4-201C-4366-8C46-CCDE11209490}" type="sibTrans" cxnId="{9A20DBFE-2CB1-42CF-8348-EA02D917BF11}">
      <dgm:prSet/>
      <dgm:spPr/>
      <dgm:t>
        <a:bodyPr/>
        <a:lstStyle/>
        <a:p>
          <a:endParaRPr lang="en-IN"/>
        </a:p>
      </dgm:t>
    </dgm:pt>
    <dgm:pt modelId="{4B952CF0-D687-4B71-AC42-5999F2CC4711}">
      <dgm:prSet custT="1"/>
      <dgm:spPr/>
      <dgm:t>
        <a:bodyPr/>
        <a:lstStyle/>
        <a:p>
          <a:r>
            <a:rPr lang="en-US" sz="1100" b="0" i="0"/>
            <a:t>Overall, intelligent automation can help businesses streamline their operations, reduce costs, and improve the quality of their products or services, leading to increased customer satisfaction and profitability.</a:t>
          </a:r>
          <a:endParaRPr lang="en-IN" sz="1100" b="0"/>
        </a:p>
      </dgm:t>
    </dgm:pt>
    <dgm:pt modelId="{C0235C5A-9480-4595-9AA9-BB42EA6224D2}" type="parTrans" cxnId="{97EBE6C5-5A86-4779-AC0F-69860A7FDBA4}">
      <dgm:prSet/>
      <dgm:spPr/>
      <dgm:t>
        <a:bodyPr/>
        <a:lstStyle/>
        <a:p>
          <a:endParaRPr lang="en-IN"/>
        </a:p>
      </dgm:t>
    </dgm:pt>
    <dgm:pt modelId="{5A5DC2B9-F38B-4103-89FE-0B79DB1C2571}" type="sibTrans" cxnId="{97EBE6C5-5A86-4779-AC0F-69860A7FDBA4}">
      <dgm:prSet/>
      <dgm:spPr/>
      <dgm:t>
        <a:bodyPr/>
        <a:lstStyle/>
        <a:p>
          <a:endParaRPr lang="en-IN"/>
        </a:p>
      </dgm:t>
    </dgm:pt>
    <dgm:pt modelId="{38E857AD-9088-4FEA-B9E8-5E3EA0DF9C0C}" type="pres">
      <dgm:prSet presAssocID="{5D54A8F0-838D-46E0-9D80-93607F6573FF}" presName="compositeShape" presStyleCnt="0">
        <dgm:presLayoutVars>
          <dgm:chMax val="7"/>
          <dgm:dir/>
          <dgm:resizeHandles val="exact"/>
        </dgm:presLayoutVars>
      </dgm:prSet>
      <dgm:spPr/>
    </dgm:pt>
    <dgm:pt modelId="{90B06D6B-5333-47CD-84C5-ED2A80F4F59F}" type="pres">
      <dgm:prSet presAssocID="{56F39443-C689-4C70-8929-A7B7FCBFCB78}" presName="circ1" presStyleLbl="vennNode1" presStyleIdx="0" presStyleCnt="7"/>
      <dgm:spPr/>
    </dgm:pt>
    <dgm:pt modelId="{996B7836-86D3-4FE0-A324-FE16EBD8C9D0}" type="pres">
      <dgm:prSet presAssocID="{56F39443-C689-4C70-8929-A7B7FCBFCB78}" presName="circ1Tx" presStyleLbl="revTx" presStyleIdx="0" presStyleCnt="0">
        <dgm:presLayoutVars>
          <dgm:chMax val="0"/>
          <dgm:chPref val="0"/>
          <dgm:bulletEnabled val="1"/>
        </dgm:presLayoutVars>
      </dgm:prSet>
      <dgm:spPr/>
    </dgm:pt>
    <dgm:pt modelId="{B09EBD37-0C1D-4A48-8C68-901F32DB3DFA}" type="pres">
      <dgm:prSet presAssocID="{1FA0DEA4-C1AF-4E7F-8C56-4AD0BF7E3750}" presName="circ2" presStyleLbl="vennNode1" presStyleIdx="1" presStyleCnt="7"/>
      <dgm:spPr/>
    </dgm:pt>
    <dgm:pt modelId="{7881D070-1CE6-4A94-AB15-898B7CDD7425}" type="pres">
      <dgm:prSet presAssocID="{1FA0DEA4-C1AF-4E7F-8C56-4AD0BF7E3750}" presName="circ2Tx" presStyleLbl="revTx" presStyleIdx="0" presStyleCnt="0">
        <dgm:presLayoutVars>
          <dgm:chMax val="0"/>
          <dgm:chPref val="0"/>
          <dgm:bulletEnabled val="1"/>
        </dgm:presLayoutVars>
      </dgm:prSet>
      <dgm:spPr/>
    </dgm:pt>
    <dgm:pt modelId="{B020AB1C-575C-492C-8B0D-CB98C90EE8A2}" type="pres">
      <dgm:prSet presAssocID="{CBAC37DB-D612-4324-A1A5-5E8B5C9EC7ED}" presName="circ3" presStyleLbl="vennNode1" presStyleIdx="2" presStyleCnt="7"/>
      <dgm:spPr/>
    </dgm:pt>
    <dgm:pt modelId="{DE80CFBD-EE60-412E-B03A-227813359E69}" type="pres">
      <dgm:prSet presAssocID="{CBAC37DB-D612-4324-A1A5-5E8B5C9EC7ED}" presName="circ3Tx" presStyleLbl="revTx" presStyleIdx="0" presStyleCnt="0">
        <dgm:presLayoutVars>
          <dgm:chMax val="0"/>
          <dgm:chPref val="0"/>
          <dgm:bulletEnabled val="1"/>
        </dgm:presLayoutVars>
      </dgm:prSet>
      <dgm:spPr/>
    </dgm:pt>
    <dgm:pt modelId="{2A39017B-8D59-47EC-93ED-539EAFCFDA2B}" type="pres">
      <dgm:prSet presAssocID="{FDE80DD3-1E4E-4E52-8D3D-7CA88DB09D8D}" presName="circ4" presStyleLbl="vennNode1" presStyleIdx="3" presStyleCnt="7"/>
      <dgm:spPr/>
    </dgm:pt>
    <dgm:pt modelId="{70149656-1068-48D3-BBB4-407D220FEA93}" type="pres">
      <dgm:prSet presAssocID="{FDE80DD3-1E4E-4E52-8D3D-7CA88DB09D8D}" presName="circ4Tx" presStyleLbl="revTx" presStyleIdx="0" presStyleCnt="0">
        <dgm:presLayoutVars>
          <dgm:chMax val="0"/>
          <dgm:chPref val="0"/>
          <dgm:bulletEnabled val="1"/>
        </dgm:presLayoutVars>
      </dgm:prSet>
      <dgm:spPr/>
    </dgm:pt>
    <dgm:pt modelId="{9A1A7C47-ADD5-40F9-BE16-A6E6A93327B2}" type="pres">
      <dgm:prSet presAssocID="{D246B889-6953-4F48-A508-AA9ED0DDA2CA}" presName="circ5" presStyleLbl="vennNode1" presStyleIdx="4" presStyleCnt="7"/>
      <dgm:spPr/>
    </dgm:pt>
    <dgm:pt modelId="{A3FC3325-03F1-4A98-B531-9355A5A315B9}" type="pres">
      <dgm:prSet presAssocID="{D246B889-6953-4F48-A508-AA9ED0DDA2CA}" presName="circ5Tx" presStyleLbl="revTx" presStyleIdx="0" presStyleCnt="0">
        <dgm:presLayoutVars>
          <dgm:chMax val="0"/>
          <dgm:chPref val="0"/>
          <dgm:bulletEnabled val="1"/>
        </dgm:presLayoutVars>
      </dgm:prSet>
      <dgm:spPr/>
    </dgm:pt>
    <dgm:pt modelId="{4936EAB8-3FB7-464B-A946-8A7271A31F2F}" type="pres">
      <dgm:prSet presAssocID="{2D8D0DBC-68DE-4C80-92D0-B2B3D50BE34F}" presName="circ6" presStyleLbl="vennNode1" presStyleIdx="5" presStyleCnt="7"/>
      <dgm:spPr/>
    </dgm:pt>
    <dgm:pt modelId="{DD547665-DCDC-44CB-87F0-959597FC8D68}" type="pres">
      <dgm:prSet presAssocID="{2D8D0DBC-68DE-4C80-92D0-B2B3D50BE34F}" presName="circ6Tx" presStyleLbl="revTx" presStyleIdx="0" presStyleCnt="0">
        <dgm:presLayoutVars>
          <dgm:chMax val="0"/>
          <dgm:chPref val="0"/>
          <dgm:bulletEnabled val="1"/>
        </dgm:presLayoutVars>
      </dgm:prSet>
      <dgm:spPr/>
    </dgm:pt>
    <dgm:pt modelId="{247AD2A4-8338-41DA-A6A0-E63416A08CE1}" type="pres">
      <dgm:prSet presAssocID="{4B952CF0-D687-4B71-AC42-5999F2CC4711}" presName="circ7" presStyleLbl="vennNode1" presStyleIdx="6" presStyleCnt="7"/>
      <dgm:spPr/>
    </dgm:pt>
    <dgm:pt modelId="{F5A95ACE-F6E2-47AF-8713-09B2B0E3FB17}" type="pres">
      <dgm:prSet presAssocID="{4B952CF0-D687-4B71-AC42-5999F2CC4711}" presName="circ7Tx" presStyleLbl="revTx" presStyleIdx="0" presStyleCnt="0">
        <dgm:presLayoutVars>
          <dgm:chMax val="0"/>
          <dgm:chPref val="0"/>
          <dgm:bulletEnabled val="1"/>
        </dgm:presLayoutVars>
      </dgm:prSet>
      <dgm:spPr/>
    </dgm:pt>
  </dgm:ptLst>
  <dgm:cxnLst>
    <dgm:cxn modelId="{20D80300-F888-4D45-8A9D-41D55D1BB9C8}" type="presOf" srcId="{2D8D0DBC-68DE-4C80-92D0-B2B3D50BE34F}" destId="{DD547665-DCDC-44CB-87F0-959597FC8D68}" srcOrd="0" destOrd="0" presId="urn:microsoft.com/office/officeart/2005/8/layout/venn1"/>
    <dgm:cxn modelId="{465D8B09-BA94-4B8C-A981-7EB0EB4AA1A2}" srcId="{5D54A8F0-838D-46E0-9D80-93607F6573FF}" destId="{FDE80DD3-1E4E-4E52-8D3D-7CA88DB09D8D}" srcOrd="3" destOrd="0" parTransId="{F5AA7C6D-D6DB-4B6E-BE9D-75AEBC2B6EA9}" sibTransId="{C538492E-58FE-478D-A519-6637B1E66028}"/>
    <dgm:cxn modelId="{AFFA9911-B74C-48A9-B9AB-EC370959E489}" type="presOf" srcId="{1FA0DEA4-C1AF-4E7F-8C56-4AD0BF7E3750}" destId="{7881D070-1CE6-4A94-AB15-898B7CDD7425}" srcOrd="0" destOrd="0" presId="urn:microsoft.com/office/officeart/2005/8/layout/venn1"/>
    <dgm:cxn modelId="{46E9D515-95D0-47DE-B0DD-978EC59BD7DE}" srcId="{5D54A8F0-838D-46E0-9D80-93607F6573FF}" destId="{56F39443-C689-4C70-8929-A7B7FCBFCB78}" srcOrd="0" destOrd="0" parTransId="{1321C907-B7F4-429D-972E-40D38D7CBC97}" sibTransId="{AEBB4E46-A54B-4677-BA07-EC0C27C1C6D9}"/>
    <dgm:cxn modelId="{D906912D-3C0A-40A0-9121-30CB6BCE4B65}" srcId="{5D54A8F0-838D-46E0-9D80-93607F6573FF}" destId="{1FA0DEA4-C1AF-4E7F-8C56-4AD0BF7E3750}" srcOrd="1" destOrd="0" parTransId="{FF5E2D9B-0F2F-4252-B6F5-D951E6FEDE4E}" sibTransId="{70270919-ABB9-4162-B6EF-409E2FA4D9C8}"/>
    <dgm:cxn modelId="{47FAA83E-F92E-4735-A138-76852A8C15AE}" type="presOf" srcId="{4B952CF0-D687-4B71-AC42-5999F2CC4711}" destId="{F5A95ACE-F6E2-47AF-8713-09B2B0E3FB17}" srcOrd="0" destOrd="0" presId="urn:microsoft.com/office/officeart/2005/8/layout/venn1"/>
    <dgm:cxn modelId="{1CD5FB6E-674E-4776-8E28-5570A2AF6803}" type="presOf" srcId="{CBAC37DB-D612-4324-A1A5-5E8B5C9EC7ED}" destId="{DE80CFBD-EE60-412E-B03A-227813359E69}" srcOrd="0" destOrd="0" presId="urn:microsoft.com/office/officeart/2005/8/layout/venn1"/>
    <dgm:cxn modelId="{FF704B85-05B5-4445-88CF-381106DF0116}" type="presOf" srcId="{D246B889-6953-4F48-A508-AA9ED0DDA2CA}" destId="{A3FC3325-03F1-4A98-B531-9355A5A315B9}" srcOrd="0" destOrd="0" presId="urn:microsoft.com/office/officeart/2005/8/layout/venn1"/>
    <dgm:cxn modelId="{F0F6218C-6EC2-4089-978A-DAD6432BE9AF}" type="presOf" srcId="{56F39443-C689-4C70-8929-A7B7FCBFCB78}" destId="{996B7836-86D3-4FE0-A324-FE16EBD8C9D0}" srcOrd="0" destOrd="0" presId="urn:microsoft.com/office/officeart/2005/8/layout/venn1"/>
    <dgm:cxn modelId="{B1BF9691-25C3-4B93-AEB1-D36A3050B139}" srcId="{5D54A8F0-838D-46E0-9D80-93607F6573FF}" destId="{D246B889-6953-4F48-A508-AA9ED0DDA2CA}" srcOrd="4" destOrd="0" parTransId="{85481BDC-E13C-423F-B66A-C131C540BFAF}" sibTransId="{CE3D86EC-5B6E-4BD9-9C40-B9F4D2EB7FA1}"/>
    <dgm:cxn modelId="{7EEC61BA-958E-4545-86E9-2F6F537FFF20}" type="presOf" srcId="{5D54A8F0-838D-46E0-9D80-93607F6573FF}" destId="{38E857AD-9088-4FEA-B9E8-5E3EA0DF9C0C}" srcOrd="0" destOrd="0" presId="urn:microsoft.com/office/officeart/2005/8/layout/venn1"/>
    <dgm:cxn modelId="{1C5672BA-4A00-4DAC-A3FA-3630EBC8F41C}" type="presOf" srcId="{FDE80DD3-1E4E-4E52-8D3D-7CA88DB09D8D}" destId="{70149656-1068-48D3-BBB4-407D220FEA93}" srcOrd="0" destOrd="0" presId="urn:microsoft.com/office/officeart/2005/8/layout/venn1"/>
    <dgm:cxn modelId="{97EBE6C5-5A86-4779-AC0F-69860A7FDBA4}" srcId="{5D54A8F0-838D-46E0-9D80-93607F6573FF}" destId="{4B952CF0-D687-4B71-AC42-5999F2CC4711}" srcOrd="6" destOrd="0" parTransId="{C0235C5A-9480-4595-9AA9-BB42EA6224D2}" sibTransId="{5A5DC2B9-F38B-4103-89FE-0B79DB1C2571}"/>
    <dgm:cxn modelId="{1A960DCD-70B6-407B-ADB1-87EAD96B281A}" srcId="{5D54A8F0-838D-46E0-9D80-93607F6573FF}" destId="{CBAC37DB-D612-4324-A1A5-5E8B5C9EC7ED}" srcOrd="2" destOrd="0" parTransId="{FBEEB1C6-B20E-47D7-A5F8-4C287EF97BCD}" sibTransId="{C210650A-3A97-41F1-83EA-6722EC60833F}"/>
    <dgm:cxn modelId="{9A20DBFE-2CB1-42CF-8348-EA02D917BF11}" srcId="{5D54A8F0-838D-46E0-9D80-93607F6573FF}" destId="{2D8D0DBC-68DE-4C80-92D0-B2B3D50BE34F}" srcOrd="5" destOrd="0" parTransId="{11EF4605-21D7-485E-9F62-1DAF60BAC902}" sibTransId="{175E30D4-201C-4366-8C46-CCDE11209490}"/>
    <dgm:cxn modelId="{80E64EE8-103C-4E96-88A3-6473897C4ABD}" type="presParOf" srcId="{38E857AD-9088-4FEA-B9E8-5E3EA0DF9C0C}" destId="{90B06D6B-5333-47CD-84C5-ED2A80F4F59F}" srcOrd="0" destOrd="0" presId="urn:microsoft.com/office/officeart/2005/8/layout/venn1"/>
    <dgm:cxn modelId="{EAD6BEFF-90A0-4D91-93E0-11B144EEF52C}" type="presParOf" srcId="{38E857AD-9088-4FEA-B9E8-5E3EA0DF9C0C}" destId="{996B7836-86D3-4FE0-A324-FE16EBD8C9D0}" srcOrd="1" destOrd="0" presId="urn:microsoft.com/office/officeart/2005/8/layout/venn1"/>
    <dgm:cxn modelId="{22136834-3532-4832-8272-EB5821877641}" type="presParOf" srcId="{38E857AD-9088-4FEA-B9E8-5E3EA0DF9C0C}" destId="{B09EBD37-0C1D-4A48-8C68-901F32DB3DFA}" srcOrd="2" destOrd="0" presId="urn:microsoft.com/office/officeart/2005/8/layout/venn1"/>
    <dgm:cxn modelId="{DF7B8104-B0D0-4912-B529-981CA3A6DC63}" type="presParOf" srcId="{38E857AD-9088-4FEA-B9E8-5E3EA0DF9C0C}" destId="{7881D070-1CE6-4A94-AB15-898B7CDD7425}" srcOrd="3" destOrd="0" presId="urn:microsoft.com/office/officeart/2005/8/layout/venn1"/>
    <dgm:cxn modelId="{22307B80-F8E0-4394-8DA7-7711A0276CB0}" type="presParOf" srcId="{38E857AD-9088-4FEA-B9E8-5E3EA0DF9C0C}" destId="{B020AB1C-575C-492C-8B0D-CB98C90EE8A2}" srcOrd="4" destOrd="0" presId="urn:microsoft.com/office/officeart/2005/8/layout/venn1"/>
    <dgm:cxn modelId="{A99F0159-4B64-4162-A9AF-43A22A922D45}" type="presParOf" srcId="{38E857AD-9088-4FEA-B9E8-5E3EA0DF9C0C}" destId="{DE80CFBD-EE60-412E-B03A-227813359E69}" srcOrd="5" destOrd="0" presId="urn:microsoft.com/office/officeart/2005/8/layout/venn1"/>
    <dgm:cxn modelId="{747E3F21-C026-4825-86B6-DB462371156C}" type="presParOf" srcId="{38E857AD-9088-4FEA-B9E8-5E3EA0DF9C0C}" destId="{2A39017B-8D59-47EC-93ED-539EAFCFDA2B}" srcOrd="6" destOrd="0" presId="urn:microsoft.com/office/officeart/2005/8/layout/venn1"/>
    <dgm:cxn modelId="{46A0F9BA-E258-4FBA-9085-9C0BCD9ED44C}" type="presParOf" srcId="{38E857AD-9088-4FEA-B9E8-5E3EA0DF9C0C}" destId="{70149656-1068-48D3-BBB4-407D220FEA93}" srcOrd="7" destOrd="0" presId="urn:microsoft.com/office/officeart/2005/8/layout/venn1"/>
    <dgm:cxn modelId="{C20D198C-9A57-4950-8845-D3C7E9291119}" type="presParOf" srcId="{38E857AD-9088-4FEA-B9E8-5E3EA0DF9C0C}" destId="{9A1A7C47-ADD5-40F9-BE16-A6E6A93327B2}" srcOrd="8" destOrd="0" presId="urn:microsoft.com/office/officeart/2005/8/layout/venn1"/>
    <dgm:cxn modelId="{7FF2ECF2-68C0-49E0-A03D-E4C6F4CFF754}" type="presParOf" srcId="{38E857AD-9088-4FEA-B9E8-5E3EA0DF9C0C}" destId="{A3FC3325-03F1-4A98-B531-9355A5A315B9}" srcOrd="9" destOrd="0" presId="urn:microsoft.com/office/officeart/2005/8/layout/venn1"/>
    <dgm:cxn modelId="{0B4AE4B0-C063-47B5-8BAE-4E9021B95C5A}" type="presParOf" srcId="{38E857AD-9088-4FEA-B9E8-5E3EA0DF9C0C}" destId="{4936EAB8-3FB7-464B-A946-8A7271A31F2F}" srcOrd="10" destOrd="0" presId="urn:microsoft.com/office/officeart/2005/8/layout/venn1"/>
    <dgm:cxn modelId="{FE0CD4D7-E97B-419D-9B7B-8496799EC15D}" type="presParOf" srcId="{38E857AD-9088-4FEA-B9E8-5E3EA0DF9C0C}" destId="{DD547665-DCDC-44CB-87F0-959597FC8D68}" srcOrd="11" destOrd="0" presId="urn:microsoft.com/office/officeart/2005/8/layout/venn1"/>
    <dgm:cxn modelId="{E55282EA-68C2-4B0C-98D5-01ABDC1C7C20}" type="presParOf" srcId="{38E857AD-9088-4FEA-B9E8-5E3EA0DF9C0C}" destId="{247AD2A4-8338-41DA-A6A0-E63416A08CE1}" srcOrd="12" destOrd="0" presId="urn:microsoft.com/office/officeart/2005/8/layout/venn1"/>
    <dgm:cxn modelId="{49C57B57-1EF3-4922-9994-0523ADAB3EB9}" type="presParOf" srcId="{38E857AD-9088-4FEA-B9E8-5E3EA0DF9C0C}" destId="{F5A95ACE-F6E2-47AF-8713-09B2B0E3FB17}" srcOrd="1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54A8F0-838D-46E0-9D80-93607F6573FF}"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IN"/>
        </a:p>
      </dgm:t>
    </dgm:pt>
    <dgm:pt modelId="{9FA78B4A-7518-46BA-80EC-960C9E9C31BE}">
      <dgm:prSet/>
      <dgm:spPr/>
      <dgm:t>
        <a:bodyPr/>
        <a:lstStyle/>
        <a:p>
          <a:pPr>
            <a:buFont typeface="+mj-lt"/>
            <a:buAutoNum type="arabicPeriod"/>
          </a:pPr>
          <a:r>
            <a:rPr lang="en-US" b="0" i="0"/>
            <a:t>Customer Service: Intelligent automation can be used to automate customer support tasks, such as answering frequently asked questions or resolving common issues, leading to enhanced customer experience.</a:t>
          </a:r>
        </a:p>
      </dgm:t>
    </dgm:pt>
    <dgm:pt modelId="{C7DC8A9C-FEEE-47E3-9B72-269D9347FFB5}" type="parTrans" cxnId="{687F02AF-EC05-4061-9B88-ED226CCD0325}">
      <dgm:prSet/>
      <dgm:spPr/>
      <dgm:t>
        <a:bodyPr/>
        <a:lstStyle/>
        <a:p>
          <a:endParaRPr lang="en-IN"/>
        </a:p>
      </dgm:t>
    </dgm:pt>
    <dgm:pt modelId="{D71DCBA1-7DB8-4690-8E87-738DAE4E2927}" type="sibTrans" cxnId="{687F02AF-EC05-4061-9B88-ED226CCD0325}">
      <dgm:prSet/>
      <dgm:spPr/>
      <dgm:t>
        <a:bodyPr/>
        <a:lstStyle/>
        <a:p>
          <a:endParaRPr lang="en-IN"/>
        </a:p>
      </dgm:t>
    </dgm:pt>
    <dgm:pt modelId="{16852598-99C4-4614-80D6-7D47394927B2}">
      <dgm:prSet/>
      <dgm:spPr/>
      <dgm:t>
        <a:bodyPr/>
        <a:lstStyle/>
        <a:p>
          <a:pPr>
            <a:buFont typeface="+mj-lt"/>
            <a:buAutoNum type="arabicPeriod"/>
          </a:pPr>
          <a:r>
            <a:rPr lang="en-US" b="0" i="0"/>
            <a:t>Manufacturing: In manufacturing, intelligent automation can be used for quality control, predictive maintenance, and supply chain management.</a:t>
          </a:r>
        </a:p>
      </dgm:t>
    </dgm:pt>
    <dgm:pt modelId="{149DB0B4-B248-4901-BE2F-15FB6BC77F61}" type="parTrans" cxnId="{875F7CBB-7913-4FF8-9F16-19E0B104A21A}">
      <dgm:prSet/>
      <dgm:spPr/>
      <dgm:t>
        <a:bodyPr/>
        <a:lstStyle/>
        <a:p>
          <a:endParaRPr lang="en-IN"/>
        </a:p>
      </dgm:t>
    </dgm:pt>
    <dgm:pt modelId="{E2180416-2C48-4B5C-848F-2C88455126B3}" type="sibTrans" cxnId="{875F7CBB-7913-4FF8-9F16-19E0B104A21A}">
      <dgm:prSet/>
      <dgm:spPr/>
      <dgm:t>
        <a:bodyPr/>
        <a:lstStyle/>
        <a:p>
          <a:endParaRPr lang="en-IN"/>
        </a:p>
      </dgm:t>
    </dgm:pt>
    <dgm:pt modelId="{B8F85D4A-843C-4791-AC57-7E05058A298C}">
      <dgm:prSet/>
      <dgm:spPr/>
      <dgm:t>
        <a:bodyPr/>
        <a:lstStyle/>
        <a:p>
          <a:pPr>
            <a:buFont typeface="+mj-lt"/>
            <a:buAutoNum type="arabicPeriod"/>
          </a:pPr>
          <a:r>
            <a:rPr lang="en-US" b="0" i="0"/>
            <a:t>Finance: In finance, intelligent automation can be used for fraud detection, risk management, and regulatory compliance.</a:t>
          </a:r>
        </a:p>
      </dgm:t>
    </dgm:pt>
    <dgm:pt modelId="{6F40886D-2886-427C-80D4-CE8DC6EE2F6F}" type="parTrans" cxnId="{F538EF16-9F10-4AA1-8B5F-284AADA72BD2}">
      <dgm:prSet/>
      <dgm:spPr/>
      <dgm:t>
        <a:bodyPr/>
        <a:lstStyle/>
        <a:p>
          <a:endParaRPr lang="en-IN"/>
        </a:p>
      </dgm:t>
    </dgm:pt>
    <dgm:pt modelId="{94B44444-16DC-4EC0-AA23-1B293293F962}" type="sibTrans" cxnId="{F538EF16-9F10-4AA1-8B5F-284AADA72BD2}">
      <dgm:prSet/>
      <dgm:spPr/>
      <dgm:t>
        <a:bodyPr/>
        <a:lstStyle/>
        <a:p>
          <a:endParaRPr lang="en-IN"/>
        </a:p>
      </dgm:t>
    </dgm:pt>
    <dgm:pt modelId="{ECF25BC8-591F-4A90-AFE8-C3CD8CAE25F0}">
      <dgm:prSet/>
      <dgm:spPr/>
      <dgm:t>
        <a:bodyPr/>
        <a:lstStyle/>
        <a:p>
          <a:pPr>
            <a:buFont typeface="+mj-lt"/>
            <a:buAutoNum type="arabicPeriod"/>
          </a:pPr>
          <a:r>
            <a:rPr lang="en-US" b="0" i="0"/>
            <a:t>Healthcare: In healthcare, intelligent automation can be used for medical data analysis, patient monitoring, and personalized treatment planning.</a:t>
          </a:r>
        </a:p>
      </dgm:t>
    </dgm:pt>
    <dgm:pt modelId="{1F4F537C-C83D-4436-BD23-1C92AD4AC9A5}" type="parTrans" cxnId="{70B12CE6-9DA4-45FE-AF93-319CDE8B53C2}">
      <dgm:prSet/>
      <dgm:spPr/>
      <dgm:t>
        <a:bodyPr/>
        <a:lstStyle/>
        <a:p>
          <a:endParaRPr lang="en-IN"/>
        </a:p>
      </dgm:t>
    </dgm:pt>
    <dgm:pt modelId="{4C4D45E1-D161-4457-A45A-D49F2583D3D1}" type="sibTrans" cxnId="{70B12CE6-9DA4-45FE-AF93-319CDE8B53C2}">
      <dgm:prSet/>
      <dgm:spPr/>
      <dgm:t>
        <a:bodyPr/>
        <a:lstStyle/>
        <a:p>
          <a:endParaRPr lang="en-IN"/>
        </a:p>
      </dgm:t>
    </dgm:pt>
    <dgm:pt modelId="{7C88C11F-4B8B-43DA-8D8E-CD9D42ACA71D}">
      <dgm:prSet/>
      <dgm:spPr/>
      <dgm:t>
        <a:bodyPr/>
        <a:lstStyle/>
        <a:p>
          <a:pPr>
            <a:buFont typeface="+mj-lt"/>
            <a:buAutoNum type="arabicPeriod"/>
          </a:pPr>
          <a:r>
            <a:rPr lang="en-US" b="0" i="0"/>
            <a:t>Human Resources: In human resources, intelligent automation can be used for recruitment, onboarding, and performance evaluation.</a:t>
          </a:r>
        </a:p>
      </dgm:t>
    </dgm:pt>
    <dgm:pt modelId="{85DA3D4D-BD7B-471A-9B12-72655CC4D5E7}" type="parTrans" cxnId="{2D138371-BA1B-480C-916A-F801C765F950}">
      <dgm:prSet/>
      <dgm:spPr/>
      <dgm:t>
        <a:bodyPr/>
        <a:lstStyle/>
        <a:p>
          <a:endParaRPr lang="en-IN"/>
        </a:p>
      </dgm:t>
    </dgm:pt>
    <dgm:pt modelId="{4EC1878F-C1D0-4110-8518-783B3EAF2E2C}" type="sibTrans" cxnId="{2D138371-BA1B-480C-916A-F801C765F950}">
      <dgm:prSet/>
      <dgm:spPr/>
      <dgm:t>
        <a:bodyPr/>
        <a:lstStyle/>
        <a:p>
          <a:endParaRPr lang="en-IN"/>
        </a:p>
      </dgm:t>
    </dgm:pt>
    <dgm:pt modelId="{49E3CBB3-D116-4417-8DB8-67F2980EB86A}">
      <dgm:prSet/>
      <dgm:spPr/>
      <dgm:t>
        <a:bodyPr/>
        <a:lstStyle/>
        <a:p>
          <a:pPr>
            <a:buFont typeface="+mj-lt"/>
            <a:buAutoNum type="arabicPeriod"/>
          </a:pPr>
          <a:r>
            <a:rPr lang="en-US" b="0" i="0"/>
            <a:t>Retail: In retail, intelligent automation can be used for inventory management, personalized marketing, and customer support.</a:t>
          </a:r>
        </a:p>
      </dgm:t>
    </dgm:pt>
    <dgm:pt modelId="{028CA8B7-582E-4D50-961E-30DEA09D46B9}" type="parTrans" cxnId="{F3CCAE21-CFEF-4044-870B-2A5F1267FF1E}">
      <dgm:prSet/>
      <dgm:spPr/>
      <dgm:t>
        <a:bodyPr/>
        <a:lstStyle/>
        <a:p>
          <a:endParaRPr lang="en-IN"/>
        </a:p>
      </dgm:t>
    </dgm:pt>
    <dgm:pt modelId="{C98DC447-EABE-427F-A2FC-90D40EF99057}" type="sibTrans" cxnId="{F3CCAE21-CFEF-4044-870B-2A5F1267FF1E}">
      <dgm:prSet/>
      <dgm:spPr/>
      <dgm:t>
        <a:bodyPr/>
        <a:lstStyle/>
        <a:p>
          <a:endParaRPr lang="en-IN"/>
        </a:p>
      </dgm:t>
    </dgm:pt>
    <dgm:pt modelId="{B6E04F82-9D1E-4622-A3BF-3143C2AE7ADB}">
      <dgm:prSet/>
      <dgm:spPr/>
      <dgm:t>
        <a:bodyPr/>
        <a:lstStyle/>
        <a:p>
          <a:pPr>
            <a:buFont typeface="+mj-lt"/>
            <a:buAutoNum type="arabicPeriod"/>
          </a:pPr>
          <a:r>
            <a:rPr lang="en-US" b="0" i="0"/>
            <a:t>Logistics: In logistics, intelligent automation can be used for route optimization, shipment tracking, and warehouse management.</a:t>
          </a:r>
        </a:p>
      </dgm:t>
    </dgm:pt>
    <dgm:pt modelId="{32FE8415-B58E-496D-BA93-3B505DF8C5B9}" type="parTrans" cxnId="{76CE41DB-3272-4117-9268-5121D67D87E8}">
      <dgm:prSet/>
      <dgm:spPr/>
      <dgm:t>
        <a:bodyPr/>
        <a:lstStyle/>
        <a:p>
          <a:endParaRPr lang="en-IN"/>
        </a:p>
      </dgm:t>
    </dgm:pt>
    <dgm:pt modelId="{584807B8-66CC-46C4-A3A3-85B3D0E50927}" type="sibTrans" cxnId="{76CE41DB-3272-4117-9268-5121D67D87E8}">
      <dgm:prSet/>
      <dgm:spPr/>
      <dgm:t>
        <a:bodyPr/>
        <a:lstStyle/>
        <a:p>
          <a:endParaRPr lang="en-IN"/>
        </a:p>
      </dgm:t>
    </dgm:pt>
    <dgm:pt modelId="{C2BF7242-AB3B-4F5E-B689-1B2104141832}" type="pres">
      <dgm:prSet presAssocID="{5D54A8F0-838D-46E0-9D80-93607F6573FF}" presName="diagram" presStyleCnt="0">
        <dgm:presLayoutVars>
          <dgm:dir/>
          <dgm:resizeHandles val="exact"/>
        </dgm:presLayoutVars>
      </dgm:prSet>
      <dgm:spPr/>
    </dgm:pt>
    <dgm:pt modelId="{CE4DD5E6-C53D-4B73-A080-B858E6B5A182}" type="pres">
      <dgm:prSet presAssocID="{9FA78B4A-7518-46BA-80EC-960C9E9C31BE}" presName="node" presStyleLbl="node1" presStyleIdx="0" presStyleCnt="7">
        <dgm:presLayoutVars>
          <dgm:bulletEnabled val="1"/>
        </dgm:presLayoutVars>
      </dgm:prSet>
      <dgm:spPr/>
    </dgm:pt>
    <dgm:pt modelId="{3DB075B4-5854-4246-B135-5FB63FDD4848}" type="pres">
      <dgm:prSet presAssocID="{D71DCBA1-7DB8-4690-8E87-738DAE4E2927}" presName="sibTrans" presStyleCnt="0"/>
      <dgm:spPr/>
    </dgm:pt>
    <dgm:pt modelId="{4E62153C-EB05-4033-97BC-8D932DD6C9D1}" type="pres">
      <dgm:prSet presAssocID="{16852598-99C4-4614-80D6-7D47394927B2}" presName="node" presStyleLbl="node1" presStyleIdx="1" presStyleCnt="7">
        <dgm:presLayoutVars>
          <dgm:bulletEnabled val="1"/>
        </dgm:presLayoutVars>
      </dgm:prSet>
      <dgm:spPr/>
    </dgm:pt>
    <dgm:pt modelId="{26F4E119-EEBF-486D-937A-AE56D87FBB6D}" type="pres">
      <dgm:prSet presAssocID="{E2180416-2C48-4B5C-848F-2C88455126B3}" presName="sibTrans" presStyleCnt="0"/>
      <dgm:spPr/>
    </dgm:pt>
    <dgm:pt modelId="{8BC19472-C348-460D-8158-5125D4EB5E71}" type="pres">
      <dgm:prSet presAssocID="{B8F85D4A-843C-4791-AC57-7E05058A298C}" presName="node" presStyleLbl="node1" presStyleIdx="2" presStyleCnt="7">
        <dgm:presLayoutVars>
          <dgm:bulletEnabled val="1"/>
        </dgm:presLayoutVars>
      </dgm:prSet>
      <dgm:spPr/>
    </dgm:pt>
    <dgm:pt modelId="{5102E41B-8AF9-4E49-8C83-1D60F60BFBC2}" type="pres">
      <dgm:prSet presAssocID="{94B44444-16DC-4EC0-AA23-1B293293F962}" presName="sibTrans" presStyleCnt="0"/>
      <dgm:spPr/>
    </dgm:pt>
    <dgm:pt modelId="{1A1AFD5B-73E8-4ED6-9F08-72D873D41EFC}" type="pres">
      <dgm:prSet presAssocID="{ECF25BC8-591F-4A90-AFE8-C3CD8CAE25F0}" presName="node" presStyleLbl="node1" presStyleIdx="3" presStyleCnt="7">
        <dgm:presLayoutVars>
          <dgm:bulletEnabled val="1"/>
        </dgm:presLayoutVars>
      </dgm:prSet>
      <dgm:spPr/>
    </dgm:pt>
    <dgm:pt modelId="{B0C4B942-402F-4813-83FD-F0AC1E1F4567}" type="pres">
      <dgm:prSet presAssocID="{4C4D45E1-D161-4457-A45A-D49F2583D3D1}" presName="sibTrans" presStyleCnt="0"/>
      <dgm:spPr/>
    </dgm:pt>
    <dgm:pt modelId="{F034BAC4-3BD6-466A-8FC5-AB9DF69A3A5D}" type="pres">
      <dgm:prSet presAssocID="{7C88C11F-4B8B-43DA-8D8E-CD9D42ACA71D}" presName="node" presStyleLbl="node1" presStyleIdx="4" presStyleCnt="7">
        <dgm:presLayoutVars>
          <dgm:bulletEnabled val="1"/>
        </dgm:presLayoutVars>
      </dgm:prSet>
      <dgm:spPr/>
    </dgm:pt>
    <dgm:pt modelId="{B6DB4EA1-1408-4933-A48C-15D6AAEDA875}" type="pres">
      <dgm:prSet presAssocID="{4EC1878F-C1D0-4110-8518-783B3EAF2E2C}" presName="sibTrans" presStyleCnt="0"/>
      <dgm:spPr/>
    </dgm:pt>
    <dgm:pt modelId="{DA344CAB-D784-4DE2-90F8-830983CB3C1F}" type="pres">
      <dgm:prSet presAssocID="{49E3CBB3-D116-4417-8DB8-67F2980EB86A}" presName="node" presStyleLbl="node1" presStyleIdx="5" presStyleCnt="7">
        <dgm:presLayoutVars>
          <dgm:bulletEnabled val="1"/>
        </dgm:presLayoutVars>
      </dgm:prSet>
      <dgm:spPr/>
    </dgm:pt>
    <dgm:pt modelId="{01A0EE44-F683-4AF1-B890-373BC2F55F21}" type="pres">
      <dgm:prSet presAssocID="{C98DC447-EABE-427F-A2FC-90D40EF99057}" presName="sibTrans" presStyleCnt="0"/>
      <dgm:spPr/>
    </dgm:pt>
    <dgm:pt modelId="{6CF95AF5-72AC-4BD6-9A90-926B546775D4}" type="pres">
      <dgm:prSet presAssocID="{B6E04F82-9D1E-4622-A3BF-3143C2AE7ADB}" presName="node" presStyleLbl="node1" presStyleIdx="6" presStyleCnt="7">
        <dgm:presLayoutVars>
          <dgm:bulletEnabled val="1"/>
        </dgm:presLayoutVars>
      </dgm:prSet>
      <dgm:spPr/>
    </dgm:pt>
  </dgm:ptLst>
  <dgm:cxnLst>
    <dgm:cxn modelId="{CA33D708-48F3-425E-9A0F-446EE8D6D357}" type="presOf" srcId="{5D54A8F0-838D-46E0-9D80-93607F6573FF}" destId="{C2BF7242-AB3B-4F5E-B689-1B2104141832}" srcOrd="0" destOrd="0" presId="urn:microsoft.com/office/officeart/2005/8/layout/default"/>
    <dgm:cxn modelId="{CCE73D13-19EA-4316-9697-2049D04A601C}" type="presOf" srcId="{49E3CBB3-D116-4417-8DB8-67F2980EB86A}" destId="{DA344CAB-D784-4DE2-90F8-830983CB3C1F}" srcOrd="0" destOrd="0" presId="urn:microsoft.com/office/officeart/2005/8/layout/default"/>
    <dgm:cxn modelId="{F538EF16-9F10-4AA1-8B5F-284AADA72BD2}" srcId="{5D54A8F0-838D-46E0-9D80-93607F6573FF}" destId="{B8F85D4A-843C-4791-AC57-7E05058A298C}" srcOrd="2" destOrd="0" parTransId="{6F40886D-2886-427C-80D4-CE8DC6EE2F6F}" sibTransId="{94B44444-16DC-4EC0-AA23-1B293293F962}"/>
    <dgm:cxn modelId="{F3CCAE21-CFEF-4044-870B-2A5F1267FF1E}" srcId="{5D54A8F0-838D-46E0-9D80-93607F6573FF}" destId="{49E3CBB3-D116-4417-8DB8-67F2980EB86A}" srcOrd="5" destOrd="0" parTransId="{028CA8B7-582E-4D50-961E-30DEA09D46B9}" sibTransId="{C98DC447-EABE-427F-A2FC-90D40EF99057}"/>
    <dgm:cxn modelId="{60B76A3F-90F7-487E-BB81-08A61DE55FDA}" type="presOf" srcId="{B6E04F82-9D1E-4622-A3BF-3143C2AE7ADB}" destId="{6CF95AF5-72AC-4BD6-9A90-926B546775D4}" srcOrd="0" destOrd="0" presId="urn:microsoft.com/office/officeart/2005/8/layout/default"/>
    <dgm:cxn modelId="{190C585C-6C1D-4E96-933F-72DA927A2BA0}" type="presOf" srcId="{7C88C11F-4B8B-43DA-8D8E-CD9D42ACA71D}" destId="{F034BAC4-3BD6-466A-8FC5-AB9DF69A3A5D}" srcOrd="0" destOrd="0" presId="urn:microsoft.com/office/officeart/2005/8/layout/default"/>
    <dgm:cxn modelId="{2D138371-BA1B-480C-916A-F801C765F950}" srcId="{5D54A8F0-838D-46E0-9D80-93607F6573FF}" destId="{7C88C11F-4B8B-43DA-8D8E-CD9D42ACA71D}" srcOrd="4" destOrd="0" parTransId="{85DA3D4D-BD7B-471A-9B12-72655CC4D5E7}" sibTransId="{4EC1878F-C1D0-4110-8518-783B3EAF2E2C}"/>
    <dgm:cxn modelId="{D6A2F9A3-1A70-4264-9735-59D6F0E2D9CF}" type="presOf" srcId="{ECF25BC8-591F-4A90-AFE8-C3CD8CAE25F0}" destId="{1A1AFD5B-73E8-4ED6-9F08-72D873D41EFC}" srcOrd="0" destOrd="0" presId="urn:microsoft.com/office/officeart/2005/8/layout/default"/>
    <dgm:cxn modelId="{687F02AF-EC05-4061-9B88-ED226CCD0325}" srcId="{5D54A8F0-838D-46E0-9D80-93607F6573FF}" destId="{9FA78B4A-7518-46BA-80EC-960C9E9C31BE}" srcOrd="0" destOrd="0" parTransId="{C7DC8A9C-FEEE-47E3-9B72-269D9347FFB5}" sibTransId="{D71DCBA1-7DB8-4690-8E87-738DAE4E2927}"/>
    <dgm:cxn modelId="{A4644FB3-443C-4FC1-8012-997667A51E5A}" type="presOf" srcId="{B8F85D4A-843C-4791-AC57-7E05058A298C}" destId="{8BC19472-C348-460D-8158-5125D4EB5E71}" srcOrd="0" destOrd="0" presId="urn:microsoft.com/office/officeart/2005/8/layout/default"/>
    <dgm:cxn modelId="{875F7CBB-7913-4FF8-9F16-19E0B104A21A}" srcId="{5D54A8F0-838D-46E0-9D80-93607F6573FF}" destId="{16852598-99C4-4614-80D6-7D47394927B2}" srcOrd="1" destOrd="0" parTransId="{149DB0B4-B248-4901-BE2F-15FB6BC77F61}" sibTransId="{E2180416-2C48-4B5C-848F-2C88455126B3}"/>
    <dgm:cxn modelId="{EFD3E0D1-E943-49C1-9716-47804E571DB1}" type="presOf" srcId="{9FA78B4A-7518-46BA-80EC-960C9E9C31BE}" destId="{CE4DD5E6-C53D-4B73-A080-B858E6B5A182}" srcOrd="0" destOrd="0" presId="urn:microsoft.com/office/officeart/2005/8/layout/default"/>
    <dgm:cxn modelId="{76CE41DB-3272-4117-9268-5121D67D87E8}" srcId="{5D54A8F0-838D-46E0-9D80-93607F6573FF}" destId="{B6E04F82-9D1E-4622-A3BF-3143C2AE7ADB}" srcOrd="6" destOrd="0" parTransId="{32FE8415-B58E-496D-BA93-3B505DF8C5B9}" sibTransId="{584807B8-66CC-46C4-A3A3-85B3D0E50927}"/>
    <dgm:cxn modelId="{70B12CE6-9DA4-45FE-AF93-319CDE8B53C2}" srcId="{5D54A8F0-838D-46E0-9D80-93607F6573FF}" destId="{ECF25BC8-591F-4A90-AFE8-C3CD8CAE25F0}" srcOrd="3" destOrd="0" parTransId="{1F4F537C-C83D-4436-BD23-1C92AD4AC9A5}" sibTransId="{4C4D45E1-D161-4457-A45A-D49F2583D3D1}"/>
    <dgm:cxn modelId="{22F037F0-A552-4104-B2E6-68CAA09E98FC}" type="presOf" srcId="{16852598-99C4-4614-80D6-7D47394927B2}" destId="{4E62153C-EB05-4033-97BC-8D932DD6C9D1}" srcOrd="0" destOrd="0" presId="urn:microsoft.com/office/officeart/2005/8/layout/default"/>
    <dgm:cxn modelId="{6A5FD719-0A0A-4C85-9B5A-517B58CAB180}" type="presParOf" srcId="{C2BF7242-AB3B-4F5E-B689-1B2104141832}" destId="{CE4DD5E6-C53D-4B73-A080-B858E6B5A182}" srcOrd="0" destOrd="0" presId="urn:microsoft.com/office/officeart/2005/8/layout/default"/>
    <dgm:cxn modelId="{CCE577E9-A227-4DA5-9D28-243222814602}" type="presParOf" srcId="{C2BF7242-AB3B-4F5E-B689-1B2104141832}" destId="{3DB075B4-5854-4246-B135-5FB63FDD4848}" srcOrd="1" destOrd="0" presId="urn:microsoft.com/office/officeart/2005/8/layout/default"/>
    <dgm:cxn modelId="{B72F2ECB-D72E-4F1D-874E-DACCB0B26C00}" type="presParOf" srcId="{C2BF7242-AB3B-4F5E-B689-1B2104141832}" destId="{4E62153C-EB05-4033-97BC-8D932DD6C9D1}" srcOrd="2" destOrd="0" presId="urn:microsoft.com/office/officeart/2005/8/layout/default"/>
    <dgm:cxn modelId="{85D61264-328C-46D4-861B-A21CFC6D01FF}" type="presParOf" srcId="{C2BF7242-AB3B-4F5E-B689-1B2104141832}" destId="{26F4E119-EEBF-486D-937A-AE56D87FBB6D}" srcOrd="3" destOrd="0" presId="urn:microsoft.com/office/officeart/2005/8/layout/default"/>
    <dgm:cxn modelId="{454BB927-D656-457C-8921-0DB0A5E291F9}" type="presParOf" srcId="{C2BF7242-AB3B-4F5E-B689-1B2104141832}" destId="{8BC19472-C348-460D-8158-5125D4EB5E71}" srcOrd="4" destOrd="0" presId="urn:microsoft.com/office/officeart/2005/8/layout/default"/>
    <dgm:cxn modelId="{87E72F8A-1F22-4E50-AFBA-B9AF158E436B}" type="presParOf" srcId="{C2BF7242-AB3B-4F5E-B689-1B2104141832}" destId="{5102E41B-8AF9-4E49-8C83-1D60F60BFBC2}" srcOrd="5" destOrd="0" presId="urn:microsoft.com/office/officeart/2005/8/layout/default"/>
    <dgm:cxn modelId="{40288261-CDB9-4A73-9035-832F298BF9EF}" type="presParOf" srcId="{C2BF7242-AB3B-4F5E-B689-1B2104141832}" destId="{1A1AFD5B-73E8-4ED6-9F08-72D873D41EFC}" srcOrd="6" destOrd="0" presId="urn:microsoft.com/office/officeart/2005/8/layout/default"/>
    <dgm:cxn modelId="{8143632B-EF39-4EDC-A9E8-691DABF8B8E0}" type="presParOf" srcId="{C2BF7242-AB3B-4F5E-B689-1B2104141832}" destId="{B0C4B942-402F-4813-83FD-F0AC1E1F4567}" srcOrd="7" destOrd="0" presId="urn:microsoft.com/office/officeart/2005/8/layout/default"/>
    <dgm:cxn modelId="{97D8F42A-D6B2-4ADF-9DAD-D128E8B1BF72}" type="presParOf" srcId="{C2BF7242-AB3B-4F5E-B689-1B2104141832}" destId="{F034BAC4-3BD6-466A-8FC5-AB9DF69A3A5D}" srcOrd="8" destOrd="0" presId="urn:microsoft.com/office/officeart/2005/8/layout/default"/>
    <dgm:cxn modelId="{FDD49D56-258D-4F30-8394-7FD196490F39}" type="presParOf" srcId="{C2BF7242-AB3B-4F5E-B689-1B2104141832}" destId="{B6DB4EA1-1408-4933-A48C-15D6AAEDA875}" srcOrd="9" destOrd="0" presId="urn:microsoft.com/office/officeart/2005/8/layout/default"/>
    <dgm:cxn modelId="{0491658F-10DF-430E-B535-3B6208B2718A}" type="presParOf" srcId="{C2BF7242-AB3B-4F5E-B689-1B2104141832}" destId="{DA344CAB-D784-4DE2-90F8-830983CB3C1F}" srcOrd="10" destOrd="0" presId="urn:microsoft.com/office/officeart/2005/8/layout/default"/>
    <dgm:cxn modelId="{4C8F0852-72E4-4E69-8DFC-720604306457}" type="presParOf" srcId="{C2BF7242-AB3B-4F5E-B689-1B2104141832}" destId="{01A0EE44-F683-4AF1-B890-373BC2F55F21}" srcOrd="11" destOrd="0" presId="urn:microsoft.com/office/officeart/2005/8/layout/default"/>
    <dgm:cxn modelId="{26E5FCC1-11B0-4881-B230-236636656831}" type="presParOf" srcId="{C2BF7242-AB3B-4F5E-B689-1B2104141832}" destId="{6CF95AF5-72AC-4BD6-9A90-926B546775D4}"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B0B4E-DCC9-473F-9D06-DEFEF1F7FFE0}">
      <dsp:nvSpPr>
        <dsp:cNvPr id="0" name=""/>
        <dsp:cNvSpPr/>
      </dsp:nvSpPr>
      <dsp:spPr>
        <a:xfrm>
          <a:off x="0" y="1371582"/>
          <a:ext cx="10685729" cy="182877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2CF3F1-4591-482D-8EAB-8AFDFCB8E0D2}">
      <dsp:nvSpPr>
        <dsp:cNvPr id="0" name=""/>
        <dsp:cNvSpPr/>
      </dsp:nvSpPr>
      <dsp:spPr>
        <a:xfrm>
          <a:off x="4813" y="0"/>
          <a:ext cx="2315067" cy="1828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0" i="0" kern="1200"/>
            <a:t>Intelligent automation is a combination of artificial intelligence (AI) and automation technologies that work together to automate business processes and decision-making. </a:t>
          </a:r>
        </a:p>
      </dsp:txBody>
      <dsp:txXfrm>
        <a:off x="4813" y="0"/>
        <a:ext cx="2315067" cy="1828776"/>
      </dsp:txXfrm>
    </dsp:sp>
    <dsp:sp modelId="{91853867-26E2-40D3-AAF4-F599CB4199B9}">
      <dsp:nvSpPr>
        <dsp:cNvPr id="0" name=""/>
        <dsp:cNvSpPr/>
      </dsp:nvSpPr>
      <dsp:spPr>
        <a:xfrm>
          <a:off x="933749" y="2057373"/>
          <a:ext cx="457194" cy="45719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9CC34F-71A5-4C39-B840-5C199324C38B}">
      <dsp:nvSpPr>
        <dsp:cNvPr id="0" name=""/>
        <dsp:cNvSpPr/>
      </dsp:nvSpPr>
      <dsp:spPr>
        <a:xfrm>
          <a:off x="2435634" y="2743164"/>
          <a:ext cx="2315067" cy="1828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b="0" i="0" kern="1200"/>
            <a:t>It involves using machine learning, natural language processing, and other AI technologies to improve the efficiency and accuracy of business processes, while also reducing the need for human intervention.</a:t>
          </a:r>
        </a:p>
      </dsp:txBody>
      <dsp:txXfrm>
        <a:off x="2435634" y="2743164"/>
        <a:ext cx="2315067" cy="1828776"/>
      </dsp:txXfrm>
    </dsp:sp>
    <dsp:sp modelId="{4CEEA3C2-8E28-48EA-A183-1E8B7AACA723}">
      <dsp:nvSpPr>
        <dsp:cNvPr id="0" name=""/>
        <dsp:cNvSpPr/>
      </dsp:nvSpPr>
      <dsp:spPr>
        <a:xfrm>
          <a:off x="3364570" y="2057373"/>
          <a:ext cx="457194" cy="45719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EEE7F9-2738-4DFE-B61C-A601C49574D3}">
      <dsp:nvSpPr>
        <dsp:cNvPr id="0" name=""/>
        <dsp:cNvSpPr/>
      </dsp:nvSpPr>
      <dsp:spPr>
        <a:xfrm>
          <a:off x="4866454" y="0"/>
          <a:ext cx="2315067" cy="1828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0" i="0" kern="1200"/>
            <a:t>Intelligent automation can be used in a variety of industries, including manufacturing, healthcare, finance, and customer service. </a:t>
          </a:r>
        </a:p>
      </dsp:txBody>
      <dsp:txXfrm>
        <a:off x="4866454" y="0"/>
        <a:ext cx="2315067" cy="1828776"/>
      </dsp:txXfrm>
    </dsp:sp>
    <dsp:sp modelId="{B8AE8859-F1B8-47CA-A313-D2BF74426A55}">
      <dsp:nvSpPr>
        <dsp:cNvPr id="0" name=""/>
        <dsp:cNvSpPr/>
      </dsp:nvSpPr>
      <dsp:spPr>
        <a:xfrm>
          <a:off x="5795391" y="2057373"/>
          <a:ext cx="457194" cy="45719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3ECAD4-5B46-4247-AD34-4D6FC4E9B6E2}">
      <dsp:nvSpPr>
        <dsp:cNvPr id="0" name=""/>
        <dsp:cNvSpPr/>
      </dsp:nvSpPr>
      <dsp:spPr>
        <a:xfrm>
          <a:off x="7297275" y="2743164"/>
          <a:ext cx="2315067" cy="1828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b="0" i="0" kern="1200"/>
            <a:t>It can be used for tasks such as data entry, document processing, customer support, and even complex decision-making processes. By using intelligent automation, businesses can reduce costs, increase productivity, and improve the overall quality of their products or services.</a:t>
          </a:r>
        </a:p>
      </dsp:txBody>
      <dsp:txXfrm>
        <a:off x="7297275" y="2743164"/>
        <a:ext cx="2315067" cy="1828776"/>
      </dsp:txXfrm>
    </dsp:sp>
    <dsp:sp modelId="{8A201806-47B3-429E-8151-8FAC97645E9F}">
      <dsp:nvSpPr>
        <dsp:cNvPr id="0" name=""/>
        <dsp:cNvSpPr/>
      </dsp:nvSpPr>
      <dsp:spPr>
        <a:xfrm>
          <a:off x="8226212" y="2057373"/>
          <a:ext cx="457194" cy="45719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B06D6B-5333-47CD-84C5-ED2A80F4F59F}">
      <dsp:nvSpPr>
        <dsp:cNvPr id="0" name=""/>
        <dsp:cNvSpPr/>
      </dsp:nvSpPr>
      <dsp:spPr>
        <a:xfrm>
          <a:off x="4384929" y="1479518"/>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996B7836-86D3-4FE0-A324-FE16EBD8C9D0}">
      <dsp:nvSpPr>
        <dsp:cNvPr id="0" name=""/>
        <dsp:cNvSpPr/>
      </dsp:nvSpPr>
      <dsp:spPr>
        <a:xfrm>
          <a:off x="4246725" y="0"/>
          <a:ext cx="2171770" cy="11622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Increased Efficiency: Intelligent automation can automate repetitive and time-consuming tasks, allowing employees to focus on more strategic and high-value activities. This can lead to increased productivity and efficiency.</a:t>
          </a:r>
          <a:endParaRPr lang="en-IN" sz="1100" b="0" kern="1200"/>
        </a:p>
      </dsp:txBody>
      <dsp:txXfrm>
        <a:off x="4246725" y="0"/>
        <a:ext cx="2171770" cy="1162229"/>
      </dsp:txXfrm>
    </dsp:sp>
    <dsp:sp modelId="{B09EBD37-0C1D-4A48-8C68-901F32DB3DFA}">
      <dsp:nvSpPr>
        <dsp:cNvPr id="0" name=""/>
        <dsp:cNvSpPr/>
      </dsp:nvSpPr>
      <dsp:spPr>
        <a:xfrm>
          <a:off x="4940902" y="1746830"/>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881D070-1CE6-4A94-AB15-898B7CDD7425}">
      <dsp:nvSpPr>
        <dsp:cNvPr id="0" name=""/>
        <dsp:cNvSpPr/>
      </dsp:nvSpPr>
      <dsp:spPr>
        <a:xfrm>
          <a:off x="7070027" y="1104117"/>
          <a:ext cx="2053310" cy="127845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Improved Accuracy: Intelligent automation technologies such as machine learning and natural language processing can improve the accuracy of business processes, reducing errors and improving the overall quality of work.</a:t>
          </a:r>
          <a:endParaRPr lang="en-IN" sz="1100" b="0" kern="1200"/>
        </a:p>
      </dsp:txBody>
      <dsp:txXfrm>
        <a:off x="7070027" y="1104117"/>
        <a:ext cx="2053310" cy="1278452"/>
      </dsp:txXfrm>
    </dsp:sp>
    <dsp:sp modelId="{B020AB1C-575C-492C-8B0D-CB98C90EE8A2}">
      <dsp:nvSpPr>
        <dsp:cNvPr id="0" name=""/>
        <dsp:cNvSpPr/>
      </dsp:nvSpPr>
      <dsp:spPr>
        <a:xfrm>
          <a:off x="5077526" y="2348284"/>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DE80CFBD-EE60-412E-B03A-227813359E69}">
      <dsp:nvSpPr>
        <dsp:cNvPr id="0" name=""/>
        <dsp:cNvSpPr/>
      </dsp:nvSpPr>
      <dsp:spPr>
        <a:xfrm>
          <a:off x="7267461" y="2731239"/>
          <a:ext cx="2013823" cy="136561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Cost Savings: By automating tasks that were previously done manually, businesses can reduce labor costs and increase cost savings.</a:t>
          </a:r>
          <a:endParaRPr lang="en-IN" sz="1100" b="0" kern="1200"/>
        </a:p>
      </dsp:txBody>
      <dsp:txXfrm>
        <a:off x="7267461" y="2731239"/>
        <a:ext cx="2013823" cy="1365619"/>
      </dsp:txXfrm>
    </dsp:sp>
    <dsp:sp modelId="{2A39017B-8D59-47EC-93ED-539EAFCFDA2B}">
      <dsp:nvSpPr>
        <dsp:cNvPr id="0" name=""/>
        <dsp:cNvSpPr/>
      </dsp:nvSpPr>
      <dsp:spPr>
        <a:xfrm>
          <a:off x="4692925" y="2830609"/>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0149656-1068-48D3-BBB4-407D220FEA93}">
      <dsp:nvSpPr>
        <dsp:cNvPr id="0" name=""/>
        <dsp:cNvSpPr/>
      </dsp:nvSpPr>
      <dsp:spPr>
        <a:xfrm>
          <a:off x="6398753" y="4561750"/>
          <a:ext cx="2171770" cy="12493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Faster Processing: With intelligent automation, businesses can process data and information more quickly and accurately than humans, leading to faster decision-making and better outcomes.</a:t>
          </a:r>
          <a:endParaRPr lang="en-IN" sz="1100" b="0" kern="1200"/>
        </a:p>
      </dsp:txBody>
      <dsp:txXfrm>
        <a:off x="6398753" y="4561750"/>
        <a:ext cx="2171770" cy="1249396"/>
      </dsp:txXfrm>
    </dsp:sp>
    <dsp:sp modelId="{9A1A7C47-ADD5-40F9-BE16-A6E6A93327B2}">
      <dsp:nvSpPr>
        <dsp:cNvPr id="0" name=""/>
        <dsp:cNvSpPr/>
      </dsp:nvSpPr>
      <dsp:spPr>
        <a:xfrm>
          <a:off x="4076932" y="2830609"/>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3FC3325-03F1-4A98-B531-9355A5A315B9}">
      <dsp:nvSpPr>
        <dsp:cNvPr id="0" name=""/>
        <dsp:cNvSpPr/>
      </dsp:nvSpPr>
      <dsp:spPr>
        <a:xfrm>
          <a:off x="2094698" y="4561750"/>
          <a:ext cx="2171770" cy="12493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Enhanced Customer Experience: By automating customer service tasks, such as answering frequently asked questions or resolving common issues, businesses can improve the overall customer experience.</a:t>
          </a:r>
          <a:endParaRPr lang="en-IN" sz="1100" b="0" kern="1200"/>
        </a:p>
      </dsp:txBody>
      <dsp:txXfrm>
        <a:off x="2094698" y="4561750"/>
        <a:ext cx="2171770" cy="1249396"/>
      </dsp:txXfrm>
    </dsp:sp>
    <dsp:sp modelId="{4936EAB8-3FB7-464B-A946-8A7271A31F2F}">
      <dsp:nvSpPr>
        <dsp:cNvPr id="0" name=""/>
        <dsp:cNvSpPr/>
      </dsp:nvSpPr>
      <dsp:spPr>
        <a:xfrm>
          <a:off x="3692331" y="2348284"/>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DD547665-DCDC-44CB-87F0-959597FC8D68}">
      <dsp:nvSpPr>
        <dsp:cNvPr id="0" name=""/>
        <dsp:cNvSpPr/>
      </dsp:nvSpPr>
      <dsp:spPr>
        <a:xfrm>
          <a:off x="1383936" y="2731239"/>
          <a:ext cx="2013823" cy="136561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Scalability: Intelligent automation can easily scale up or down to meet changing business demands, allowing businesses to adapt to changing market conditions quickly.</a:t>
          </a:r>
          <a:endParaRPr lang="en-IN" sz="1100" b="0" kern="1200"/>
        </a:p>
      </dsp:txBody>
      <dsp:txXfrm>
        <a:off x="1383936" y="2731239"/>
        <a:ext cx="2013823" cy="1365619"/>
      </dsp:txXfrm>
    </dsp:sp>
    <dsp:sp modelId="{247AD2A4-8338-41DA-A6A0-E63416A08CE1}">
      <dsp:nvSpPr>
        <dsp:cNvPr id="0" name=""/>
        <dsp:cNvSpPr/>
      </dsp:nvSpPr>
      <dsp:spPr>
        <a:xfrm>
          <a:off x="3828955" y="1746830"/>
          <a:ext cx="1895363" cy="18955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5A95ACE-F6E2-47AF-8713-09B2B0E3FB17}">
      <dsp:nvSpPr>
        <dsp:cNvPr id="0" name=""/>
        <dsp:cNvSpPr/>
      </dsp:nvSpPr>
      <dsp:spPr>
        <a:xfrm>
          <a:off x="1541883" y="1104117"/>
          <a:ext cx="2053310" cy="127845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US" sz="1100" b="0" i="0" kern="1200"/>
            <a:t>Overall, intelligent automation can help businesses streamline their operations, reduce costs, and improve the quality of their products or services, leading to increased customer satisfaction and profitability.</a:t>
          </a:r>
          <a:endParaRPr lang="en-IN" sz="1100" b="0" kern="1200"/>
        </a:p>
      </dsp:txBody>
      <dsp:txXfrm>
        <a:off x="1541883" y="1104117"/>
        <a:ext cx="2053310" cy="12784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4DD5E6-C53D-4B73-A080-B858E6B5A182}">
      <dsp:nvSpPr>
        <dsp:cNvPr id="0" name=""/>
        <dsp:cNvSpPr/>
      </dsp:nvSpPr>
      <dsp:spPr>
        <a:xfrm>
          <a:off x="691572" y="4924"/>
          <a:ext cx="2900648" cy="1740389"/>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Customer Service: Intelligent automation can be used to automate customer support tasks, such as answering frequently asked questions or resolving common issues, leading to enhanced customer experience.</a:t>
          </a:r>
        </a:p>
      </dsp:txBody>
      <dsp:txXfrm>
        <a:off x="691572" y="4924"/>
        <a:ext cx="2900648" cy="1740389"/>
      </dsp:txXfrm>
    </dsp:sp>
    <dsp:sp modelId="{4E62153C-EB05-4033-97BC-8D932DD6C9D1}">
      <dsp:nvSpPr>
        <dsp:cNvPr id="0" name=""/>
        <dsp:cNvSpPr/>
      </dsp:nvSpPr>
      <dsp:spPr>
        <a:xfrm>
          <a:off x="3882286" y="4924"/>
          <a:ext cx="2900648" cy="1740389"/>
        </a:xfrm>
        <a:prstGeom prst="rect">
          <a:avLst/>
        </a:prstGeom>
        <a:solidFill>
          <a:schemeClr val="accent3">
            <a:hueOff val="-2990419"/>
            <a:satOff val="2372"/>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Manufacturing: In manufacturing, intelligent automation can be used for quality control, predictive maintenance, and supply chain management.</a:t>
          </a:r>
        </a:p>
      </dsp:txBody>
      <dsp:txXfrm>
        <a:off x="3882286" y="4924"/>
        <a:ext cx="2900648" cy="1740389"/>
      </dsp:txXfrm>
    </dsp:sp>
    <dsp:sp modelId="{8BC19472-C348-460D-8158-5125D4EB5E71}">
      <dsp:nvSpPr>
        <dsp:cNvPr id="0" name=""/>
        <dsp:cNvSpPr/>
      </dsp:nvSpPr>
      <dsp:spPr>
        <a:xfrm>
          <a:off x="7073000" y="4924"/>
          <a:ext cx="2900648" cy="1740389"/>
        </a:xfrm>
        <a:prstGeom prst="rect">
          <a:avLst/>
        </a:prstGeom>
        <a:solidFill>
          <a:schemeClr val="accent3">
            <a:hueOff val="-5980838"/>
            <a:satOff val="4743"/>
            <a:lumOff val="7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Finance: In finance, intelligent automation can be used for fraud detection, risk management, and regulatory compliance.</a:t>
          </a:r>
        </a:p>
      </dsp:txBody>
      <dsp:txXfrm>
        <a:off x="7073000" y="4924"/>
        <a:ext cx="2900648" cy="1740389"/>
      </dsp:txXfrm>
    </dsp:sp>
    <dsp:sp modelId="{1A1AFD5B-73E8-4ED6-9F08-72D873D41EFC}">
      <dsp:nvSpPr>
        <dsp:cNvPr id="0" name=""/>
        <dsp:cNvSpPr/>
      </dsp:nvSpPr>
      <dsp:spPr>
        <a:xfrm>
          <a:off x="691572" y="2035378"/>
          <a:ext cx="2900648" cy="1740389"/>
        </a:xfrm>
        <a:prstGeom prst="rect">
          <a:avLst/>
        </a:prstGeom>
        <a:solidFill>
          <a:schemeClr val="accent3">
            <a:hueOff val="-8971256"/>
            <a:satOff val="7115"/>
            <a:lumOff val="11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Healthcare: In healthcare, intelligent automation can be used for medical data analysis, patient monitoring, and personalized treatment planning.</a:t>
          </a:r>
        </a:p>
      </dsp:txBody>
      <dsp:txXfrm>
        <a:off x="691572" y="2035378"/>
        <a:ext cx="2900648" cy="1740389"/>
      </dsp:txXfrm>
    </dsp:sp>
    <dsp:sp modelId="{F034BAC4-3BD6-466A-8FC5-AB9DF69A3A5D}">
      <dsp:nvSpPr>
        <dsp:cNvPr id="0" name=""/>
        <dsp:cNvSpPr/>
      </dsp:nvSpPr>
      <dsp:spPr>
        <a:xfrm>
          <a:off x="3882286" y="2035378"/>
          <a:ext cx="2900648" cy="1740389"/>
        </a:xfrm>
        <a:prstGeom prst="rect">
          <a:avLst/>
        </a:prstGeom>
        <a:solidFill>
          <a:schemeClr val="accent3">
            <a:hueOff val="-11961675"/>
            <a:satOff val="9487"/>
            <a:lumOff val="15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Human Resources: In human resources, intelligent automation can be used for recruitment, onboarding, and performance evaluation.</a:t>
          </a:r>
        </a:p>
      </dsp:txBody>
      <dsp:txXfrm>
        <a:off x="3882286" y="2035378"/>
        <a:ext cx="2900648" cy="1740389"/>
      </dsp:txXfrm>
    </dsp:sp>
    <dsp:sp modelId="{DA344CAB-D784-4DE2-90F8-830983CB3C1F}">
      <dsp:nvSpPr>
        <dsp:cNvPr id="0" name=""/>
        <dsp:cNvSpPr/>
      </dsp:nvSpPr>
      <dsp:spPr>
        <a:xfrm>
          <a:off x="7073000" y="2035378"/>
          <a:ext cx="2900648" cy="1740389"/>
        </a:xfrm>
        <a:prstGeom prst="rect">
          <a:avLst/>
        </a:prstGeom>
        <a:solidFill>
          <a:schemeClr val="accent3">
            <a:hueOff val="-14952093"/>
            <a:satOff val="11858"/>
            <a:lumOff val="19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Retail: In retail, intelligent automation can be used for inventory management, personalized marketing, and customer support.</a:t>
          </a:r>
        </a:p>
      </dsp:txBody>
      <dsp:txXfrm>
        <a:off x="7073000" y="2035378"/>
        <a:ext cx="2900648" cy="1740389"/>
      </dsp:txXfrm>
    </dsp:sp>
    <dsp:sp modelId="{6CF95AF5-72AC-4BD6-9A90-926B546775D4}">
      <dsp:nvSpPr>
        <dsp:cNvPr id="0" name=""/>
        <dsp:cNvSpPr/>
      </dsp:nvSpPr>
      <dsp:spPr>
        <a:xfrm>
          <a:off x="3882286" y="4065833"/>
          <a:ext cx="2900648" cy="1740389"/>
        </a:xfrm>
        <a:prstGeom prst="rect">
          <a:avLst/>
        </a:prstGeom>
        <a:solidFill>
          <a:schemeClr val="accent3">
            <a:hueOff val="-17942512"/>
            <a:satOff val="14230"/>
            <a:lumOff val="23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r>
            <a:rPr lang="en-US" sz="1500" b="0" i="0" kern="1200"/>
            <a:t>Logistics: In logistics, intelligent automation can be used for route optimization, shipment tracking, and warehouse management.</a:t>
          </a:r>
        </a:p>
      </dsp:txBody>
      <dsp:txXfrm>
        <a:off x="3882286" y="4065833"/>
        <a:ext cx="2900648" cy="174038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3C52AC-B35A-CA4E-8A36-41D4C19C8B66}" type="datetimeFigureOut">
              <a:rPr lang="en-US" smtClean="0"/>
              <a:pPr/>
              <a:t>4/19/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9E16FA-277E-0C48-86CC-060AC9F2D5BB}"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EF42A7-8624-5649-A655-6E2B4F25EC14}" type="datetimeFigureOut">
              <a:rPr lang="en-US" smtClean="0"/>
              <a:pPr/>
              <a:t>4/18/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618B97D-45A5-1E45-A1E0-6392C6E84CC6}" type="slidenum">
              <a:rPr lang="en-US" smtClean="0"/>
              <a:pPr/>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11432395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Arial" panose="020B0604020202020204" pitchFamily="34" charset="0"/>
              <a:buChar char="•"/>
            </a:pPr>
            <a:r>
              <a:rPr lang="en-US" kern="1200">
                <a:solidFill>
                  <a:schemeClr val="tx1"/>
                </a:solidFill>
                <a:ea typeface="+mn-ea"/>
                <a:cs typeface="+mn-cs"/>
              </a:rPr>
              <a:t>This map changes frequently as we are always expanding worldwide</a:t>
            </a:r>
          </a:p>
          <a:p>
            <a:pPr marL="176679" indent="-176679">
              <a:buFont typeface="Arial" panose="020B0604020202020204" pitchFamily="34" charset="0"/>
              <a:buChar char="•"/>
            </a:pPr>
            <a:r>
              <a:rPr lang="en-US" kern="1200">
                <a:solidFill>
                  <a:schemeClr val="tx1"/>
                </a:solidFill>
                <a:ea typeface="+mn-ea"/>
                <a:cs typeface="+mn-cs"/>
              </a:rPr>
              <a:t>These are the offices we have worldwide</a:t>
            </a:r>
          </a:p>
          <a:p>
            <a:pPr marL="176679" indent="-176679">
              <a:buFont typeface="Arial" panose="020B0604020202020204" pitchFamily="34" charset="0"/>
              <a:buChar char="•"/>
            </a:pPr>
            <a:r>
              <a:rPr lang="en-US" kern="1200">
                <a:solidFill>
                  <a:schemeClr val="tx1"/>
                </a:solidFill>
                <a:ea typeface="+mn-ea"/>
                <a:cs typeface="+mn-cs"/>
              </a:rPr>
              <a:t>Product development centers: Bellevue, Bucharest and India</a:t>
            </a:r>
          </a:p>
          <a:p>
            <a:pPr marL="176679" indent="-176679">
              <a:buFont typeface="Arial" panose="020B0604020202020204" pitchFamily="34" charset="0"/>
              <a:buChar char="•"/>
            </a:pPr>
            <a:r>
              <a:rPr lang="en-US" kern="1200">
                <a:solidFill>
                  <a:schemeClr val="tx1"/>
                </a:solidFill>
                <a:ea typeface="+mn-ea"/>
                <a:cs typeface="+mn-cs"/>
              </a:rPr>
              <a:t>Customer support centers: Bucharest and India</a:t>
            </a:r>
          </a:p>
          <a:p>
            <a:pPr marL="176679" indent="-176679">
              <a:buFont typeface="Arial" panose="020B0604020202020204" pitchFamily="34" charset="0"/>
              <a:buChar char="•"/>
            </a:pPr>
            <a:r>
              <a:rPr lang="en-US" kern="1200">
                <a:solidFill>
                  <a:schemeClr val="tx1"/>
                </a:solidFill>
                <a:ea typeface="+mn-ea"/>
                <a:cs typeface="+mn-cs"/>
              </a:rPr>
              <a:t>Sales, marketing and RPA consultants in all other offices</a:t>
            </a:r>
          </a:p>
          <a:p>
            <a:pPr marL="176679" indent="-176679">
              <a:buFont typeface="Arial" panose="020B0604020202020204" pitchFamily="34" charset="0"/>
              <a:buChar char="•"/>
            </a:pPr>
            <a:r>
              <a:rPr lang="en-US" kern="1200">
                <a:solidFill>
                  <a:schemeClr val="tx1"/>
                </a:solidFill>
                <a:ea typeface="+mn-ea"/>
                <a:cs typeface="+mn-cs"/>
              </a:rPr>
              <a:t>Head offices at 90 Park Ave in New York City</a:t>
            </a:r>
          </a:p>
          <a:p>
            <a:endParaRPr lang="en-IN"/>
          </a:p>
        </p:txBody>
      </p:sp>
      <p:sp>
        <p:nvSpPr>
          <p:cNvPr id="4" name="Slide Number Placeholder 3"/>
          <p:cNvSpPr>
            <a:spLocks noGrp="1"/>
          </p:cNvSpPr>
          <p:nvPr>
            <p:ph type="sldNum" idx="12"/>
          </p:nvPr>
        </p:nvSpPr>
        <p:spPr/>
        <p:txBody>
          <a:bodyPr/>
          <a:lstStyle/>
          <a:p>
            <a:pPr>
              <a:defRPr/>
            </a:pPr>
            <a:fld id="{935594F1-8422-4C92-B1A1-02EDAE695005}" type="slidenum">
              <a:rPr lang="en-US" altLang="en-US" smtClean="0"/>
              <a:pPr>
                <a:defRPr/>
              </a:pPr>
              <a:t>23</a:t>
            </a:fld>
            <a:endParaRPr lang="en-US" altLang="en-US"/>
          </a:p>
        </p:txBody>
      </p:sp>
    </p:spTree>
    <p:extLst>
      <p:ext uri="{BB962C8B-B14F-4D97-AF65-F5344CB8AC3E}">
        <p14:creationId xmlns:p14="http://schemas.microsoft.com/office/powerpoint/2010/main" val="2149556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0962" name="Google Shape;746;p13:notes">
            <a:extLst>
              <a:ext uri="{FF2B5EF4-FFF2-40B4-BE49-F238E27FC236}">
                <a16:creationId xmlns:a16="http://schemas.microsoft.com/office/drawing/2014/main" id="{A23375B6-511A-E148-3BB2-4BDDAE62ED38}"/>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0963" name="Google Shape;747;p13:notes">
            <a:extLst>
              <a:ext uri="{FF2B5EF4-FFF2-40B4-BE49-F238E27FC236}">
                <a16:creationId xmlns:a16="http://schemas.microsoft.com/office/drawing/2014/main" id="{0052D028-8E87-85D7-BA3C-75EE996226C4}"/>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07D0DA48-F05F-78E8-D31D-03CD3B275AD4}"/>
              </a:ext>
            </a:extLst>
          </p:cNvPr>
          <p:cNvSpPr>
            <a:spLocks noGrp="1" noRot="1" noChangeAspect="1" noTextEdit="1"/>
          </p:cNvSpPr>
          <p:nvPr>
            <p:ph type="sldImg"/>
          </p:nvPr>
        </p:nvSpPr>
        <p:spPr>
          <a:ln>
            <a:headEnd/>
            <a:tailEnd/>
          </a:ln>
        </p:spPr>
      </p:sp>
      <p:sp>
        <p:nvSpPr>
          <p:cNvPr id="43011" name="Notes Placeholder 2">
            <a:extLst>
              <a:ext uri="{FF2B5EF4-FFF2-40B4-BE49-F238E27FC236}">
                <a16:creationId xmlns:a16="http://schemas.microsoft.com/office/drawing/2014/main" id="{632EEFCA-436C-C19F-09A1-4E5A977D7A4F}"/>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43012" name="Slide Number Placeholder 3">
            <a:extLst>
              <a:ext uri="{FF2B5EF4-FFF2-40B4-BE49-F238E27FC236}">
                <a16:creationId xmlns:a16="http://schemas.microsoft.com/office/drawing/2014/main" id="{F6EB85D8-83FD-86C8-E4E5-F394F71862AE}"/>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BB902F4C-0BDD-42C2-BB9A-1033222F0FAB}" type="slidenum">
              <a:rPr lang="en-US" altLang="en-US" sz="1200" smtClean="0"/>
              <a:pPr/>
              <a:t>26</a:t>
            </a:fld>
            <a:endParaRPr lang="en-US" altLang="en-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492D95B1-A0C7-268B-52B1-0C9036526AC5}"/>
              </a:ext>
            </a:extLst>
          </p:cNvPr>
          <p:cNvSpPr>
            <a:spLocks noGrp="1" noRot="1" noChangeAspect="1" noTextEdit="1"/>
          </p:cNvSpPr>
          <p:nvPr>
            <p:ph type="sldImg"/>
          </p:nvPr>
        </p:nvSpPr>
        <p:spPr>
          <a:ln>
            <a:headEnd/>
            <a:tailEnd/>
          </a:ln>
        </p:spPr>
      </p:sp>
      <p:sp>
        <p:nvSpPr>
          <p:cNvPr id="45059" name="Notes Placeholder 2">
            <a:extLst>
              <a:ext uri="{FF2B5EF4-FFF2-40B4-BE49-F238E27FC236}">
                <a16:creationId xmlns:a16="http://schemas.microsoft.com/office/drawing/2014/main" id="{6D3F5CCF-4003-0ECF-1A12-43F0CE908B7A}"/>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45060" name="Slide Number Placeholder 3">
            <a:extLst>
              <a:ext uri="{FF2B5EF4-FFF2-40B4-BE49-F238E27FC236}">
                <a16:creationId xmlns:a16="http://schemas.microsoft.com/office/drawing/2014/main" id="{ED9E8B35-FF08-0FD7-8AE0-4B398572A1A1}"/>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2DA9A8AE-04F7-4C9E-8095-555AC66017D1}" type="slidenum">
              <a:rPr lang="en-US" altLang="en-US" sz="1200" smtClean="0"/>
              <a:pPr/>
              <a:t>27</a:t>
            </a:fld>
            <a:endParaRPr lang="en-US" altLang="en-US"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130" name="Google Shape;791;p17:notes">
            <a:extLst>
              <a:ext uri="{FF2B5EF4-FFF2-40B4-BE49-F238E27FC236}">
                <a16:creationId xmlns:a16="http://schemas.microsoft.com/office/drawing/2014/main" id="{18A52048-4330-82CB-CA31-AC4658B211E5}"/>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48131" name="Google Shape;792;p17:notes">
            <a:extLst>
              <a:ext uri="{FF2B5EF4-FFF2-40B4-BE49-F238E27FC236}">
                <a16:creationId xmlns:a16="http://schemas.microsoft.com/office/drawing/2014/main" id="{EE5B2F7C-3DE6-DCD3-61B5-11780C1308AA}"/>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5A179767-E96F-E95C-313E-BC4B9EF6FDDB}"/>
              </a:ext>
            </a:extLst>
          </p:cNvPr>
          <p:cNvSpPr>
            <a:spLocks noGrp="1" noRot="1" noChangeAspect="1" noTextEdit="1"/>
          </p:cNvSpPr>
          <p:nvPr>
            <p:ph type="sldImg"/>
          </p:nvPr>
        </p:nvSpPr>
        <p:spPr>
          <a:ln>
            <a:headEnd/>
            <a:tailEnd/>
          </a:ln>
        </p:spPr>
      </p:sp>
      <p:sp>
        <p:nvSpPr>
          <p:cNvPr id="50179" name="Notes Placeholder 2">
            <a:extLst>
              <a:ext uri="{FF2B5EF4-FFF2-40B4-BE49-F238E27FC236}">
                <a16:creationId xmlns:a16="http://schemas.microsoft.com/office/drawing/2014/main" id="{B8BA7985-5051-D3B9-E18A-18B49A17BD20}"/>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50180" name="Slide Number Placeholder 3">
            <a:extLst>
              <a:ext uri="{FF2B5EF4-FFF2-40B4-BE49-F238E27FC236}">
                <a16:creationId xmlns:a16="http://schemas.microsoft.com/office/drawing/2014/main" id="{A803E8C3-21B1-EF16-0C09-08CD120A4B27}"/>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585AD0CC-DE49-4AE4-9C9F-CC89A7050580}" type="slidenum">
              <a:rPr lang="en-US" altLang="en-US" sz="1200" smtClean="0"/>
              <a:pPr/>
              <a:t>30</a:t>
            </a:fld>
            <a:endParaRPr lang="en-US" alt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4274" name="Google Shape;993;ge761e2ef35_0_17:notes">
            <a:extLst>
              <a:ext uri="{FF2B5EF4-FFF2-40B4-BE49-F238E27FC236}">
                <a16:creationId xmlns:a16="http://schemas.microsoft.com/office/drawing/2014/main" id="{2A30FF25-10C9-3A56-2273-64A7DF4EE2D1}"/>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54275" name="Google Shape;994;ge761e2ef35_0_17:notes">
            <a:extLst>
              <a:ext uri="{FF2B5EF4-FFF2-40B4-BE49-F238E27FC236}">
                <a16:creationId xmlns:a16="http://schemas.microsoft.com/office/drawing/2014/main" id="{0A02189C-B259-B9A0-D5F9-5D3741CA8B39}"/>
              </a:ext>
            </a:extLst>
          </p:cNvPr>
          <p:cNvSpPr>
            <a:spLocks noGrp="1" noRot="1" noChangeAspect="1" noTextEdit="1"/>
          </p:cNvSpPr>
          <p:nvPr>
            <p:ph type="sldImg" idx="2"/>
          </p:nvPr>
        </p:nvSpPr>
        <p:spPr>
          <a:noFill/>
          <a:ln>
            <a:headEnd/>
            <a:tailEnd/>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22485015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1340069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1807771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22052672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8370" name="Google Shape;998;ge783127671_0_130:notes">
            <a:extLst>
              <a:ext uri="{FF2B5EF4-FFF2-40B4-BE49-F238E27FC236}">
                <a16:creationId xmlns:a16="http://schemas.microsoft.com/office/drawing/2014/main" id="{0C80D89B-A727-E160-8F60-CFFD58ADBBA1}"/>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58371" name="Google Shape;999;ge783127671_0_130:notes">
            <a:extLst>
              <a:ext uri="{FF2B5EF4-FFF2-40B4-BE49-F238E27FC236}">
                <a16:creationId xmlns:a16="http://schemas.microsoft.com/office/drawing/2014/main" id="{DD29BD83-8E42-D347-538B-24510DA2FDCF}"/>
              </a:ext>
            </a:extLst>
          </p:cNvPr>
          <p:cNvSpPr>
            <a:spLocks noGrp="1" noRot="1" noChangeAspect="1" noTextEdit="1"/>
          </p:cNvSpPr>
          <p:nvPr>
            <p:ph type="sldImg" idx="2"/>
          </p:nvPr>
        </p:nvSpPr>
        <p:spPr>
          <a:noFill/>
          <a:ln>
            <a:headEnd/>
            <a:tailEnd/>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8434" name="Google Shape;327;p4:notes">
            <a:extLst>
              <a:ext uri="{FF2B5EF4-FFF2-40B4-BE49-F238E27FC236}">
                <a16:creationId xmlns:a16="http://schemas.microsoft.com/office/drawing/2014/main" id="{1C5B07CC-8443-8107-3524-9CDE8ED00FEC}"/>
              </a:ext>
            </a:extLst>
          </p:cNvPr>
          <p:cNvSpPr txBox="1">
            <a:spLocks noGrp="1" noChangeArrowheads="1"/>
          </p:cNvSpPr>
          <p:nvPr>
            <p:ph type="body" idx="1"/>
          </p:nvPr>
        </p:nvSpPr>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18435" name="Google Shape;328;p4:notes">
            <a:extLst>
              <a:ext uri="{FF2B5EF4-FFF2-40B4-BE49-F238E27FC236}">
                <a16:creationId xmlns:a16="http://schemas.microsoft.com/office/drawing/2014/main" id="{1D5FE8A7-6DEE-F14A-FD68-B786AFA8C8FC}"/>
              </a:ext>
            </a:extLst>
          </p:cNvPr>
          <p:cNvSpPr>
            <a:spLocks noGrp="1" noRot="1" noChangeAspect="1" noTextEdit="1"/>
          </p:cNvSpPr>
          <p:nvPr>
            <p:ph type="sldImg" idx="2"/>
          </p:nvPr>
        </p:nvSpPr>
        <p:spPr>
          <a:ln>
            <a:headEnd/>
            <a:tailEnd/>
          </a:ln>
        </p:spPr>
      </p:sp>
    </p:spTree>
    <p:extLst>
      <p:ext uri="{BB962C8B-B14F-4D97-AF65-F5344CB8AC3E}">
        <p14:creationId xmlns:p14="http://schemas.microsoft.com/office/powerpoint/2010/main" val="4190246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02" name="Google Shape;20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8466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
        <p:cNvGrpSpPr/>
        <p:nvPr/>
      </p:nvGrpSpPr>
      <p:grpSpPr>
        <a:xfrm>
          <a:off x="0" y="0"/>
          <a:ext cx="0" cy="0"/>
          <a:chOff x="0" y="0"/>
          <a:chExt cx="0" cy="0"/>
        </a:xfrm>
      </p:grpSpPr>
      <p:sp>
        <p:nvSpPr>
          <p:cNvPr id="23" name="Google Shape;23;p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0"/>
              </a:spcAft>
              <a:buSzPts val="1400"/>
              <a:buNone/>
            </a:pPr>
            <a:endParaRPr sz="1200">
              <a:latin typeface="Arial"/>
              <a:ea typeface="Arial"/>
              <a:cs typeface="Arial"/>
              <a:sym typeface="Arial"/>
            </a:endParaRPr>
          </a:p>
        </p:txBody>
      </p:sp>
      <p:sp>
        <p:nvSpPr>
          <p:cNvPr id="24" name="Google Shape;24;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3717618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8674" name="Google Shape;585;p10:notes">
            <a:extLst>
              <a:ext uri="{FF2B5EF4-FFF2-40B4-BE49-F238E27FC236}">
                <a16:creationId xmlns:a16="http://schemas.microsoft.com/office/drawing/2014/main" id="{CCDE039C-1348-877D-3ECE-2D3997BD7B14}"/>
              </a:ext>
            </a:extLst>
          </p:cNvPr>
          <p:cNvSpPr txBox="1">
            <a:spLocks noGrp="1" noChangeArrowheads="1"/>
          </p:cNvSpPr>
          <p:nvPr>
            <p:ph type="body" idx="1"/>
          </p:nvPr>
        </p:nvSpPr>
        <p:spPr>
          <a:noFill/>
        </p:spPr>
        <p:txBody>
          <a:bodyPr/>
          <a:lstStyle/>
          <a:p>
            <a:pPr marL="0" indent="0" eaLnBrk="1" hangingPunct="1">
              <a:buSzPts val="1400"/>
            </a:pPr>
            <a:endParaRPr lang="en-US" altLang="en-US" sz="1200">
              <a:latin typeface="Arial" panose="020B0604020202020204" pitchFamily="34" charset="0"/>
              <a:cs typeface="Arial" panose="020B0604020202020204" pitchFamily="34" charset="0"/>
            </a:endParaRPr>
          </a:p>
        </p:txBody>
      </p:sp>
      <p:sp>
        <p:nvSpPr>
          <p:cNvPr id="28675" name="Google Shape;586;p10:notes">
            <a:extLst>
              <a:ext uri="{FF2B5EF4-FFF2-40B4-BE49-F238E27FC236}">
                <a16:creationId xmlns:a16="http://schemas.microsoft.com/office/drawing/2014/main" id="{334E788C-043B-B6E1-9DB8-9513D070FCE4}"/>
              </a:ext>
            </a:extLst>
          </p:cNvPr>
          <p:cNvSpPr>
            <a:spLocks noGrp="1" noRot="1" noChangeAspect="1" noTextEdit="1"/>
          </p:cNvSpPr>
          <p:nvPr>
            <p:ph type="sldImg" idx="2"/>
          </p:nvPr>
        </p:nvSpPr>
        <p:spPr>
          <a:noFill/>
          <a:ln>
            <a:headEnd/>
            <a:tailEnd/>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87" name="Google Shape;1187;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4177100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Lato" panose="020F0502020204030203" pitchFamily="34" charset="0"/>
              </a:rPr>
              <a:t>What’s interesting are the parallels between androids, robots that look like humans and chatbots, and bots that act like humans.</a:t>
            </a:r>
          </a:p>
          <a:p>
            <a:r>
              <a:rPr lang="en-IN"/>
              <a:t>https://youtu.be/sk1NkWl_W2Y</a:t>
            </a:r>
            <a:endParaRPr lang="en-US" b="0" i="0">
              <a:solidFill>
                <a:srgbClr val="000000"/>
              </a:solidFill>
              <a:effectLst/>
              <a:latin typeface="Lato" panose="020F0502020204030203" pitchFamily="34" charset="0"/>
            </a:endParaRPr>
          </a:p>
          <a:p>
            <a:r>
              <a:rPr lang="en-US" b="0" i="0">
                <a:solidFill>
                  <a:srgbClr val="000000"/>
                </a:solidFill>
                <a:effectLst/>
                <a:latin typeface="Lato" panose="020F0502020204030203" pitchFamily="34" charset="0"/>
              </a:rPr>
              <a:t>A cyborg is a human-robot hybrid.</a:t>
            </a:r>
          </a:p>
          <a:p>
            <a:pPr algn="l"/>
            <a:r>
              <a:rPr lang="en-US" b="0" i="0">
                <a:solidFill>
                  <a:srgbClr val="000000"/>
                </a:solidFill>
                <a:effectLst/>
                <a:latin typeface="Lato" panose="020F0502020204030203" pitchFamily="34" charset="0"/>
              </a:rPr>
              <a:t>Industrial robots are the robots you see in assembly lines. They are designed to move materials, parts, and tools to complete programmed tasks in manufacturing and production.</a:t>
            </a:r>
          </a:p>
          <a:p>
            <a:pPr algn="l"/>
            <a:r>
              <a:rPr lang="en-US" b="0" i="0">
                <a:solidFill>
                  <a:srgbClr val="000000"/>
                </a:solidFill>
                <a:effectLst/>
                <a:latin typeface="Lato" panose="020F0502020204030203" pitchFamily="34" charset="0"/>
              </a:rPr>
              <a:t>They are commonly used to complete duties that are dangerous or unsuitable for human workers.</a:t>
            </a:r>
          </a:p>
          <a:p>
            <a:r>
              <a:rPr lang="en-US" b="0" i="0">
                <a:solidFill>
                  <a:srgbClr val="000000"/>
                </a:solidFill>
                <a:effectLst/>
                <a:latin typeface="Lato" panose="020F0502020204030203" pitchFamily="34" charset="0"/>
              </a:rPr>
              <a:t>Originally, “bot” was a shortened version of “robot”, but now it means robots without bodies.</a:t>
            </a:r>
          </a:p>
          <a:p>
            <a:endParaRPr lang="en-US" b="0" i="0">
              <a:solidFill>
                <a:srgbClr val="000000"/>
              </a:solidFill>
              <a:effectLst/>
              <a:latin typeface="Lato" panose="020F0502020204030203" pitchFamily="34" charset="0"/>
            </a:endParaRPr>
          </a:p>
          <a:p>
            <a:r>
              <a:rPr lang="en-US" b="0" i="0">
                <a:solidFill>
                  <a:srgbClr val="000000"/>
                </a:solidFill>
                <a:effectLst/>
                <a:latin typeface="Lato" panose="020F0502020204030203" pitchFamily="34" charset="0"/>
              </a:rPr>
              <a:t>Robots are programmable machines that can automatically execute actions, whereas bots are programs that can automatically execute actions.</a:t>
            </a:r>
          </a:p>
          <a:p>
            <a:r>
              <a:rPr lang="en-US" b="0" i="0">
                <a:solidFill>
                  <a:srgbClr val="000000"/>
                </a:solidFill>
                <a:effectLst/>
                <a:latin typeface="Lato" panose="020F0502020204030203" pitchFamily="34" charset="0"/>
              </a:rPr>
              <a:t>A chatbot can live inside a range of existing products/services, such as Facebook Messenger and iPhone (i.e. Siri), or in a custom-made machine, such as Google’s Home device.</a:t>
            </a:r>
          </a:p>
          <a:p>
            <a:r>
              <a:rPr lang="en-US" b="0" i="0">
                <a:solidFill>
                  <a:srgbClr val="222222"/>
                </a:solidFill>
                <a:effectLst/>
                <a:latin typeface="-apple-system"/>
              </a:rPr>
              <a:t>A web crawler, or spider, is a type of bot that is typically operated by search engines like Google and Bing. Their purpose is to index the content of websites all across the Internet so that those websites can appear in search engine results.</a:t>
            </a:r>
            <a:endParaRPr lang="en-US" b="0" i="0">
              <a:solidFill>
                <a:srgbClr val="000000"/>
              </a:solidFill>
              <a:effectLst/>
              <a:latin typeface="Lato" panose="020F0502020204030203" pitchFamily="34" charset="0"/>
            </a:endParaRPr>
          </a:p>
          <a:p>
            <a:r>
              <a:rPr lang="en-IN"/>
              <a:t>https://www.cloudflare.com/learning/bots/what-is-a-web-crawler/</a:t>
            </a:r>
            <a:endParaRPr lang="en-US" b="0" i="0">
              <a:solidFill>
                <a:srgbClr val="000000"/>
              </a:solidFill>
              <a:effectLst/>
              <a:latin typeface="Lato" panose="020F0502020204030203" pitchFamily="34" charset="0"/>
            </a:endParaRPr>
          </a:p>
          <a:p>
            <a:r>
              <a:rPr lang="en-IN"/>
              <a:t>https://codebots.com/docs/as-a-developer-why-use-a-codebot</a:t>
            </a:r>
            <a:endParaRPr lang="en-US" b="0" i="0">
              <a:solidFill>
                <a:srgbClr val="000000"/>
              </a:solidFill>
              <a:effectLst/>
              <a:latin typeface="Lato" panose="020F0502020204030203" pitchFamily="34" charset="0"/>
            </a:endParaRPr>
          </a:p>
          <a:p>
            <a:endParaRPr lang="en-IN"/>
          </a:p>
        </p:txBody>
      </p:sp>
      <p:sp>
        <p:nvSpPr>
          <p:cNvPr id="4" name="Slide Number Placeholder 3"/>
          <p:cNvSpPr>
            <a:spLocks noGrp="1"/>
          </p:cNvSpPr>
          <p:nvPr>
            <p:ph type="sldNum" sz="quarter" idx="5"/>
          </p:nvPr>
        </p:nvSpPr>
        <p:spPr/>
        <p:txBody>
          <a:bodyPr/>
          <a:lstStyle/>
          <a:p>
            <a:fld id="{1618B97D-45A5-1E45-A1E0-6392C6E84CC6}" type="slidenum">
              <a:rPr lang="en-US" smtClean="0"/>
              <a:pPr/>
              <a:t>19</a:t>
            </a:fld>
            <a:endParaRPr lang="en-US"/>
          </a:p>
        </p:txBody>
      </p:sp>
    </p:spTree>
    <p:extLst>
      <p:ext uri="{BB962C8B-B14F-4D97-AF65-F5344CB8AC3E}">
        <p14:creationId xmlns:p14="http://schemas.microsoft.com/office/powerpoint/2010/main" val="3661862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41976659-A91F-C5B0-4773-04390E600949}"/>
              </a:ext>
            </a:extLst>
          </p:cNvPr>
          <p:cNvSpPr>
            <a:spLocks noGrp="1" noRot="1" noChangeAspect="1" noTextEdit="1"/>
          </p:cNvSpPr>
          <p:nvPr>
            <p:ph type="sldImg"/>
          </p:nvPr>
        </p:nvSpPr>
        <p:spPr>
          <a:ln>
            <a:headEnd/>
            <a:tailEnd/>
          </a:ln>
        </p:spPr>
      </p:sp>
      <p:sp>
        <p:nvSpPr>
          <p:cNvPr id="26627" name="Notes Placeholder 2">
            <a:extLst>
              <a:ext uri="{FF2B5EF4-FFF2-40B4-BE49-F238E27FC236}">
                <a16:creationId xmlns:a16="http://schemas.microsoft.com/office/drawing/2014/main" id="{5FB54019-88C8-D08E-3F86-8745595EA5FC}"/>
              </a:ext>
            </a:extLst>
          </p:cNvPr>
          <p:cNvSpPr txBox="1">
            <a:spLocks noGrp="1" noChangeArrowheads="1"/>
          </p:cNvSpPr>
          <p:nvPr>
            <p:ph type="body" idx="1"/>
          </p:nvPr>
        </p:nvSpPr>
        <p:spPr/>
        <p:txBody>
          <a:bodyPr/>
          <a:lstStyle/>
          <a:p>
            <a:pPr eaLnBrk="1" hangingPunct="1">
              <a:buSzPts val="1400"/>
            </a:pPr>
            <a:endParaRPr lang="en-IN" altLang="en-US" sz="1200">
              <a:latin typeface="Arial" panose="020B0604020202020204" pitchFamily="34" charset="0"/>
              <a:cs typeface="Arial" panose="020B0604020202020204" pitchFamily="34" charset="0"/>
            </a:endParaRPr>
          </a:p>
        </p:txBody>
      </p:sp>
      <p:sp>
        <p:nvSpPr>
          <p:cNvPr id="26628" name="Slide Number Placeholder 3">
            <a:extLst>
              <a:ext uri="{FF2B5EF4-FFF2-40B4-BE49-F238E27FC236}">
                <a16:creationId xmlns:a16="http://schemas.microsoft.com/office/drawing/2014/main" id="{11FE4864-A56A-7B7A-DFC9-1CF26AF9213C}"/>
              </a:ext>
            </a:extLst>
          </p:cNvPr>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0D1F0431-A655-442F-BFFF-6B2C1EE97E90}" type="slidenum">
              <a:rPr lang="en-US" altLang="en-US" sz="1200" smtClean="0"/>
              <a:pPr/>
              <a:t>20</a:t>
            </a:fld>
            <a:endParaRPr lang="en-US" altLang="en-US"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7.jpe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285F40-3A43-464D-B8B5-E14980FE3671}"/>
              </a:ext>
            </a:extLst>
          </p:cNvPr>
          <p:cNvPicPr>
            <a:picLocks noChangeAspect="1"/>
          </p:cNvPicPr>
          <p:nvPr userDrawn="1"/>
        </p:nvPicPr>
        <p:blipFill>
          <a:blip r:embed="rId2"/>
          <a:stretch>
            <a:fillRect/>
          </a:stretch>
        </p:blipFill>
        <p:spPr>
          <a:xfrm>
            <a:off x="0" y="1786"/>
            <a:ext cx="12188825" cy="6856214"/>
          </a:xfrm>
          <a:prstGeom prst="rect">
            <a:avLst/>
          </a:prstGeom>
        </p:spPr>
      </p:pic>
      <p:sp>
        <p:nvSpPr>
          <p:cNvPr id="22" name="Title 1">
            <a:extLst>
              <a:ext uri="{FF2B5EF4-FFF2-40B4-BE49-F238E27FC236}">
                <a16:creationId xmlns:a16="http://schemas.microsoft.com/office/drawing/2014/main" id="{E2C5D4DA-7E8C-43ED-A21C-F053340146E4}"/>
              </a:ext>
            </a:extLst>
          </p:cNvPr>
          <p:cNvSpPr>
            <a:spLocks noGrp="1"/>
          </p:cNvSpPr>
          <p:nvPr userDrawn="1">
            <p:ph type="ctrTitle" hasCustomPrompt="1"/>
          </p:nvPr>
        </p:nvSpPr>
        <p:spPr>
          <a:xfrm>
            <a:off x="382972" y="1683322"/>
            <a:ext cx="6724410" cy="2659190"/>
          </a:xfrm>
          <a:prstGeom prst="rect">
            <a:avLst/>
          </a:prstGeom>
        </p:spPr>
        <p:txBody>
          <a:bodyPr wrap="square" lIns="0" tIns="0" rIns="0" bIns="0" anchor="b" anchorCtr="0">
            <a:spAutoFit/>
          </a:bodyPr>
          <a:lstStyle>
            <a:lvl1pPr algn="l">
              <a:lnSpc>
                <a:spcPct val="80000"/>
              </a:lnSpc>
              <a:defRPr sz="7200" b="1" i="0" spc="-100">
                <a:solidFill>
                  <a:schemeClr val="bg1"/>
                </a:solidFill>
                <a:latin typeface="Arial"/>
                <a:cs typeface="Arial"/>
              </a:defRPr>
            </a:lvl1pPr>
          </a:lstStyle>
          <a:p>
            <a:r>
              <a:rPr lang="en-US"/>
              <a:t>Click to </a:t>
            </a:r>
            <a:br>
              <a:rPr lang="en-US"/>
            </a:br>
            <a:r>
              <a:rPr lang="en-US"/>
              <a:t>edit Master </a:t>
            </a:r>
            <a:br>
              <a:rPr lang="en-US"/>
            </a:br>
            <a:r>
              <a:rPr lang="en-US"/>
              <a:t>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4473578"/>
            <a:ext cx="6724410" cy="1098762"/>
          </a:xfrm>
        </p:spPr>
        <p:txBody>
          <a:bodyPr lIns="0" tIns="0" rIns="0" bIns="0" anchor="t" anchorCtr="0">
            <a:normAutofit/>
          </a:bodyPr>
          <a:lstStyle>
            <a:lvl1pPr marL="0" indent="0" algn="l">
              <a:lnSpc>
                <a:spcPct val="85000"/>
              </a:lnSpc>
              <a:spcBef>
                <a:spcPts val="800"/>
              </a:spcBef>
              <a:buNone/>
              <a:defRPr sz="2400" b="0"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16" name="Graphic 15">
            <a:extLst>
              <a:ext uri="{FF2B5EF4-FFF2-40B4-BE49-F238E27FC236}">
                <a16:creationId xmlns:a16="http://schemas.microsoft.com/office/drawing/2014/main" id="{CF17B32C-2AF2-484C-8922-D63BB59CCA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2424" y="340763"/>
            <a:ext cx="3509053" cy="573637"/>
          </a:xfrm>
          <a:prstGeom prst="rect">
            <a:avLst/>
          </a:prstGeom>
        </p:spPr>
      </p:pic>
    </p:spTree>
    <p:extLst>
      <p:ext uri="{BB962C8B-B14F-4D97-AF65-F5344CB8AC3E}">
        <p14:creationId xmlns:p14="http://schemas.microsoft.com/office/powerpoint/2010/main" val="2166272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Full Image + Conten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15A5DA-41BC-45A1-B6DF-BCEE8C7AC55A}"/>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2" name="Text Placeholder 14">
            <a:extLst>
              <a:ext uri="{FF2B5EF4-FFF2-40B4-BE49-F238E27FC236}">
                <a16:creationId xmlns:a16="http://schemas.microsoft.com/office/drawing/2014/main" id="{33C8433B-74C0-4319-9E22-3644836E29FD}"/>
              </a:ext>
            </a:extLst>
          </p:cNvPr>
          <p:cNvSpPr>
            <a:spLocks noGrp="1"/>
          </p:cNvSpPr>
          <p:nvPr>
            <p:ph type="body" sz="quarter" idx="14" hasCustomPrompt="1"/>
          </p:nvPr>
        </p:nvSpPr>
        <p:spPr>
          <a:xfrm>
            <a:off x="381002" y="865637"/>
            <a:ext cx="3470562"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3" name="Text Placeholder 9">
            <a:extLst>
              <a:ext uri="{FF2B5EF4-FFF2-40B4-BE49-F238E27FC236}">
                <a16:creationId xmlns:a16="http://schemas.microsoft.com/office/drawing/2014/main" id="{1CCBC686-C088-4E8B-B2C7-69A66F96511E}"/>
              </a:ext>
            </a:extLst>
          </p:cNvPr>
          <p:cNvSpPr>
            <a:spLocks noGrp="1"/>
          </p:cNvSpPr>
          <p:nvPr>
            <p:ph type="body" sz="quarter" idx="15"/>
          </p:nvPr>
        </p:nvSpPr>
        <p:spPr>
          <a:xfrm>
            <a:off x="381002" y="2317888"/>
            <a:ext cx="3470562" cy="2406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15" name="Text Placeholder 9">
            <a:extLst>
              <a:ext uri="{FF2B5EF4-FFF2-40B4-BE49-F238E27FC236}">
                <a16:creationId xmlns:a16="http://schemas.microsoft.com/office/drawing/2014/main" id="{27FFE632-D908-4234-95BD-A70F18CFDBD5}"/>
              </a:ext>
            </a:extLst>
          </p:cNvPr>
          <p:cNvSpPr>
            <a:spLocks noGrp="1"/>
          </p:cNvSpPr>
          <p:nvPr>
            <p:ph type="body" sz="quarter" idx="16"/>
          </p:nvPr>
        </p:nvSpPr>
        <p:spPr>
          <a:xfrm>
            <a:off x="381002" y="4840048"/>
            <a:ext cx="3470562" cy="91350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77956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ntent 1">
  <p:cSld name="Content 1">
    <p:spTree>
      <p:nvGrpSpPr>
        <p:cNvPr id="1" name="Shape 32"/>
        <p:cNvGrpSpPr/>
        <p:nvPr/>
      </p:nvGrpSpPr>
      <p:grpSpPr>
        <a:xfrm>
          <a:off x="0" y="0"/>
          <a:ext cx="0" cy="0"/>
          <a:chOff x="0" y="0"/>
          <a:chExt cx="0" cy="0"/>
        </a:xfrm>
      </p:grpSpPr>
      <p:sp>
        <p:nvSpPr>
          <p:cNvPr id="33" name="Google Shape;33;p34"/>
          <p:cNvSpPr txBox="1">
            <a:spLocks noGrp="1"/>
          </p:cNvSpPr>
          <p:nvPr>
            <p:ph type="body" idx="1"/>
          </p:nvPr>
        </p:nvSpPr>
        <p:spPr>
          <a:xfrm>
            <a:off x="379415" y="1322388"/>
            <a:ext cx="9144000" cy="489553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2000"/>
              <a:buNone/>
              <a:defRPr sz="2000"/>
            </a:lvl1pPr>
            <a:lvl2pPr marL="914400" lvl="1" indent="-355600" algn="l">
              <a:lnSpc>
                <a:spcPct val="100000"/>
              </a:lnSpc>
              <a:spcBef>
                <a:spcPts val="500"/>
              </a:spcBef>
              <a:spcAft>
                <a:spcPts val="0"/>
              </a:spcAft>
              <a:buClr>
                <a:schemeClr val="accent1"/>
              </a:buClr>
              <a:buSzPts val="2000"/>
              <a:buChar char="•"/>
              <a:defRPr sz="2000"/>
            </a:lvl2pPr>
            <a:lvl3pPr marL="1371600" lvl="2" indent="-355600" algn="l">
              <a:lnSpc>
                <a:spcPct val="100000"/>
              </a:lnSpc>
              <a:spcBef>
                <a:spcPts val="300"/>
              </a:spcBef>
              <a:spcAft>
                <a:spcPts val="0"/>
              </a:spcAft>
              <a:buClr>
                <a:schemeClr val="accent1"/>
              </a:buClr>
              <a:buSzPts val="2000"/>
              <a:buChar char="-"/>
              <a:defRPr sz="2000"/>
            </a:lvl3pPr>
            <a:lvl4pPr marL="1828800" lvl="3" indent="-355600" algn="l">
              <a:lnSpc>
                <a:spcPct val="100000"/>
              </a:lnSpc>
              <a:spcBef>
                <a:spcPts val="200"/>
              </a:spcBef>
              <a:spcAft>
                <a:spcPts val="0"/>
              </a:spcAft>
              <a:buClr>
                <a:schemeClr val="accent1"/>
              </a:buClr>
              <a:buSzPts val="2000"/>
              <a:buChar char="•"/>
              <a:defRPr sz="2000"/>
            </a:lvl4pPr>
            <a:lvl5pPr marL="2286000" lvl="4" indent="-355600" algn="l">
              <a:lnSpc>
                <a:spcPct val="100000"/>
              </a:lnSpc>
              <a:spcBef>
                <a:spcPts val="100"/>
              </a:spcBef>
              <a:spcAft>
                <a:spcPts val="0"/>
              </a:spcAft>
              <a:buClr>
                <a:schemeClr val="accent1"/>
              </a:buClr>
              <a:buSzPts val="2000"/>
              <a:buChar char="-"/>
              <a:defRPr sz="20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 name="Google Shape;34;p34"/>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26553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39"/>
        <p:cNvGrpSpPr/>
        <p:nvPr/>
      </p:nvGrpSpPr>
      <p:grpSpPr>
        <a:xfrm>
          <a:off x="0" y="0"/>
          <a:ext cx="0" cy="0"/>
          <a:chOff x="0" y="0"/>
          <a:chExt cx="0" cy="0"/>
        </a:xfrm>
      </p:grpSpPr>
      <p:sp>
        <p:nvSpPr>
          <p:cNvPr id="40" name="Google Shape;40;p41"/>
          <p:cNvSpPr txBox="1">
            <a:spLocks noGrp="1"/>
          </p:cNvSpPr>
          <p:nvPr>
            <p:ph type="body" idx="1"/>
          </p:nvPr>
        </p:nvSpPr>
        <p:spPr>
          <a:xfrm>
            <a:off x="379414" y="1322388"/>
            <a:ext cx="9144000" cy="4895532"/>
          </a:xfrm>
          <a:prstGeom prst="rect">
            <a:avLst/>
          </a:prstGeom>
          <a:noFill/>
          <a:ln>
            <a:noFill/>
          </a:ln>
        </p:spPr>
        <p:txBody>
          <a:bodyPr spcFirstLastPara="1">
            <a:noAutofit/>
          </a:bodyPr>
          <a:lstStyle>
            <a:lvl1pPr marL="457200" lvl="0" indent="-355600" algn="l">
              <a:lnSpc>
                <a:spcPct val="100000"/>
              </a:lnSpc>
              <a:spcBef>
                <a:spcPts val="1000"/>
              </a:spcBef>
              <a:spcAft>
                <a:spcPts val="0"/>
              </a:spcAft>
              <a:buClr>
                <a:schemeClr val="dk1"/>
              </a:buClr>
              <a:buSzPts val="2000"/>
              <a:buFont typeface="Arial"/>
              <a:buAutoNum type="arabicPeriod"/>
              <a:defRPr b="0"/>
            </a:lvl1pPr>
            <a:lvl2pPr marL="914400" lvl="1" indent="-355600" algn="l">
              <a:lnSpc>
                <a:spcPct val="100000"/>
              </a:lnSpc>
              <a:spcBef>
                <a:spcPts val="500"/>
              </a:spcBef>
              <a:spcAft>
                <a:spcPts val="0"/>
              </a:spcAft>
              <a:buSzPts val="2000"/>
              <a:buFont typeface="Arial"/>
              <a:buAutoNum type="arabicPeriod"/>
              <a:defRPr/>
            </a:lvl2pPr>
            <a:lvl3pPr marL="1371600" lvl="2" indent="-355600" algn="l">
              <a:lnSpc>
                <a:spcPct val="100000"/>
              </a:lnSpc>
              <a:spcBef>
                <a:spcPts val="300"/>
              </a:spcBef>
              <a:spcAft>
                <a:spcPts val="0"/>
              </a:spcAft>
              <a:buSzPts val="2000"/>
              <a:buFont typeface="Arial"/>
              <a:buAutoNum type="arabicPeriod"/>
              <a:defRPr/>
            </a:lvl3pPr>
            <a:lvl4pPr marL="1828800" lvl="3" indent="-355600" algn="l">
              <a:lnSpc>
                <a:spcPct val="100000"/>
              </a:lnSpc>
              <a:spcBef>
                <a:spcPts val="200"/>
              </a:spcBef>
              <a:spcAft>
                <a:spcPts val="0"/>
              </a:spcAft>
              <a:buSzPts val="2000"/>
              <a:buFont typeface="Arial"/>
              <a:buAutoNum type="arabicPeriod"/>
              <a:defRPr/>
            </a:lvl4pPr>
            <a:lvl5pPr marL="2286000" lvl="4" indent="-355600" algn="l">
              <a:lnSpc>
                <a:spcPct val="100000"/>
              </a:lnSpc>
              <a:spcBef>
                <a:spcPts val="100"/>
              </a:spcBef>
              <a:spcAft>
                <a:spcPts val="0"/>
              </a:spcAft>
              <a:buSzPts val="2000"/>
              <a:buFont typeface="Arial"/>
              <a:buAutoNum type="arabicPeriod"/>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1" name="Google Shape;41;p41"/>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382563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42"/>
        <p:cNvGrpSpPr/>
        <p:nvPr/>
      </p:nvGrpSpPr>
      <p:grpSpPr>
        <a:xfrm>
          <a:off x="0" y="0"/>
          <a:ext cx="0" cy="0"/>
          <a:chOff x="0" y="0"/>
          <a:chExt cx="0" cy="0"/>
        </a:xfrm>
      </p:grpSpPr>
      <p:sp>
        <p:nvSpPr>
          <p:cNvPr id="43" name="Google Shape;43;p42"/>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4" name="Google Shape;44;p42"/>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5" name="Google Shape;45;p42"/>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6" name="Google Shape;46;p42"/>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7" name="Google Shape;47;p42"/>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549558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48"/>
        <p:cNvGrpSpPr/>
        <p:nvPr/>
      </p:nvGrpSpPr>
      <p:grpSpPr>
        <a:xfrm>
          <a:off x="0" y="0"/>
          <a:ext cx="0" cy="0"/>
          <a:chOff x="0" y="0"/>
          <a:chExt cx="0" cy="0"/>
        </a:xfrm>
      </p:grpSpPr>
      <p:sp>
        <p:nvSpPr>
          <p:cNvPr id="49" name="Google Shape;49;p43"/>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0" name="Google Shape;50;p43"/>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1" name="Google Shape;51;p43"/>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2" name="Google Shape;52;p43"/>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3" name="Google Shape;53;p43"/>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4" name="Google Shape;54;p43"/>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5" name="Google Shape;55;p43"/>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142746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Full Image + Content 1">
  <p:cSld name="Full Image + Content 1">
    <p:spTree>
      <p:nvGrpSpPr>
        <p:cNvPr id="1" name="Shape 56"/>
        <p:cNvGrpSpPr/>
        <p:nvPr/>
      </p:nvGrpSpPr>
      <p:grpSpPr>
        <a:xfrm>
          <a:off x="0" y="0"/>
          <a:ext cx="0" cy="0"/>
          <a:chOff x="0" y="0"/>
          <a:chExt cx="0" cy="0"/>
        </a:xfrm>
      </p:grpSpPr>
      <p:pic>
        <p:nvPicPr>
          <p:cNvPr id="2" name="Google Shape;57;p44">
            <a:extLst>
              <a:ext uri="{FF2B5EF4-FFF2-40B4-BE49-F238E27FC236}">
                <a16:creationId xmlns:a16="http://schemas.microsoft.com/office/drawing/2014/main" id="{4A1FF823-FE64-E89D-0F4C-43F1B1522911}"/>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58;p44">
            <a:extLst>
              <a:ext uri="{FF2B5EF4-FFF2-40B4-BE49-F238E27FC236}">
                <a16:creationId xmlns:a16="http://schemas.microsoft.com/office/drawing/2014/main" id="{7E1A8D80-A341-92CC-833A-7DFF593F23F9}"/>
              </a:ext>
            </a:extLst>
          </p:cNvPr>
          <p:cNvGrpSpPr>
            <a:grpSpLocks/>
          </p:cNvGrpSpPr>
          <p:nvPr/>
        </p:nvGrpSpPr>
        <p:grpSpPr bwMode="auto">
          <a:xfrm>
            <a:off x="6989763" y="0"/>
            <a:ext cx="5199062" cy="3429000"/>
            <a:chOff x="6989942" y="1"/>
            <a:chExt cx="5198883" cy="3429000"/>
          </a:xfrm>
        </p:grpSpPr>
        <p:pic>
          <p:nvPicPr>
            <p:cNvPr id="4" name="Google Shape;59;p44">
              <a:extLst>
                <a:ext uri="{FF2B5EF4-FFF2-40B4-BE49-F238E27FC236}">
                  <a16:creationId xmlns:a16="http://schemas.microsoft.com/office/drawing/2014/main" id="{17510758-5AB5-6572-1DDA-A41728847857}"/>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60;p44">
              <a:extLst>
                <a:ext uri="{FF2B5EF4-FFF2-40B4-BE49-F238E27FC236}">
                  <a16:creationId xmlns:a16="http://schemas.microsoft.com/office/drawing/2014/main" id="{E9DDEED6-A517-578B-1F82-B8FCCECE65D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63;p44">
            <a:extLst>
              <a:ext uri="{FF2B5EF4-FFF2-40B4-BE49-F238E27FC236}">
                <a16:creationId xmlns:a16="http://schemas.microsoft.com/office/drawing/2014/main" id="{B3EC4953-0752-2671-E033-2E16E9F2422A}"/>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7A0DAEBF-40F4-4A57-ADAB-848673305E75}"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61" name="Google Shape;61;p44"/>
          <p:cNvSpPr txBox="1">
            <a:spLocks noGrp="1"/>
          </p:cNvSpPr>
          <p:nvPr>
            <p:ph type="body" idx="1"/>
          </p:nvPr>
        </p:nvSpPr>
        <p:spPr>
          <a:xfrm>
            <a:off x="381002" y="1324749"/>
            <a:ext cx="4208583" cy="83099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2" name="Google Shape;62;p44"/>
          <p:cNvSpPr txBox="1">
            <a:spLocks noGrp="1"/>
          </p:cNvSpPr>
          <p:nvPr>
            <p:ph type="body" idx="2"/>
          </p:nvPr>
        </p:nvSpPr>
        <p:spPr>
          <a:xfrm>
            <a:off x="381002" y="2278798"/>
            <a:ext cx="4208189" cy="1980345"/>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4" name="Google Shape;64;p44"/>
          <p:cNvSpPr txBox="1">
            <a:spLocks noGrp="1"/>
          </p:cNvSpPr>
          <p:nvPr>
            <p:ph type="body" idx="3"/>
          </p:nvPr>
        </p:nvSpPr>
        <p:spPr>
          <a:xfrm>
            <a:off x="381002" y="4880136"/>
            <a:ext cx="4208189" cy="1318035"/>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400"/>
              <a:buNone/>
              <a:defRPr sz="1400"/>
            </a:lvl1pPr>
            <a:lvl2pPr marL="914400" lvl="1" indent="-317500" algn="l">
              <a:lnSpc>
                <a:spcPct val="100000"/>
              </a:lnSpc>
              <a:spcBef>
                <a:spcPts val="500"/>
              </a:spcBef>
              <a:spcAft>
                <a:spcPts val="0"/>
              </a:spcAft>
              <a:buSzPts val="1400"/>
              <a:buChar char="•"/>
              <a:defRPr sz="1400"/>
            </a:lvl2pPr>
            <a:lvl3pPr marL="1371600" lvl="2" indent="-317500" algn="l">
              <a:lnSpc>
                <a:spcPct val="100000"/>
              </a:lnSpc>
              <a:spcBef>
                <a:spcPts val="300"/>
              </a:spcBef>
              <a:spcAft>
                <a:spcPts val="0"/>
              </a:spcAft>
              <a:buSzPts val="1400"/>
              <a:buChar char="-"/>
              <a:defRPr sz="1400"/>
            </a:lvl3pPr>
            <a:lvl4pPr marL="1828800" lvl="3" indent="-317500" algn="l">
              <a:lnSpc>
                <a:spcPct val="100000"/>
              </a:lnSpc>
              <a:spcBef>
                <a:spcPts val="200"/>
              </a:spcBef>
              <a:spcAft>
                <a:spcPts val="0"/>
              </a:spcAft>
              <a:buSzPts val="1400"/>
              <a:buChar char="•"/>
              <a:defRPr sz="1400"/>
            </a:lvl4pPr>
            <a:lvl5pPr marL="2286000" lvl="4" indent="-317500" algn="l">
              <a:lnSpc>
                <a:spcPct val="100000"/>
              </a:lnSpc>
              <a:spcBef>
                <a:spcPts val="100"/>
              </a:spcBef>
              <a:spcAft>
                <a:spcPts val="0"/>
              </a:spcAft>
              <a:buSzPts val="1400"/>
              <a:buChar char="-"/>
              <a:defRPr sz="14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146111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1_Full Image + Content 2">
  <p:cSld name="1_Full Image + Content 2">
    <p:spTree>
      <p:nvGrpSpPr>
        <p:cNvPr id="1" name="Shape 65"/>
        <p:cNvGrpSpPr/>
        <p:nvPr/>
      </p:nvGrpSpPr>
      <p:grpSpPr>
        <a:xfrm>
          <a:off x="0" y="0"/>
          <a:ext cx="0" cy="0"/>
          <a:chOff x="0" y="0"/>
          <a:chExt cx="0" cy="0"/>
        </a:xfrm>
      </p:grpSpPr>
      <p:pic>
        <p:nvPicPr>
          <p:cNvPr id="2" name="Google Shape;66;p46">
            <a:extLst>
              <a:ext uri="{FF2B5EF4-FFF2-40B4-BE49-F238E27FC236}">
                <a16:creationId xmlns:a16="http://schemas.microsoft.com/office/drawing/2014/main" id="{9469F2E8-03BF-6503-252B-1D2988FA3391}"/>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67;p46">
            <a:extLst>
              <a:ext uri="{FF2B5EF4-FFF2-40B4-BE49-F238E27FC236}">
                <a16:creationId xmlns:a16="http://schemas.microsoft.com/office/drawing/2014/main" id="{B97AC104-74AB-6B60-4C4C-6D3F52EC90DA}"/>
              </a:ext>
            </a:extLst>
          </p:cNvPr>
          <p:cNvGrpSpPr>
            <a:grpSpLocks/>
          </p:cNvGrpSpPr>
          <p:nvPr/>
        </p:nvGrpSpPr>
        <p:grpSpPr bwMode="auto">
          <a:xfrm>
            <a:off x="6989763" y="0"/>
            <a:ext cx="5199062" cy="3429000"/>
            <a:chOff x="6989942" y="1"/>
            <a:chExt cx="5198883" cy="3429000"/>
          </a:xfrm>
        </p:grpSpPr>
        <p:pic>
          <p:nvPicPr>
            <p:cNvPr id="4" name="Google Shape;68;p46">
              <a:extLst>
                <a:ext uri="{FF2B5EF4-FFF2-40B4-BE49-F238E27FC236}">
                  <a16:creationId xmlns:a16="http://schemas.microsoft.com/office/drawing/2014/main" id="{A7D3C46E-6093-4AD8-2321-C468ACD77146}"/>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69;p46">
              <a:extLst>
                <a:ext uri="{FF2B5EF4-FFF2-40B4-BE49-F238E27FC236}">
                  <a16:creationId xmlns:a16="http://schemas.microsoft.com/office/drawing/2014/main" id="{2075FE4E-D865-D0CE-1F3C-454DF13CAA6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70;p46">
            <a:extLst>
              <a:ext uri="{FF2B5EF4-FFF2-40B4-BE49-F238E27FC236}">
                <a16:creationId xmlns:a16="http://schemas.microsoft.com/office/drawing/2014/main" id="{AFDB8105-58FA-C74C-7A11-C4E085C2DE3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92D3E52E-24A8-47D7-93CB-3B9E0F60CED4}"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71" name="Google Shape;71;p46"/>
          <p:cNvSpPr txBox="1">
            <a:spLocks noGrp="1"/>
          </p:cNvSpPr>
          <p:nvPr>
            <p:ph type="body" idx="1"/>
          </p:nvPr>
        </p:nvSpPr>
        <p:spPr>
          <a:xfrm>
            <a:off x="381002" y="865637"/>
            <a:ext cx="3470562"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2" name="Google Shape;72;p46"/>
          <p:cNvSpPr txBox="1">
            <a:spLocks noGrp="1"/>
          </p:cNvSpPr>
          <p:nvPr>
            <p:ph type="body" idx="2"/>
          </p:nvPr>
        </p:nvSpPr>
        <p:spPr>
          <a:xfrm>
            <a:off x="381002" y="2317888"/>
            <a:ext cx="3470562" cy="2406961"/>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3" name="Google Shape;73;p46"/>
          <p:cNvSpPr txBox="1">
            <a:spLocks noGrp="1"/>
          </p:cNvSpPr>
          <p:nvPr>
            <p:ph type="body" idx="3"/>
          </p:nvPr>
        </p:nvSpPr>
        <p:spPr>
          <a:xfrm>
            <a:off x="381002" y="4840048"/>
            <a:ext cx="3470562" cy="91350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200"/>
              <a:buNone/>
              <a:defRPr sz="1200"/>
            </a:lvl1pPr>
            <a:lvl2pPr marL="914400" lvl="1" indent="-304800" algn="l">
              <a:lnSpc>
                <a:spcPct val="100000"/>
              </a:lnSpc>
              <a:spcBef>
                <a:spcPts val="500"/>
              </a:spcBef>
              <a:spcAft>
                <a:spcPts val="0"/>
              </a:spcAft>
              <a:buSzPts val="1200"/>
              <a:buChar char="•"/>
              <a:defRPr sz="1200"/>
            </a:lvl2pPr>
            <a:lvl3pPr marL="1371600" lvl="2" indent="-304800" algn="l">
              <a:lnSpc>
                <a:spcPct val="100000"/>
              </a:lnSpc>
              <a:spcBef>
                <a:spcPts val="300"/>
              </a:spcBef>
              <a:spcAft>
                <a:spcPts val="0"/>
              </a:spcAft>
              <a:buSzPts val="1200"/>
              <a:buChar char="-"/>
              <a:defRPr sz="1200"/>
            </a:lvl3pPr>
            <a:lvl4pPr marL="1828800" lvl="3" indent="-304800" algn="l">
              <a:lnSpc>
                <a:spcPct val="100000"/>
              </a:lnSpc>
              <a:spcBef>
                <a:spcPts val="200"/>
              </a:spcBef>
              <a:spcAft>
                <a:spcPts val="0"/>
              </a:spcAft>
              <a:buSzPts val="1200"/>
              <a:buChar char="•"/>
              <a:defRPr sz="1200"/>
            </a:lvl4pPr>
            <a:lvl5pPr marL="2286000" lvl="4" indent="-304800" algn="l">
              <a:lnSpc>
                <a:spcPct val="100000"/>
              </a:lnSpc>
              <a:spcBef>
                <a:spcPts val="100"/>
              </a:spcBef>
              <a:spcAft>
                <a:spcPts val="0"/>
              </a:spcAft>
              <a:buSzPts val="1200"/>
              <a:buChar char="-"/>
              <a:defRPr sz="12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75712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Full Image + Content 4">
  <p:cSld name="Full Image + Content 4">
    <p:spTree>
      <p:nvGrpSpPr>
        <p:cNvPr id="1" name="Shape 74"/>
        <p:cNvGrpSpPr/>
        <p:nvPr/>
      </p:nvGrpSpPr>
      <p:grpSpPr>
        <a:xfrm>
          <a:off x="0" y="0"/>
          <a:ext cx="0" cy="0"/>
          <a:chOff x="0" y="0"/>
          <a:chExt cx="0" cy="0"/>
        </a:xfrm>
      </p:grpSpPr>
      <p:pic>
        <p:nvPicPr>
          <p:cNvPr id="2" name="Google Shape;75;p47">
            <a:extLst>
              <a:ext uri="{FF2B5EF4-FFF2-40B4-BE49-F238E27FC236}">
                <a16:creationId xmlns:a16="http://schemas.microsoft.com/office/drawing/2014/main" id="{AE4557DE-2AA5-7736-551D-102349AF4EE2}"/>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76;p47">
            <a:extLst>
              <a:ext uri="{FF2B5EF4-FFF2-40B4-BE49-F238E27FC236}">
                <a16:creationId xmlns:a16="http://schemas.microsoft.com/office/drawing/2014/main" id="{3B5D9F05-B5A5-27E1-6DED-F6FF5AE13171}"/>
              </a:ext>
            </a:extLst>
          </p:cNvPr>
          <p:cNvGrpSpPr>
            <a:grpSpLocks/>
          </p:cNvGrpSpPr>
          <p:nvPr/>
        </p:nvGrpSpPr>
        <p:grpSpPr bwMode="auto">
          <a:xfrm>
            <a:off x="6989763" y="0"/>
            <a:ext cx="5199062" cy="3429000"/>
            <a:chOff x="6989942" y="1"/>
            <a:chExt cx="5198883" cy="3429000"/>
          </a:xfrm>
        </p:grpSpPr>
        <p:pic>
          <p:nvPicPr>
            <p:cNvPr id="4" name="Google Shape;77;p47">
              <a:extLst>
                <a:ext uri="{FF2B5EF4-FFF2-40B4-BE49-F238E27FC236}">
                  <a16:creationId xmlns:a16="http://schemas.microsoft.com/office/drawing/2014/main" id="{9D937560-EFB8-E840-9AE4-759BEE77817E}"/>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78;p47">
              <a:extLst>
                <a:ext uri="{FF2B5EF4-FFF2-40B4-BE49-F238E27FC236}">
                  <a16:creationId xmlns:a16="http://schemas.microsoft.com/office/drawing/2014/main" id="{39F72894-8250-3E4F-011B-F7916FD74369}"/>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79;p47">
            <a:extLst>
              <a:ext uri="{FF2B5EF4-FFF2-40B4-BE49-F238E27FC236}">
                <a16:creationId xmlns:a16="http://schemas.microsoft.com/office/drawing/2014/main" id="{EFFE6C7B-7231-7836-A86F-8F381655A495}"/>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5F89F742-EC66-4D5B-93A0-B3FD65A4F305}"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80" name="Google Shape;80;p47"/>
          <p:cNvSpPr txBox="1">
            <a:spLocks noGrp="1"/>
          </p:cNvSpPr>
          <p:nvPr>
            <p:ph type="body" idx="1"/>
          </p:nvPr>
        </p:nvSpPr>
        <p:spPr>
          <a:xfrm>
            <a:off x="381002" y="1205919"/>
            <a:ext cx="3474720"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1" name="Google Shape;81;p47"/>
          <p:cNvSpPr txBox="1">
            <a:spLocks noGrp="1"/>
          </p:cNvSpPr>
          <p:nvPr>
            <p:ph type="body" idx="2"/>
          </p:nvPr>
        </p:nvSpPr>
        <p:spPr>
          <a:xfrm>
            <a:off x="381002" y="2658170"/>
            <a:ext cx="3474720" cy="2406961"/>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656468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1_Full Image + Content 4">
  <p:cSld name="1_Full Image + Content 4">
    <p:spTree>
      <p:nvGrpSpPr>
        <p:cNvPr id="1" name="Shape 82"/>
        <p:cNvGrpSpPr/>
        <p:nvPr/>
      </p:nvGrpSpPr>
      <p:grpSpPr>
        <a:xfrm>
          <a:off x="0" y="0"/>
          <a:ext cx="0" cy="0"/>
          <a:chOff x="0" y="0"/>
          <a:chExt cx="0" cy="0"/>
        </a:xfrm>
      </p:grpSpPr>
      <p:pic>
        <p:nvPicPr>
          <p:cNvPr id="2" name="Google Shape;83;p48">
            <a:extLst>
              <a:ext uri="{FF2B5EF4-FFF2-40B4-BE49-F238E27FC236}">
                <a16:creationId xmlns:a16="http://schemas.microsoft.com/office/drawing/2014/main" id="{7FB1E199-AC98-D302-E148-07ED79AD7C67}"/>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84;p48">
            <a:extLst>
              <a:ext uri="{FF2B5EF4-FFF2-40B4-BE49-F238E27FC236}">
                <a16:creationId xmlns:a16="http://schemas.microsoft.com/office/drawing/2014/main" id="{B41FDB7C-081B-90B6-1085-C08EE3E313E6}"/>
              </a:ext>
            </a:extLst>
          </p:cNvPr>
          <p:cNvGrpSpPr>
            <a:grpSpLocks/>
          </p:cNvGrpSpPr>
          <p:nvPr/>
        </p:nvGrpSpPr>
        <p:grpSpPr bwMode="auto">
          <a:xfrm>
            <a:off x="6989763" y="0"/>
            <a:ext cx="5199062" cy="3429000"/>
            <a:chOff x="6989942" y="1"/>
            <a:chExt cx="5198883" cy="3429000"/>
          </a:xfrm>
        </p:grpSpPr>
        <p:pic>
          <p:nvPicPr>
            <p:cNvPr id="4" name="Google Shape;85;p48">
              <a:extLst>
                <a:ext uri="{FF2B5EF4-FFF2-40B4-BE49-F238E27FC236}">
                  <a16:creationId xmlns:a16="http://schemas.microsoft.com/office/drawing/2014/main" id="{01BF0A63-0E31-510F-C417-5BE8677BE0F6}"/>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6"/>
            <a:stretch>
              <a:fillRect/>
            </a:stretch>
          </p:blipFill>
          <p:spPr bwMode="auto">
            <a:xfrm>
              <a:off x="6989942" y="1"/>
              <a:ext cx="5198883"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86;p48">
              <a:extLst>
                <a:ext uri="{FF2B5EF4-FFF2-40B4-BE49-F238E27FC236}">
                  <a16:creationId xmlns:a16="http://schemas.microsoft.com/office/drawing/2014/main" id="{297F104A-93C2-5B18-6925-D3CA49E60F90}"/>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4"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87;p48">
            <a:extLst>
              <a:ext uri="{FF2B5EF4-FFF2-40B4-BE49-F238E27FC236}">
                <a16:creationId xmlns:a16="http://schemas.microsoft.com/office/drawing/2014/main" id="{FF9FA356-C260-763C-3109-214784FA9B6F}"/>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9F806281-F6C2-467E-9B71-AD0D8DDC43F6}"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sp>
        <p:nvSpPr>
          <p:cNvPr id="88" name="Google Shape;88;p48"/>
          <p:cNvSpPr txBox="1">
            <a:spLocks noGrp="1"/>
          </p:cNvSpPr>
          <p:nvPr>
            <p:ph type="body" idx="1"/>
          </p:nvPr>
        </p:nvSpPr>
        <p:spPr>
          <a:xfrm>
            <a:off x="381001" y="705151"/>
            <a:ext cx="5493326" cy="1329595"/>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800"/>
              <a:buNone/>
              <a:defRPr sz="28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9" name="Google Shape;89;p48"/>
          <p:cNvSpPr txBox="1">
            <a:spLocks noGrp="1"/>
          </p:cNvSpPr>
          <p:nvPr>
            <p:ph type="body" idx="2"/>
          </p:nvPr>
        </p:nvSpPr>
        <p:spPr>
          <a:xfrm>
            <a:off x="381001" y="2157403"/>
            <a:ext cx="5493327" cy="1004638"/>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90" name="Google Shape;90;p48"/>
          <p:cNvSpPr txBox="1">
            <a:spLocks noGrp="1"/>
          </p:cNvSpPr>
          <p:nvPr>
            <p:ph type="body" idx="3"/>
          </p:nvPr>
        </p:nvSpPr>
        <p:spPr>
          <a:xfrm>
            <a:off x="381002" y="3691083"/>
            <a:ext cx="3334656" cy="2102757"/>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200"/>
              <a:buNone/>
              <a:defRPr sz="1200"/>
            </a:lvl1pPr>
            <a:lvl2pPr marL="914400" lvl="1" indent="-304800" algn="l">
              <a:lnSpc>
                <a:spcPct val="100000"/>
              </a:lnSpc>
              <a:spcBef>
                <a:spcPts val="500"/>
              </a:spcBef>
              <a:spcAft>
                <a:spcPts val="0"/>
              </a:spcAft>
              <a:buSzPts val="1200"/>
              <a:buChar char="•"/>
              <a:defRPr sz="1200"/>
            </a:lvl2pPr>
            <a:lvl3pPr marL="1371600" lvl="2" indent="-304800" algn="l">
              <a:lnSpc>
                <a:spcPct val="100000"/>
              </a:lnSpc>
              <a:spcBef>
                <a:spcPts val="300"/>
              </a:spcBef>
              <a:spcAft>
                <a:spcPts val="0"/>
              </a:spcAft>
              <a:buSzPts val="1200"/>
              <a:buChar char="-"/>
              <a:defRPr sz="1200"/>
            </a:lvl3pPr>
            <a:lvl4pPr marL="1828800" lvl="3" indent="-304800" algn="l">
              <a:lnSpc>
                <a:spcPct val="100000"/>
              </a:lnSpc>
              <a:spcBef>
                <a:spcPts val="200"/>
              </a:spcBef>
              <a:spcAft>
                <a:spcPts val="0"/>
              </a:spcAft>
              <a:buSzPts val="1200"/>
              <a:buChar char="•"/>
              <a:defRPr sz="1200"/>
            </a:lvl4pPr>
            <a:lvl5pPr marL="2286000" lvl="4" indent="-304800" algn="l">
              <a:lnSpc>
                <a:spcPct val="100000"/>
              </a:lnSpc>
              <a:spcBef>
                <a:spcPts val="100"/>
              </a:spcBef>
              <a:spcAft>
                <a:spcPts val="0"/>
              </a:spcAft>
              <a:buSzPts val="1200"/>
              <a:buChar char="-"/>
              <a:defRPr sz="12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37060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107"/>
        <p:cNvGrpSpPr/>
        <p:nvPr/>
      </p:nvGrpSpPr>
      <p:grpSpPr>
        <a:xfrm>
          <a:off x="0" y="0"/>
          <a:ext cx="0" cy="0"/>
          <a:chOff x="0" y="0"/>
          <a:chExt cx="0" cy="0"/>
        </a:xfrm>
      </p:grpSpPr>
      <p:sp>
        <p:nvSpPr>
          <p:cNvPr id="108" name="Google Shape;108;p51"/>
          <p:cNvSpPr txBox="1">
            <a:spLocks noGrp="1"/>
          </p:cNvSpPr>
          <p:nvPr>
            <p:ph type="body" idx="1"/>
          </p:nvPr>
        </p:nvSpPr>
        <p:spPr>
          <a:xfrm>
            <a:off x="381001" y="2565127"/>
            <a:ext cx="3017520" cy="2201057"/>
          </a:xfrm>
          <a:prstGeom prst="rect">
            <a:avLst/>
          </a:prstGeom>
          <a:solidFill>
            <a:schemeClr val="accent1"/>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09" name="Google Shape;109;p51"/>
          <p:cNvSpPr txBox="1">
            <a:spLocks noGrp="1"/>
          </p:cNvSpPr>
          <p:nvPr>
            <p:ph type="body" idx="2"/>
          </p:nvPr>
        </p:nvSpPr>
        <p:spPr>
          <a:xfrm>
            <a:off x="3807007" y="2565127"/>
            <a:ext cx="3017520" cy="2201057"/>
          </a:xfrm>
          <a:prstGeom prst="rect">
            <a:avLst/>
          </a:prstGeom>
          <a:solidFill>
            <a:schemeClr val="accent3"/>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10" name="Google Shape;110;p51"/>
          <p:cNvSpPr txBox="1">
            <a:spLocks noGrp="1"/>
          </p:cNvSpPr>
          <p:nvPr>
            <p:ph type="body" idx="3"/>
          </p:nvPr>
        </p:nvSpPr>
        <p:spPr>
          <a:xfrm>
            <a:off x="7233013" y="2565127"/>
            <a:ext cx="3017520" cy="2201057"/>
          </a:xfrm>
          <a:prstGeom prst="rect">
            <a:avLst/>
          </a:prstGeom>
          <a:solidFill>
            <a:schemeClr val="accent4"/>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11" name="Google Shape;111;p51"/>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440049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112"/>
        <p:cNvGrpSpPr/>
        <p:nvPr/>
      </p:nvGrpSpPr>
      <p:grpSpPr>
        <a:xfrm>
          <a:off x="0" y="0"/>
          <a:ext cx="0" cy="0"/>
          <a:chOff x="0" y="0"/>
          <a:chExt cx="0" cy="0"/>
        </a:xfrm>
      </p:grpSpPr>
      <p:sp>
        <p:nvSpPr>
          <p:cNvPr id="113" name="Google Shape;113;p52"/>
          <p:cNvSpPr txBox="1">
            <a:spLocks noGrp="1"/>
          </p:cNvSpPr>
          <p:nvPr>
            <p:ph type="title"/>
          </p:nvPr>
        </p:nvSpPr>
        <p:spPr>
          <a:xfrm>
            <a:off x="381002" y="365125"/>
            <a:ext cx="7549834"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45772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3261A7-DDD8-4F86-8E8B-4A6403B65150}"/>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5" name="Text Placeholder 14">
            <a:extLst>
              <a:ext uri="{FF2B5EF4-FFF2-40B4-BE49-F238E27FC236}">
                <a16:creationId xmlns:a16="http://schemas.microsoft.com/office/drawing/2014/main" id="{C65BE895-11E0-42FF-A2D7-70E7C606BEF0}"/>
              </a:ext>
            </a:extLst>
          </p:cNvPr>
          <p:cNvSpPr>
            <a:spLocks noGrp="1"/>
          </p:cNvSpPr>
          <p:nvPr>
            <p:ph type="body" sz="quarter" idx="14" hasCustomPrompt="1"/>
          </p:nvPr>
        </p:nvSpPr>
        <p:spPr>
          <a:xfrm>
            <a:off x="381002" y="1205919"/>
            <a:ext cx="3474720"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6" name="Text Placeholder 9">
            <a:extLst>
              <a:ext uri="{FF2B5EF4-FFF2-40B4-BE49-F238E27FC236}">
                <a16:creationId xmlns:a16="http://schemas.microsoft.com/office/drawing/2014/main" id="{8188D866-4289-41A9-B765-96202F39EF8B}"/>
              </a:ext>
            </a:extLst>
          </p:cNvPr>
          <p:cNvSpPr>
            <a:spLocks noGrp="1"/>
          </p:cNvSpPr>
          <p:nvPr>
            <p:ph type="body" sz="quarter" idx="15"/>
          </p:nvPr>
        </p:nvSpPr>
        <p:spPr>
          <a:xfrm>
            <a:off x="381002" y="2658170"/>
            <a:ext cx="3474720" cy="2406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1427135875"/>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9680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04C22-D44C-41A9-AAFB-C8BC9F54E6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016941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Full Image + Content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49398-6850-4F3D-BDD8-B36A7B6CF242}"/>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15" name="Text Placeholder 14">
            <a:extLst>
              <a:ext uri="{FF2B5EF4-FFF2-40B4-BE49-F238E27FC236}">
                <a16:creationId xmlns:a16="http://schemas.microsoft.com/office/drawing/2014/main" id="{C65BE895-11E0-42FF-A2D7-70E7C606BEF0}"/>
              </a:ext>
            </a:extLst>
          </p:cNvPr>
          <p:cNvSpPr>
            <a:spLocks noGrp="1"/>
          </p:cNvSpPr>
          <p:nvPr>
            <p:ph type="body" sz="quarter" idx="14" hasCustomPrompt="1"/>
          </p:nvPr>
        </p:nvSpPr>
        <p:spPr>
          <a:xfrm>
            <a:off x="381001" y="705151"/>
            <a:ext cx="5493326" cy="1329595"/>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16" name="Text Placeholder 9">
            <a:extLst>
              <a:ext uri="{FF2B5EF4-FFF2-40B4-BE49-F238E27FC236}">
                <a16:creationId xmlns:a16="http://schemas.microsoft.com/office/drawing/2014/main" id="{8188D866-4289-41A9-B765-96202F39EF8B}"/>
              </a:ext>
            </a:extLst>
          </p:cNvPr>
          <p:cNvSpPr>
            <a:spLocks noGrp="1"/>
          </p:cNvSpPr>
          <p:nvPr>
            <p:ph type="body" sz="quarter" idx="15"/>
          </p:nvPr>
        </p:nvSpPr>
        <p:spPr>
          <a:xfrm>
            <a:off x="381001" y="2157403"/>
            <a:ext cx="5493327" cy="1004638"/>
          </a:xfrm>
        </p:spPr>
        <p:txBody>
          <a:bodyPr/>
          <a:lstStyle/>
          <a:p>
            <a:pPr lvl="0"/>
            <a:r>
              <a:rPr lang="en-US"/>
              <a:t>Click to edit Master text styles</a:t>
            </a:r>
          </a:p>
          <a:p>
            <a:pPr lvl="1"/>
            <a:r>
              <a:rPr lang="en-US"/>
              <a:t>Second level</a:t>
            </a:r>
          </a:p>
          <a:p>
            <a:pPr lvl="2"/>
            <a:r>
              <a:rPr lang="en-US"/>
              <a:t>Third level</a:t>
            </a:r>
          </a:p>
        </p:txBody>
      </p:sp>
      <p:sp>
        <p:nvSpPr>
          <p:cNvPr id="13" name="Text Placeholder 9">
            <a:extLst>
              <a:ext uri="{FF2B5EF4-FFF2-40B4-BE49-F238E27FC236}">
                <a16:creationId xmlns:a16="http://schemas.microsoft.com/office/drawing/2014/main" id="{0D9F76DF-5B27-4B9B-A916-EDD9A0456AB9}"/>
              </a:ext>
            </a:extLst>
          </p:cNvPr>
          <p:cNvSpPr>
            <a:spLocks noGrp="1"/>
          </p:cNvSpPr>
          <p:nvPr>
            <p:ph type="body" sz="quarter" idx="16"/>
          </p:nvPr>
        </p:nvSpPr>
        <p:spPr>
          <a:xfrm>
            <a:off x="381002" y="3691083"/>
            <a:ext cx="3334656" cy="210275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307928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383815" y="1938570"/>
            <a:ext cx="1492609" cy="1492609"/>
          </a:xfrm>
          <a:prstGeom prst="ellipse">
            <a:avLst/>
          </a:prstGeom>
        </p:spPr>
        <p:txBody>
          <a:bodyPr anchor="ctr"/>
          <a:lstStyle>
            <a:lvl1pPr algn="ctr">
              <a:defRPr/>
            </a:lvl1pPr>
          </a:lstStyle>
          <a:p>
            <a:endParaRPr lang="en-US"/>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246001" y="1938570"/>
            <a:ext cx="1492609" cy="1492609"/>
          </a:xfrm>
          <a:prstGeom prst="ellipse">
            <a:avLst/>
          </a:prstGeom>
        </p:spPr>
        <p:txBody>
          <a:bodyPr anchor="ctr"/>
          <a:lstStyle>
            <a:lvl1pPr algn="ctr">
              <a:defRPr/>
            </a:lvl1pPr>
          </a:lstStyle>
          <a:p>
            <a:endParaRPr lang="en-US"/>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108187" y="1938570"/>
            <a:ext cx="1492609" cy="1492609"/>
          </a:xfrm>
          <a:prstGeom prst="ellipse">
            <a:avLst/>
          </a:prstGeom>
        </p:spPr>
        <p:txBody>
          <a:bodyPr anchor="ctr"/>
          <a:lstStyle>
            <a:lvl1pPr algn="ctr">
              <a:defRPr/>
            </a:lvl1pPr>
          </a:lstStyle>
          <a:p>
            <a:endParaRPr lang="en-US"/>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8970373" y="1938570"/>
            <a:ext cx="1492609" cy="1492609"/>
          </a:xfrm>
          <a:prstGeom prst="ellipse">
            <a:avLst/>
          </a:prstGeom>
        </p:spPr>
        <p:txBody>
          <a:bodyPr anchor="ctr"/>
          <a:lstStyle>
            <a:lvl1pPr algn="ctr">
              <a:defRPr/>
            </a:lvl1pPr>
          </a:lstStyle>
          <a:p>
            <a:endParaRPr lang="en-US"/>
          </a:p>
        </p:txBody>
      </p:sp>
      <p:sp>
        <p:nvSpPr>
          <p:cNvPr id="34" name="Text Placeholder 20">
            <a:extLst>
              <a:ext uri="{FF2B5EF4-FFF2-40B4-BE49-F238E27FC236}">
                <a16:creationId xmlns:a16="http://schemas.microsoft.com/office/drawing/2014/main" id="{2F8E936F-7579-4696-8A94-A6853220381C}"/>
              </a:ext>
            </a:extLst>
          </p:cNvPr>
          <p:cNvSpPr>
            <a:spLocks noGrp="1"/>
          </p:cNvSpPr>
          <p:nvPr>
            <p:ph type="body" sz="quarter" idx="30"/>
          </p:nvPr>
        </p:nvSpPr>
        <p:spPr>
          <a:xfrm>
            <a:off x="383816"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5" name="Text Placeholder 20">
            <a:extLst>
              <a:ext uri="{FF2B5EF4-FFF2-40B4-BE49-F238E27FC236}">
                <a16:creationId xmlns:a16="http://schemas.microsoft.com/office/drawing/2014/main" id="{C1331F89-1B3B-479D-9287-3BA91E7CB6E7}"/>
              </a:ext>
            </a:extLst>
          </p:cNvPr>
          <p:cNvSpPr>
            <a:spLocks noGrp="1"/>
          </p:cNvSpPr>
          <p:nvPr>
            <p:ph type="body" sz="quarter" idx="31"/>
          </p:nvPr>
        </p:nvSpPr>
        <p:spPr>
          <a:xfrm>
            <a:off x="3246002"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6" name="Text Placeholder 20">
            <a:extLst>
              <a:ext uri="{FF2B5EF4-FFF2-40B4-BE49-F238E27FC236}">
                <a16:creationId xmlns:a16="http://schemas.microsoft.com/office/drawing/2014/main" id="{B64678CA-7D27-4D1E-AC8F-F39752A64DCE}"/>
              </a:ext>
            </a:extLst>
          </p:cNvPr>
          <p:cNvSpPr>
            <a:spLocks noGrp="1"/>
          </p:cNvSpPr>
          <p:nvPr>
            <p:ph type="body" sz="quarter" idx="32"/>
          </p:nvPr>
        </p:nvSpPr>
        <p:spPr>
          <a:xfrm>
            <a:off x="6108188"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7" name="Text Placeholder 20">
            <a:extLst>
              <a:ext uri="{FF2B5EF4-FFF2-40B4-BE49-F238E27FC236}">
                <a16:creationId xmlns:a16="http://schemas.microsoft.com/office/drawing/2014/main" id="{0391E40B-31EE-41CA-8600-8FF01E5BFA43}"/>
              </a:ext>
            </a:extLst>
          </p:cNvPr>
          <p:cNvSpPr>
            <a:spLocks noGrp="1"/>
          </p:cNvSpPr>
          <p:nvPr>
            <p:ph type="body" sz="quarter" idx="33"/>
          </p:nvPr>
        </p:nvSpPr>
        <p:spPr>
          <a:xfrm>
            <a:off x="8970373"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29" name="Text Placeholder 14">
            <a:extLst>
              <a:ext uri="{FF2B5EF4-FFF2-40B4-BE49-F238E27FC236}">
                <a16:creationId xmlns:a16="http://schemas.microsoft.com/office/drawing/2014/main" id="{6C8655DB-8B7C-4267-8D5D-56780B99AB97}"/>
              </a:ext>
            </a:extLst>
          </p:cNvPr>
          <p:cNvSpPr>
            <a:spLocks noGrp="1"/>
          </p:cNvSpPr>
          <p:nvPr>
            <p:ph type="body" sz="quarter" idx="26" hasCustomPrompt="1"/>
          </p:nvPr>
        </p:nvSpPr>
        <p:spPr>
          <a:xfrm>
            <a:off x="383816"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Text Placeholder 14">
            <a:extLst>
              <a:ext uri="{FF2B5EF4-FFF2-40B4-BE49-F238E27FC236}">
                <a16:creationId xmlns:a16="http://schemas.microsoft.com/office/drawing/2014/main" id="{5A57D5F3-2CAE-419F-BA98-87C21B53C4A8}"/>
              </a:ext>
            </a:extLst>
          </p:cNvPr>
          <p:cNvSpPr>
            <a:spLocks noGrp="1"/>
          </p:cNvSpPr>
          <p:nvPr>
            <p:ph type="body" sz="quarter" idx="27" hasCustomPrompt="1"/>
          </p:nvPr>
        </p:nvSpPr>
        <p:spPr>
          <a:xfrm>
            <a:off x="3246002"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8D1583A-C497-4C20-89FC-8355292E515C}"/>
              </a:ext>
            </a:extLst>
          </p:cNvPr>
          <p:cNvSpPr>
            <a:spLocks noGrp="1"/>
          </p:cNvSpPr>
          <p:nvPr>
            <p:ph type="body" sz="quarter" idx="28" hasCustomPrompt="1"/>
          </p:nvPr>
        </p:nvSpPr>
        <p:spPr>
          <a:xfrm>
            <a:off x="6108188"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Text Placeholder 14">
            <a:extLst>
              <a:ext uri="{FF2B5EF4-FFF2-40B4-BE49-F238E27FC236}">
                <a16:creationId xmlns:a16="http://schemas.microsoft.com/office/drawing/2014/main" id="{4AED494D-AEAE-43EA-AC43-4B3F3D9D4060}"/>
              </a:ext>
            </a:extLst>
          </p:cNvPr>
          <p:cNvSpPr>
            <a:spLocks noGrp="1"/>
          </p:cNvSpPr>
          <p:nvPr>
            <p:ph type="body" sz="quarter" idx="29" hasCustomPrompt="1"/>
          </p:nvPr>
        </p:nvSpPr>
        <p:spPr>
          <a:xfrm>
            <a:off x="8970373"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DA6326A-4FC9-4963-B3BF-290393C218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75855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914400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252467385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65127"/>
            <a:ext cx="30175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07007" y="2565127"/>
            <a:ext cx="30175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233013" y="2565127"/>
            <a:ext cx="3017520"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6" name="Title 5">
            <a:extLst>
              <a:ext uri="{FF2B5EF4-FFF2-40B4-BE49-F238E27FC236}">
                <a16:creationId xmlns:a16="http://schemas.microsoft.com/office/drawing/2014/main" id="{B3021369-09E6-4255-B2E1-A8999AD4D3B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3717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9601200" cy="4887912"/>
          </a:xfrm>
        </p:spPr>
        <p:txBody>
          <a:bodyPr anchor="ctr"/>
          <a:lstStyle>
            <a:lvl1pPr algn="ctr">
              <a:defRPr/>
            </a:lvl1pPr>
          </a:lstStyle>
          <a:p>
            <a:endParaRPr lang="en-US"/>
          </a:p>
        </p:txBody>
      </p:sp>
      <p:sp>
        <p:nvSpPr>
          <p:cNvPr id="3" name="Title 2">
            <a:extLst>
              <a:ext uri="{FF2B5EF4-FFF2-40B4-BE49-F238E27FC236}">
                <a16:creationId xmlns:a16="http://schemas.microsoft.com/office/drawing/2014/main" id="{6E6F23AC-1D8B-49C9-A5AB-4CE26A643A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4897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3_Title – Grid Light">
  <p:cSld name="4_Title – Grid Light">
    <p:bg>
      <p:bgPr>
        <a:solidFill>
          <a:schemeClr val="lt2"/>
        </a:solidFill>
        <a:effectLst/>
      </p:bgPr>
    </p:bg>
    <p:spTree>
      <p:nvGrpSpPr>
        <p:cNvPr id="1" name="Shape 11"/>
        <p:cNvGrpSpPr/>
        <p:nvPr/>
      </p:nvGrpSpPr>
      <p:grpSpPr>
        <a:xfrm>
          <a:off x="0" y="0"/>
          <a:ext cx="0" cy="0"/>
          <a:chOff x="0" y="0"/>
          <a:chExt cx="0" cy="0"/>
        </a:xfrm>
      </p:grpSpPr>
      <p:pic>
        <p:nvPicPr>
          <p:cNvPr id="12" name="Google Shape;12;p11"/>
          <p:cNvPicPr preferRelativeResize="0"/>
          <p:nvPr/>
        </p:nvPicPr>
        <p:blipFill rotWithShape="1">
          <a:blip r:embed="rId2">
            <a:alphaModFix/>
          </a:blip>
          <a:srcRect/>
          <a:stretch/>
        </p:blipFill>
        <p:spPr>
          <a:xfrm>
            <a:off x="2" y="1786"/>
            <a:ext cx="12188825" cy="6856214"/>
          </a:xfrm>
          <a:prstGeom prst="rect">
            <a:avLst/>
          </a:prstGeom>
          <a:noFill/>
          <a:ln>
            <a:noFill/>
          </a:ln>
        </p:spPr>
      </p:pic>
      <p:sp>
        <p:nvSpPr>
          <p:cNvPr id="13" name="Google Shape;13;p11"/>
          <p:cNvSpPr txBox="1">
            <a:spLocks noGrp="1"/>
          </p:cNvSpPr>
          <p:nvPr>
            <p:ph type="ctrTitle"/>
          </p:nvPr>
        </p:nvSpPr>
        <p:spPr>
          <a:xfrm>
            <a:off x="382972" y="3456372"/>
            <a:ext cx="6724410" cy="886140"/>
          </a:xfrm>
          <a:prstGeom prst="rect">
            <a:avLst/>
          </a:prstGeom>
          <a:noFill/>
          <a:ln>
            <a:noFill/>
          </a:ln>
        </p:spPr>
        <p:txBody>
          <a:bodyPr spcFirstLastPara="1" wrap="square" lIns="0" tIns="0" rIns="0" bIns="0" anchor="b" anchorCtr="0">
            <a:spAutoFit/>
          </a:bodyPr>
          <a:lstStyle>
            <a:lvl1pPr lvl="0" algn="l">
              <a:lnSpc>
                <a:spcPct val="80000"/>
              </a:lnSpc>
              <a:spcBef>
                <a:spcPts val="0"/>
              </a:spcBef>
              <a:spcAft>
                <a:spcPts val="0"/>
              </a:spcAft>
              <a:buClr>
                <a:schemeClr val="lt1"/>
              </a:buClr>
              <a:buSzPts val="7200"/>
              <a:buFont typeface="Arial"/>
              <a:buNone/>
              <a:defRPr sz="7196" b="1"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 name="Google Shape;14;p11"/>
          <p:cNvSpPr txBox="1">
            <a:spLocks noGrp="1"/>
          </p:cNvSpPr>
          <p:nvPr>
            <p:ph type="subTitle" idx="1"/>
          </p:nvPr>
        </p:nvSpPr>
        <p:spPr>
          <a:xfrm>
            <a:off x="382972" y="4473578"/>
            <a:ext cx="6724410" cy="1098762"/>
          </a:xfrm>
          <a:prstGeom prst="rect">
            <a:avLst/>
          </a:prstGeom>
          <a:noFill/>
          <a:ln>
            <a:noFill/>
          </a:ln>
        </p:spPr>
        <p:txBody>
          <a:bodyPr spcFirstLastPara="1" wrap="square" lIns="0" tIns="0" rIns="0" bIns="0" anchor="t" anchorCtr="0">
            <a:normAutofit/>
          </a:bodyPr>
          <a:lstStyle>
            <a:lvl1pPr lvl="0" algn="l">
              <a:lnSpc>
                <a:spcPct val="85000"/>
              </a:lnSpc>
              <a:spcBef>
                <a:spcPts val="800"/>
              </a:spcBef>
              <a:spcAft>
                <a:spcPts val="0"/>
              </a:spcAft>
              <a:buClr>
                <a:schemeClr val="lt1"/>
              </a:buClr>
              <a:buSzPts val="2400"/>
              <a:buNone/>
              <a:defRPr sz="2398" b="0" i="0">
                <a:solidFill>
                  <a:schemeClr val="lt1"/>
                </a:solidFill>
                <a:latin typeface="Arial"/>
                <a:ea typeface="Arial"/>
                <a:cs typeface="Arial"/>
                <a:sym typeface="Arial"/>
              </a:defRPr>
            </a:lvl1pPr>
            <a:lvl2pPr lvl="1" algn="ctr">
              <a:lnSpc>
                <a:spcPct val="90000"/>
              </a:lnSpc>
              <a:spcBef>
                <a:spcPts val="500"/>
              </a:spcBef>
              <a:spcAft>
                <a:spcPts val="0"/>
              </a:spcAft>
              <a:buClr>
                <a:srgbClr val="888888"/>
              </a:buClr>
              <a:buSzPts val="2400"/>
              <a:buNone/>
              <a:defRPr>
                <a:solidFill>
                  <a:srgbClr val="888888"/>
                </a:solidFill>
              </a:defRPr>
            </a:lvl2pPr>
            <a:lvl3pPr lvl="2" algn="ctr">
              <a:lnSpc>
                <a:spcPct val="90000"/>
              </a:lnSpc>
              <a:spcBef>
                <a:spcPts val="500"/>
              </a:spcBef>
              <a:spcAft>
                <a:spcPts val="0"/>
              </a:spcAft>
              <a:buClr>
                <a:srgbClr val="888888"/>
              </a:buClr>
              <a:buSzPts val="2000"/>
              <a:buNone/>
              <a:defRPr>
                <a:solidFill>
                  <a:srgbClr val="888888"/>
                </a:solidFill>
              </a:defRPr>
            </a:lvl3pPr>
            <a:lvl4pPr lvl="3" algn="ctr">
              <a:lnSpc>
                <a:spcPct val="90000"/>
              </a:lnSpc>
              <a:spcBef>
                <a:spcPts val="500"/>
              </a:spcBef>
              <a:spcAft>
                <a:spcPts val="0"/>
              </a:spcAft>
              <a:buClr>
                <a:srgbClr val="888888"/>
              </a:buClr>
              <a:buSzPts val="1800"/>
              <a:buNone/>
              <a:defRPr>
                <a:solidFill>
                  <a:srgbClr val="888888"/>
                </a:solidFill>
              </a:defRPr>
            </a:lvl4pPr>
            <a:lvl5pPr lvl="4" algn="ctr">
              <a:lnSpc>
                <a:spcPct val="90000"/>
              </a:lnSpc>
              <a:spcBef>
                <a:spcPts val="500"/>
              </a:spcBef>
              <a:spcAft>
                <a:spcPts val="0"/>
              </a:spcAft>
              <a:buClr>
                <a:srgbClr val="888888"/>
              </a:buClr>
              <a:buSzPts val="1800"/>
              <a:buNone/>
              <a:defRPr>
                <a:solidFill>
                  <a:srgbClr val="888888"/>
                </a:solidFill>
              </a:defRPr>
            </a:lvl5pPr>
            <a:lvl6pPr lvl="5" algn="ctr">
              <a:lnSpc>
                <a:spcPct val="90000"/>
              </a:lnSpc>
              <a:spcBef>
                <a:spcPts val="500"/>
              </a:spcBef>
              <a:spcAft>
                <a:spcPts val="0"/>
              </a:spcAft>
              <a:buClr>
                <a:srgbClr val="888888"/>
              </a:buClr>
              <a:buSzPts val="1800"/>
              <a:buNone/>
              <a:defRPr>
                <a:solidFill>
                  <a:srgbClr val="888888"/>
                </a:solidFill>
              </a:defRPr>
            </a:lvl6pPr>
            <a:lvl7pPr lvl="6" algn="ctr">
              <a:lnSpc>
                <a:spcPct val="90000"/>
              </a:lnSpc>
              <a:spcBef>
                <a:spcPts val="500"/>
              </a:spcBef>
              <a:spcAft>
                <a:spcPts val="0"/>
              </a:spcAft>
              <a:buClr>
                <a:srgbClr val="888888"/>
              </a:buClr>
              <a:buSzPts val="1800"/>
              <a:buNone/>
              <a:defRPr>
                <a:solidFill>
                  <a:srgbClr val="888888"/>
                </a:solidFill>
              </a:defRPr>
            </a:lvl7pPr>
            <a:lvl8pPr lvl="7" algn="ctr">
              <a:lnSpc>
                <a:spcPct val="90000"/>
              </a:lnSpc>
              <a:spcBef>
                <a:spcPts val="500"/>
              </a:spcBef>
              <a:spcAft>
                <a:spcPts val="0"/>
              </a:spcAft>
              <a:buClr>
                <a:srgbClr val="888888"/>
              </a:buClr>
              <a:buSzPts val="1800"/>
              <a:buNone/>
              <a:defRPr>
                <a:solidFill>
                  <a:srgbClr val="888888"/>
                </a:solidFill>
              </a:defRPr>
            </a:lvl8pPr>
            <a:lvl9pPr lvl="8" algn="ctr">
              <a:lnSpc>
                <a:spcPct val="90000"/>
              </a:lnSpc>
              <a:spcBef>
                <a:spcPts val="500"/>
              </a:spcBef>
              <a:spcAft>
                <a:spcPts val="0"/>
              </a:spcAft>
              <a:buClr>
                <a:srgbClr val="888888"/>
              </a:buClr>
              <a:buSzPts val="1800"/>
              <a:buNone/>
              <a:defRPr>
                <a:solidFill>
                  <a:srgbClr val="888888"/>
                </a:solidFill>
              </a:defRPr>
            </a:lvl9pPr>
          </a:lstStyle>
          <a:p>
            <a:endParaRPr/>
          </a:p>
        </p:txBody>
      </p:sp>
      <p:pic>
        <p:nvPicPr>
          <p:cNvPr id="15" name="Google Shape;15;p11"/>
          <p:cNvPicPr preferRelativeResize="0"/>
          <p:nvPr/>
        </p:nvPicPr>
        <p:blipFill rotWithShape="1">
          <a:blip r:embed="rId3">
            <a:alphaModFix/>
          </a:blip>
          <a:srcRect/>
          <a:stretch/>
        </p:blipFill>
        <p:spPr>
          <a:xfrm>
            <a:off x="352426" y="340767"/>
            <a:ext cx="3509053" cy="573637"/>
          </a:xfrm>
          <a:prstGeom prst="rect">
            <a:avLst/>
          </a:prstGeom>
          <a:noFill/>
          <a:ln>
            <a:noFill/>
          </a:ln>
        </p:spPr>
      </p:pic>
    </p:spTree>
    <p:extLst>
      <p:ext uri="{BB962C8B-B14F-4D97-AF65-F5344CB8AC3E}">
        <p14:creationId xmlns:p14="http://schemas.microsoft.com/office/powerpoint/2010/main" val="285190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916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1">
  <p:cSld name="1_Content 1">
    <p:spTree>
      <p:nvGrpSpPr>
        <p:cNvPr id="1" name="Shape 19"/>
        <p:cNvGrpSpPr/>
        <p:nvPr/>
      </p:nvGrpSpPr>
      <p:grpSpPr>
        <a:xfrm>
          <a:off x="0" y="0"/>
          <a:ext cx="0" cy="0"/>
          <a:chOff x="0" y="0"/>
          <a:chExt cx="0" cy="0"/>
        </a:xfrm>
      </p:grpSpPr>
      <p:sp>
        <p:nvSpPr>
          <p:cNvPr id="20" name="Google Shape;20;p61"/>
          <p:cNvSpPr txBox="1">
            <a:spLocks noGrp="1"/>
          </p:cNvSpPr>
          <p:nvPr>
            <p:ph type="body" idx="1"/>
          </p:nvPr>
        </p:nvSpPr>
        <p:spPr>
          <a:xfrm>
            <a:off x="379415" y="1322388"/>
            <a:ext cx="9144000" cy="4895400"/>
          </a:xfrm>
          <a:prstGeom prst="rect">
            <a:avLst/>
          </a:prstGeom>
          <a:noFill/>
          <a:ln>
            <a:noFill/>
          </a:ln>
        </p:spPr>
        <p:txBody>
          <a:bodyPr spcFirstLastPara="1" wrap="square" lIns="0" tIns="0" rIns="0" bIns="0" anchor="t" anchorCtr="0">
            <a:noAutofit/>
          </a:bodyPr>
          <a:lstStyle>
            <a:lvl1pPr marL="457063" lvl="0" indent="-228531" algn="l">
              <a:lnSpc>
                <a:spcPct val="100000"/>
              </a:lnSpc>
              <a:spcBef>
                <a:spcPts val="1000"/>
              </a:spcBef>
              <a:spcAft>
                <a:spcPts val="0"/>
              </a:spcAft>
              <a:buClr>
                <a:schemeClr val="dk1"/>
              </a:buClr>
              <a:buSzPts val="2000"/>
              <a:buNone/>
              <a:defRPr sz="1999"/>
            </a:lvl1pPr>
            <a:lvl2pPr marL="914126" lvl="1" indent="-355493" algn="l">
              <a:lnSpc>
                <a:spcPct val="100000"/>
              </a:lnSpc>
              <a:spcBef>
                <a:spcPts val="500"/>
              </a:spcBef>
              <a:spcAft>
                <a:spcPts val="0"/>
              </a:spcAft>
              <a:buClr>
                <a:schemeClr val="accent1"/>
              </a:buClr>
              <a:buSzPts val="2000"/>
              <a:buChar char="•"/>
              <a:defRPr sz="1999"/>
            </a:lvl2pPr>
            <a:lvl3pPr marL="1371189" lvl="2" indent="-355493" algn="l">
              <a:lnSpc>
                <a:spcPct val="100000"/>
              </a:lnSpc>
              <a:spcBef>
                <a:spcPts val="300"/>
              </a:spcBef>
              <a:spcAft>
                <a:spcPts val="0"/>
              </a:spcAft>
              <a:buClr>
                <a:schemeClr val="accent1"/>
              </a:buClr>
              <a:buSzPts val="2000"/>
              <a:buChar char="-"/>
              <a:defRPr sz="1999"/>
            </a:lvl3pPr>
            <a:lvl4pPr marL="1828251" lvl="3" indent="-355493" algn="l">
              <a:lnSpc>
                <a:spcPct val="100000"/>
              </a:lnSpc>
              <a:spcBef>
                <a:spcPts val="200"/>
              </a:spcBef>
              <a:spcAft>
                <a:spcPts val="0"/>
              </a:spcAft>
              <a:buClr>
                <a:schemeClr val="accent1"/>
              </a:buClr>
              <a:buSzPts val="2000"/>
              <a:buChar char="•"/>
              <a:defRPr sz="1999"/>
            </a:lvl4pPr>
            <a:lvl5pPr marL="2285314" lvl="4" indent="-355493" algn="l">
              <a:lnSpc>
                <a:spcPct val="100000"/>
              </a:lnSpc>
              <a:spcBef>
                <a:spcPts val="100"/>
              </a:spcBef>
              <a:spcAft>
                <a:spcPts val="0"/>
              </a:spcAft>
              <a:buClr>
                <a:schemeClr val="accent1"/>
              </a:buClr>
              <a:buSzPts val="2000"/>
              <a:buChar char="-"/>
              <a:defRPr sz="1999"/>
            </a:lvl5pPr>
            <a:lvl6pPr marL="2742377" lvl="5" indent="-342797" algn="l">
              <a:lnSpc>
                <a:spcPct val="100000"/>
              </a:lnSpc>
              <a:spcBef>
                <a:spcPts val="360"/>
              </a:spcBef>
              <a:spcAft>
                <a:spcPts val="0"/>
              </a:spcAft>
              <a:buClr>
                <a:schemeClr val="dk1"/>
              </a:buClr>
              <a:buSzPts val="1800"/>
              <a:buChar char="•"/>
              <a:defRPr/>
            </a:lvl6pPr>
            <a:lvl7pPr marL="3199440" lvl="6" indent="-342797" algn="l">
              <a:lnSpc>
                <a:spcPct val="100000"/>
              </a:lnSpc>
              <a:spcBef>
                <a:spcPts val="360"/>
              </a:spcBef>
              <a:spcAft>
                <a:spcPts val="0"/>
              </a:spcAft>
              <a:buClr>
                <a:schemeClr val="dk1"/>
              </a:buClr>
              <a:buSzPts val="1800"/>
              <a:buChar char="•"/>
              <a:defRPr/>
            </a:lvl7pPr>
            <a:lvl8pPr marL="3656503" lvl="7" indent="-342797" algn="l">
              <a:lnSpc>
                <a:spcPct val="100000"/>
              </a:lnSpc>
              <a:spcBef>
                <a:spcPts val="360"/>
              </a:spcBef>
              <a:spcAft>
                <a:spcPts val="0"/>
              </a:spcAft>
              <a:buClr>
                <a:schemeClr val="dk1"/>
              </a:buClr>
              <a:buSzPts val="1800"/>
              <a:buChar char="•"/>
              <a:defRPr/>
            </a:lvl8pPr>
            <a:lvl9pPr marL="4113566" lvl="8" indent="-342797" algn="l">
              <a:lnSpc>
                <a:spcPct val="100000"/>
              </a:lnSpc>
              <a:spcBef>
                <a:spcPts val="360"/>
              </a:spcBef>
              <a:spcAft>
                <a:spcPts val="0"/>
              </a:spcAft>
              <a:buClr>
                <a:schemeClr val="dk1"/>
              </a:buClr>
              <a:buSzPts val="1800"/>
              <a:buChar char="•"/>
              <a:defRPr/>
            </a:lvl9pPr>
          </a:lstStyle>
          <a:p>
            <a:endParaRPr/>
          </a:p>
        </p:txBody>
      </p:sp>
      <p:sp>
        <p:nvSpPr>
          <p:cNvPr id="21" name="Google Shape;21;p61"/>
          <p:cNvSpPr txBox="1">
            <a:spLocks noGrp="1"/>
          </p:cNvSpPr>
          <p:nvPr>
            <p:ph type="title"/>
          </p:nvPr>
        </p:nvSpPr>
        <p:spPr>
          <a:xfrm>
            <a:off x="381002" y="365125"/>
            <a:ext cx="7549800" cy="6825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41205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0710D8E9-B810-4F5E-A418-1142E256CA62}"/>
              </a:ext>
            </a:extLst>
          </p:cNvPr>
          <p:cNvPicPr>
            <a:picLocks noChangeAspect="1"/>
          </p:cNvPicPr>
          <p:nvPr userDrawn="1"/>
        </p:nvPicPr>
        <p:blipFill>
          <a:blip r:embed="rId2"/>
          <a:stretch>
            <a:fillRect/>
          </a:stretch>
        </p:blipFill>
        <p:spPr>
          <a:xfrm>
            <a:off x="0" y="1786"/>
            <a:ext cx="12188825" cy="6856214"/>
          </a:xfrm>
          <a:prstGeom prst="rect">
            <a:avLst/>
          </a:prstGeom>
        </p:spPr>
      </p:pic>
      <p:pic>
        <p:nvPicPr>
          <p:cNvPr id="23" name="Picture 22">
            <a:extLst>
              <a:ext uri="{FF2B5EF4-FFF2-40B4-BE49-F238E27FC236}">
                <a16:creationId xmlns:a16="http://schemas.microsoft.com/office/drawing/2014/main" id="{E4F6A9A7-F3E9-4052-8843-217113887389}"/>
              </a:ext>
            </a:extLst>
          </p:cNvPr>
          <p:cNvPicPr>
            <a:picLocks noChangeAspect="1"/>
          </p:cNvPicPr>
          <p:nvPr userDrawn="1"/>
        </p:nvPicPr>
        <p:blipFill rotWithShape="1">
          <a:blip r:embed="rId3"/>
          <a:srcRect l="51491"/>
          <a:stretch/>
        </p:blipFill>
        <p:spPr>
          <a:xfrm>
            <a:off x="6276109" y="893"/>
            <a:ext cx="5912716" cy="6856214"/>
          </a:xfrm>
          <a:prstGeom prst="rect">
            <a:avLst/>
          </a:prstGeom>
        </p:spPr>
      </p:pic>
      <p:sp>
        <p:nvSpPr>
          <p:cNvPr id="24" name="Subtitle 2">
            <a:extLst>
              <a:ext uri="{FF2B5EF4-FFF2-40B4-BE49-F238E27FC236}">
                <a16:creationId xmlns:a16="http://schemas.microsoft.com/office/drawing/2014/main" id="{564AB314-93F2-43E0-A0B9-4B9C23FDEC81}"/>
              </a:ext>
            </a:extLst>
          </p:cNvPr>
          <p:cNvSpPr>
            <a:spLocks noGrp="1"/>
          </p:cNvSpPr>
          <p:nvPr>
            <p:ph type="subTitle" idx="1" hasCustomPrompt="1"/>
          </p:nvPr>
        </p:nvSpPr>
        <p:spPr>
          <a:xfrm>
            <a:off x="382971" y="4037454"/>
            <a:ext cx="7648381" cy="1510886"/>
          </a:xfrm>
        </p:spPr>
        <p:txBody>
          <a:bodyPr lIns="0" tIns="0" rIns="0" bIns="0" anchor="t" anchorCtr="0">
            <a:noAutofit/>
          </a:bodyPr>
          <a:lstStyle>
            <a:lvl1pPr marL="0" indent="0" algn="l">
              <a:lnSpc>
                <a:spcPct val="100000"/>
              </a:lnSpc>
              <a:spcBef>
                <a:spcPts val="0"/>
              </a:spcBef>
              <a:buNone/>
              <a:defRPr sz="4400" b="1" i="0" spc="-1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a:t>
            </a:r>
            <a:br>
              <a:rPr lang="en-US"/>
            </a:br>
            <a:r>
              <a:rPr lang="en-US"/>
              <a:t>subtitle style</a:t>
            </a:r>
          </a:p>
        </p:txBody>
      </p:sp>
      <p:sp>
        <p:nvSpPr>
          <p:cNvPr id="25" name="Text Placeholder 4">
            <a:extLst>
              <a:ext uri="{FF2B5EF4-FFF2-40B4-BE49-F238E27FC236}">
                <a16:creationId xmlns:a16="http://schemas.microsoft.com/office/drawing/2014/main" id="{49F25EDD-E3AA-4402-A5FF-DA73BA46A9AF}"/>
              </a:ext>
            </a:extLst>
          </p:cNvPr>
          <p:cNvSpPr>
            <a:spLocks noGrp="1"/>
          </p:cNvSpPr>
          <p:nvPr>
            <p:ph type="body" sz="quarter" idx="12" hasCustomPrompt="1"/>
          </p:nvPr>
        </p:nvSpPr>
        <p:spPr>
          <a:xfrm>
            <a:off x="386020" y="3356984"/>
            <a:ext cx="7648381" cy="510040"/>
          </a:xfrm>
        </p:spPr>
        <p:txBody>
          <a:bodyPr anchor="ctr" anchorCtr="0"/>
          <a:lstStyle>
            <a:lvl1pPr>
              <a:defRPr sz="4400" b="1" spc="-100" baseline="0">
                <a:solidFill>
                  <a:schemeClr val="bg1"/>
                </a:solidFill>
                <a:latin typeface="+mj-lt"/>
              </a:defRPr>
            </a:lvl1pPr>
            <a:lvl2pPr marL="0" indent="0">
              <a:buNone/>
              <a:defRPr/>
            </a:lvl2pPr>
          </a:lstStyle>
          <a:p>
            <a:pPr lvl="0"/>
            <a:r>
              <a:rPr lang="en-US"/>
              <a:t>Insert Section #</a:t>
            </a:r>
          </a:p>
        </p:txBody>
      </p:sp>
      <p:sp>
        <p:nvSpPr>
          <p:cNvPr id="26" name="Title 1">
            <a:extLst>
              <a:ext uri="{FF2B5EF4-FFF2-40B4-BE49-F238E27FC236}">
                <a16:creationId xmlns:a16="http://schemas.microsoft.com/office/drawing/2014/main" id="{DFDB1E18-69DE-4612-B179-A58C745F7F53}"/>
              </a:ext>
            </a:extLst>
          </p:cNvPr>
          <p:cNvSpPr>
            <a:spLocks noGrp="1"/>
          </p:cNvSpPr>
          <p:nvPr>
            <p:ph type="ctrTitle" hasCustomPrompt="1"/>
          </p:nvPr>
        </p:nvSpPr>
        <p:spPr>
          <a:xfrm>
            <a:off x="382971" y="1856600"/>
            <a:ext cx="7657943" cy="1329953"/>
          </a:xfrm>
          <a:prstGeom prst="rect">
            <a:avLst/>
          </a:prstGeom>
        </p:spPr>
        <p:txBody>
          <a:bodyPr lIns="0" tIns="0" rIns="0" bIns="0" anchor="b" anchorCtr="0">
            <a:noAutofit/>
          </a:bodyPr>
          <a:lstStyle>
            <a:lvl1pPr algn="l">
              <a:lnSpc>
                <a:spcPct val="100000"/>
              </a:lnSpc>
              <a:defRPr sz="4400" b="1" i="0" spc="-100">
                <a:solidFill>
                  <a:schemeClr val="bg1"/>
                </a:solidFill>
                <a:latin typeface="Arial"/>
                <a:cs typeface="Arial"/>
              </a:defRPr>
            </a:lvl1pPr>
          </a:lstStyle>
          <a:p>
            <a:r>
              <a:rPr lang="en-US"/>
              <a:t>Click to edit </a:t>
            </a:r>
            <a:br>
              <a:rPr lang="en-US"/>
            </a:br>
            <a:r>
              <a:rPr lang="en-US"/>
              <a:t>Master title style</a:t>
            </a:r>
          </a:p>
        </p:txBody>
      </p:sp>
      <p:sp>
        <p:nvSpPr>
          <p:cNvPr id="2" name="Rectangle 1">
            <a:extLst>
              <a:ext uri="{FF2B5EF4-FFF2-40B4-BE49-F238E27FC236}">
                <a16:creationId xmlns:a16="http://schemas.microsoft.com/office/drawing/2014/main" id="{ACBCFC1B-5962-4186-979F-46A0C5E7BED2}"/>
              </a:ext>
            </a:extLst>
          </p:cNvPr>
          <p:cNvSpPr/>
          <p:nvPr userDrawn="1"/>
        </p:nvSpPr>
        <p:spPr>
          <a:xfrm>
            <a:off x="10382250" y="219075"/>
            <a:ext cx="1427163" cy="962025"/>
          </a:xfrm>
          <a:prstGeom prst="rect">
            <a:avLst/>
          </a:prstGeom>
          <a:solidFill>
            <a:srgbClr val="FEBB2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PH" sz="1400" b="0" i="0" err="1">
              <a:latin typeface="Arial"/>
              <a:cs typeface="Arial"/>
            </a:endParaRPr>
          </a:p>
        </p:txBody>
      </p:sp>
      <p:pic>
        <p:nvPicPr>
          <p:cNvPr id="10" name="Graphic 9">
            <a:extLst>
              <a:ext uri="{FF2B5EF4-FFF2-40B4-BE49-F238E27FC236}">
                <a16:creationId xmlns:a16="http://schemas.microsoft.com/office/drawing/2014/main" id="{40E7C180-B66E-44CF-B847-B75A0D77AD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2424" y="340763"/>
            <a:ext cx="3509053" cy="573637"/>
          </a:xfrm>
          <a:prstGeom prst="rect">
            <a:avLst/>
          </a:prstGeom>
        </p:spPr>
      </p:pic>
    </p:spTree>
    <p:extLst>
      <p:ext uri="{BB962C8B-B14F-4D97-AF65-F5344CB8AC3E}">
        <p14:creationId xmlns:p14="http://schemas.microsoft.com/office/powerpoint/2010/main" val="5305079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22D0FC-0C80-4082-A6E6-4D5E0693AD62}"/>
              </a:ext>
            </a:extLst>
          </p:cNvPr>
          <p:cNvSpPr>
            <a:spLocks noGrp="1"/>
          </p:cNvSpPr>
          <p:nvPr>
            <p:ph type="dt" sz="half" idx="10"/>
          </p:nvPr>
        </p:nvSpPr>
        <p:spPr/>
        <p:txBody>
          <a:bodyPr/>
          <a:lstStyle/>
          <a:p>
            <a:fld id="{66A811ED-1356-4FAA-9AF4-CEF3414F9C51}" type="datetimeFigureOut">
              <a:rPr lang="en-IN" smtClean="0"/>
              <a:t>18-04-2023</a:t>
            </a:fld>
            <a:endParaRPr lang="en-IN"/>
          </a:p>
        </p:txBody>
      </p:sp>
      <p:sp>
        <p:nvSpPr>
          <p:cNvPr id="3" name="Footer Placeholder 2">
            <a:extLst>
              <a:ext uri="{FF2B5EF4-FFF2-40B4-BE49-F238E27FC236}">
                <a16:creationId xmlns:a16="http://schemas.microsoft.com/office/drawing/2014/main" id="{1557B26A-B7B8-46B1-BFDE-D7A5B446591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EC8BB25-F179-4350-ACB4-4683A4EC900C}"/>
              </a:ext>
            </a:extLst>
          </p:cNvPr>
          <p:cNvSpPr>
            <a:spLocks noGrp="1"/>
          </p:cNvSpPr>
          <p:nvPr>
            <p:ph type="sldNum" sz="quarter" idx="12"/>
          </p:nvPr>
        </p:nvSpPr>
        <p:spPr/>
        <p:txBody>
          <a:bodyPr/>
          <a:lstStyle/>
          <a:p>
            <a:fld id="{17773ED5-9E1C-4B94-BCD0-76FE8A1D95B1}" type="slidenum">
              <a:rPr lang="en-IN" smtClean="0"/>
              <a:t>‹#›</a:t>
            </a:fld>
            <a:endParaRPr lang="en-IN"/>
          </a:p>
        </p:txBody>
      </p:sp>
    </p:spTree>
    <p:extLst>
      <p:ext uri="{BB962C8B-B14F-4D97-AF65-F5344CB8AC3E}">
        <p14:creationId xmlns:p14="http://schemas.microsoft.com/office/powerpoint/2010/main" val="2917282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Full Image + Content 2">
  <p:cSld name="2_Full Image + Content 2">
    <p:spTree>
      <p:nvGrpSpPr>
        <p:cNvPr id="1" name="Shape 106"/>
        <p:cNvGrpSpPr/>
        <p:nvPr/>
      </p:nvGrpSpPr>
      <p:grpSpPr>
        <a:xfrm>
          <a:off x="0" y="0"/>
          <a:ext cx="0" cy="0"/>
          <a:chOff x="0" y="0"/>
          <a:chExt cx="0" cy="0"/>
        </a:xfrm>
      </p:grpSpPr>
      <p:sp>
        <p:nvSpPr>
          <p:cNvPr id="107" name="Google Shape;107;p20"/>
          <p:cNvSpPr txBox="1">
            <a:spLocks noGrp="1"/>
          </p:cNvSpPr>
          <p:nvPr>
            <p:ph type="body" idx="1"/>
          </p:nvPr>
        </p:nvSpPr>
        <p:spPr>
          <a:xfrm>
            <a:off x="381002" y="865637"/>
            <a:ext cx="3470700" cy="1329600"/>
          </a:xfrm>
          <a:prstGeom prst="rect">
            <a:avLst/>
          </a:prstGeom>
          <a:noFill/>
          <a:ln>
            <a:noFill/>
          </a:ln>
        </p:spPr>
        <p:txBody>
          <a:bodyPr spcFirstLastPara="1" wrap="square" lIns="0" tIns="0" rIns="0" bIns="0" anchor="b" anchorCtr="0">
            <a:noAutofit/>
          </a:bodyPr>
          <a:lstStyle>
            <a:lvl1pPr marL="457063" lvl="0" indent="-228531" algn="l">
              <a:lnSpc>
                <a:spcPct val="90000"/>
              </a:lnSpc>
              <a:spcBef>
                <a:spcPts val="500"/>
              </a:spcBef>
              <a:spcAft>
                <a:spcPts val="0"/>
              </a:spcAft>
              <a:buClr>
                <a:schemeClr val="dk1"/>
              </a:buClr>
              <a:buSzPts val="2800"/>
              <a:buNone/>
              <a:defRPr sz="2799" b="1"/>
            </a:lvl1pPr>
            <a:lvl2pPr marL="914126" lvl="1" indent="-323753" algn="l">
              <a:lnSpc>
                <a:spcPct val="100000"/>
              </a:lnSpc>
              <a:spcBef>
                <a:spcPts val="0"/>
              </a:spcBef>
              <a:spcAft>
                <a:spcPts val="0"/>
              </a:spcAft>
              <a:buSzPts val="1500"/>
              <a:buChar char="•"/>
              <a:defRPr sz="1500" b="0"/>
            </a:lvl2pPr>
            <a:lvl3pPr marL="1371189" lvl="2" indent="-323753" algn="l">
              <a:lnSpc>
                <a:spcPct val="100000"/>
              </a:lnSpc>
              <a:spcBef>
                <a:spcPts val="0"/>
              </a:spcBef>
              <a:spcAft>
                <a:spcPts val="0"/>
              </a:spcAft>
              <a:buSzPts val="1500"/>
              <a:buChar char="-"/>
              <a:defRPr sz="1500" b="0"/>
            </a:lvl3pPr>
            <a:lvl4pPr marL="1828251" lvl="3" indent="-323753" algn="l">
              <a:lnSpc>
                <a:spcPct val="100000"/>
              </a:lnSpc>
              <a:spcBef>
                <a:spcPts val="0"/>
              </a:spcBef>
              <a:spcAft>
                <a:spcPts val="0"/>
              </a:spcAft>
              <a:buSzPts val="1500"/>
              <a:buChar char="•"/>
              <a:defRPr sz="1500" b="0"/>
            </a:lvl4pPr>
            <a:lvl5pPr marL="2285314" lvl="4" indent="-323753" algn="l">
              <a:lnSpc>
                <a:spcPct val="100000"/>
              </a:lnSpc>
              <a:spcBef>
                <a:spcPts val="0"/>
              </a:spcBef>
              <a:spcAft>
                <a:spcPts val="0"/>
              </a:spcAft>
              <a:buSzPts val="1500"/>
              <a:buChar char="-"/>
              <a:defRPr sz="1500" b="0"/>
            </a:lvl5pPr>
            <a:lvl6pPr marL="2742377" lvl="5" indent="-342797" algn="l">
              <a:lnSpc>
                <a:spcPct val="100000"/>
              </a:lnSpc>
              <a:spcBef>
                <a:spcPts val="360"/>
              </a:spcBef>
              <a:spcAft>
                <a:spcPts val="0"/>
              </a:spcAft>
              <a:buClr>
                <a:schemeClr val="dk1"/>
              </a:buClr>
              <a:buSzPts val="1800"/>
              <a:buChar char="•"/>
              <a:defRPr/>
            </a:lvl6pPr>
            <a:lvl7pPr marL="3199440" lvl="6" indent="-342797" algn="l">
              <a:lnSpc>
                <a:spcPct val="100000"/>
              </a:lnSpc>
              <a:spcBef>
                <a:spcPts val="360"/>
              </a:spcBef>
              <a:spcAft>
                <a:spcPts val="0"/>
              </a:spcAft>
              <a:buClr>
                <a:schemeClr val="dk1"/>
              </a:buClr>
              <a:buSzPts val="1800"/>
              <a:buChar char="•"/>
              <a:defRPr/>
            </a:lvl7pPr>
            <a:lvl8pPr marL="3656503" lvl="7" indent="-342797" algn="l">
              <a:lnSpc>
                <a:spcPct val="100000"/>
              </a:lnSpc>
              <a:spcBef>
                <a:spcPts val="360"/>
              </a:spcBef>
              <a:spcAft>
                <a:spcPts val="0"/>
              </a:spcAft>
              <a:buClr>
                <a:schemeClr val="dk1"/>
              </a:buClr>
              <a:buSzPts val="1800"/>
              <a:buChar char="•"/>
              <a:defRPr/>
            </a:lvl8pPr>
            <a:lvl9pPr marL="4113566" lvl="8" indent="-342797" algn="l">
              <a:lnSpc>
                <a:spcPct val="100000"/>
              </a:lnSpc>
              <a:spcBef>
                <a:spcPts val="360"/>
              </a:spcBef>
              <a:spcAft>
                <a:spcPts val="0"/>
              </a:spcAft>
              <a:buClr>
                <a:schemeClr val="dk1"/>
              </a:buClr>
              <a:buSzPts val="1800"/>
              <a:buChar char="•"/>
              <a:defRPr/>
            </a:lvl9pPr>
          </a:lstStyle>
          <a:p>
            <a:endParaRPr/>
          </a:p>
        </p:txBody>
      </p:sp>
      <p:sp>
        <p:nvSpPr>
          <p:cNvPr id="108" name="Google Shape;108;p20"/>
          <p:cNvSpPr txBox="1">
            <a:spLocks noGrp="1"/>
          </p:cNvSpPr>
          <p:nvPr>
            <p:ph type="body" idx="2"/>
          </p:nvPr>
        </p:nvSpPr>
        <p:spPr>
          <a:xfrm>
            <a:off x="381002" y="2317888"/>
            <a:ext cx="3470700" cy="2406900"/>
          </a:xfrm>
          <a:prstGeom prst="rect">
            <a:avLst/>
          </a:prstGeom>
          <a:noFill/>
          <a:ln>
            <a:noFill/>
          </a:ln>
        </p:spPr>
        <p:txBody>
          <a:bodyPr spcFirstLastPara="1" wrap="square" lIns="0" tIns="0" rIns="0" bIns="0" anchor="t" anchorCtr="0">
            <a:noAutofit/>
          </a:bodyPr>
          <a:lstStyle>
            <a:lvl1pPr marL="457063" lvl="0" indent="-228531" algn="l">
              <a:lnSpc>
                <a:spcPct val="100000"/>
              </a:lnSpc>
              <a:spcBef>
                <a:spcPts val="1000"/>
              </a:spcBef>
              <a:spcAft>
                <a:spcPts val="0"/>
              </a:spcAft>
              <a:buClr>
                <a:schemeClr val="dk1"/>
              </a:buClr>
              <a:buSzPts val="1800"/>
              <a:buNone/>
              <a:defRPr/>
            </a:lvl1pPr>
            <a:lvl2pPr marL="914126" lvl="1" indent="-342797" algn="l">
              <a:lnSpc>
                <a:spcPct val="100000"/>
              </a:lnSpc>
              <a:spcBef>
                <a:spcPts val="500"/>
              </a:spcBef>
              <a:spcAft>
                <a:spcPts val="0"/>
              </a:spcAft>
              <a:buSzPts val="1800"/>
              <a:buChar char="•"/>
              <a:defRPr/>
            </a:lvl2pPr>
            <a:lvl3pPr marL="1371189" lvl="2" indent="-342797" algn="l">
              <a:lnSpc>
                <a:spcPct val="100000"/>
              </a:lnSpc>
              <a:spcBef>
                <a:spcPts val="300"/>
              </a:spcBef>
              <a:spcAft>
                <a:spcPts val="0"/>
              </a:spcAft>
              <a:buSzPts val="1800"/>
              <a:buChar char="-"/>
              <a:defRPr/>
            </a:lvl3pPr>
            <a:lvl4pPr marL="1828251" lvl="3" indent="-342797" algn="l">
              <a:lnSpc>
                <a:spcPct val="100000"/>
              </a:lnSpc>
              <a:spcBef>
                <a:spcPts val="200"/>
              </a:spcBef>
              <a:spcAft>
                <a:spcPts val="0"/>
              </a:spcAft>
              <a:buSzPts val="1800"/>
              <a:buChar char="•"/>
              <a:defRPr/>
            </a:lvl4pPr>
            <a:lvl5pPr marL="2285314" lvl="4" indent="-342797" algn="l">
              <a:lnSpc>
                <a:spcPct val="100000"/>
              </a:lnSpc>
              <a:spcBef>
                <a:spcPts val="100"/>
              </a:spcBef>
              <a:spcAft>
                <a:spcPts val="0"/>
              </a:spcAft>
              <a:buSzPts val="1800"/>
              <a:buChar char="-"/>
              <a:defRPr/>
            </a:lvl5pPr>
            <a:lvl6pPr marL="2742377" lvl="5" indent="-342797" algn="l">
              <a:lnSpc>
                <a:spcPct val="100000"/>
              </a:lnSpc>
              <a:spcBef>
                <a:spcPts val="360"/>
              </a:spcBef>
              <a:spcAft>
                <a:spcPts val="0"/>
              </a:spcAft>
              <a:buClr>
                <a:schemeClr val="dk1"/>
              </a:buClr>
              <a:buSzPts val="1800"/>
              <a:buChar char="•"/>
              <a:defRPr/>
            </a:lvl6pPr>
            <a:lvl7pPr marL="3199440" lvl="6" indent="-342797" algn="l">
              <a:lnSpc>
                <a:spcPct val="100000"/>
              </a:lnSpc>
              <a:spcBef>
                <a:spcPts val="360"/>
              </a:spcBef>
              <a:spcAft>
                <a:spcPts val="0"/>
              </a:spcAft>
              <a:buClr>
                <a:schemeClr val="dk1"/>
              </a:buClr>
              <a:buSzPts val="1800"/>
              <a:buChar char="•"/>
              <a:defRPr/>
            </a:lvl7pPr>
            <a:lvl8pPr marL="3656503" lvl="7" indent="-342797" algn="l">
              <a:lnSpc>
                <a:spcPct val="100000"/>
              </a:lnSpc>
              <a:spcBef>
                <a:spcPts val="360"/>
              </a:spcBef>
              <a:spcAft>
                <a:spcPts val="0"/>
              </a:spcAft>
              <a:buClr>
                <a:schemeClr val="dk1"/>
              </a:buClr>
              <a:buSzPts val="1800"/>
              <a:buChar char="•"/>
              <a:defRPr/>
            </a:lvl8pPr>
            <a:lvl9pPr marL="4113566" lvl="8" indent="-342797" algn="l">
              <a:lnSpc>
                <a:spcPct val="100000"/>
              </a:lnSpc>
              <a:spcBef>
                <a:spcPts val="360"/>
              </a:spcBef>
              <a:spcAft>
                <a:spcPts val="0"/>
              </a:spcAft>
              <a:buClr>
                <a:schemeClr val="dk1"/>
              </a:buClr>
              <a:buSzPts val="1800"/>
              <a:buChar char="•"/>
              <a:defRPr/>
            </a:lvl9pPr>
          </a:lstStyle>
          <a:p>
            <a:endParaRPr/>
          </a:p>
        </p:txBody>
      </p:sp>
      <p:sp>
        <p:nvSpPr>
          <p:cNvPr id="109" name="Google Shape;109;p20"/>
          <p:cNvSpPr txBox="1">
            <a:spLocks noGrp="1"/>
          </p:cNvSpPr>
          <p:nvPr>
            <p:ph type="body" idx="3"/>
          </p:nvPr>
        </p:nvSpPr>
        <p:spPr>
          <a:xfrm>
            <a:off x="381002" y="4840048"/>
            <a:ext cx="3470700" cy="913500"/>
          </a:xfrm>
          <a:prstGeom prst="rect">
            <a:avLst/>
          </a:prstGeom>
          <a:noFill/>
          <a:ln>
            <a:noFill/>
          </a:ln>
        </p:spPr>
        <p:txBody>
          <a:bodyPr spcFirstLastPara="1" wrap="square" lIns="0" tIns="0" rIns="0" bIns="0" anchor="t" anchorCtr="0">
            <a:noAutofit/>
          </a:bodyPr>
          <a:lstStyle>
            <a:lvl1pPr marL="457063" lvl="0" indent="-228531" algn="l">
              <a:lnSpc>
                <a:spcPct val="100000"/>
              </a:lnSpc>
              <a:spcBef>
                <a:spcPts val="1000"/>
              </a:spcBef>
              <a:spcAft>
                <a:spcPts val="0"/>
              </a:spcAft>
              <a:buClr>
                <a:schemeClr val="dk1"/>
              </a:buClr>
              <a:buSzPts val="1200"/>
              <a:buNone/>
              <a:defRPr sz="1200"/>
            </a:lvl1pPr>
            <a:lvl2pPr marL="914126" lvl="1" indent="-304709" algn="l">
              <a:lnSpc>
                <a:spcPct val="100000"/>
              </a:lnSpc>
              <a:spcBef>
                <a:spcPts val="500"/>
              </a:spcBef>
              <a:spcAft>
                <a:spcPts val="0"/>
              </a:spcAft>
              <a:buSzPts val="1200"/>
              <a:buChar char="•"/>
              <a:defRPr sz="1200"/>
            </a:lvl2pPr>
            <a:lvl3pPr marL="1371189" lvl="2" indent="-304709" algn="l">
              <a:lnSpc>
                <a:spcPct val="100000"/>
              </a:lnSpc>
              <a:spcBef>
                <a:spcPts val="300"/>
              </a:spcBef>
              <a:spcAft>
                <a:spcPts val="0"/>
              </a:spcAft>
              <a:buSzPts val="1200"/>
              <a:buChar char="-"/>
              <a:defRPr sz="1200"/>
            </a:lvl3pPr>
            <a:lvl4pPr marL="1828251" lvl="3" indent="-304709" algn="l">
              <a:lnSpc>
                <a:spcPct val="100000"/>
              </a:lnSpc>
              <a:spcBef>
                <a:spcPts val="200"/>
              </a:spcBef>
              <a:spcAft>
                <a:spcPts val="0"/>
              </a:spcAft>
              <a:buSzPts val="1200"/>
              <a:buChar char="•"/>
              <a:defRPr sz="1200"/>
            </a:lvl4pPr>
            <a:lvl5pPr marL="2285314" lvl="4" indent="-304709" algn="l">
              <a:lnSpc>
                <a:spcPct val="100000"/>
              </a:lnSpc>
              <a:spcBef>
                <a:spcPts val="100"/>
              </a:spcBef>
              <a:spcAft>
                <a:spcPts val="0"/>
              </a:spcAft>
              <a:buSzPts val="1200"/>
              <a:buChar char="-"/>
              <a:defRPr sz="1200"/>
            </a:lvl5pPr>
            <a:lvl6pPr marL="2742377" lvl="5" indent="-342797" algn="l">
              <a:lnSpc>
                <a:spcPct val="100000"/>
              </a:lnSpc>
              <a:spcBef>
                <a:spcPts val="360"/>
              </a:spcBef>
              <a:spcAft>
                <a:spcPts val="0"/>
              </a:spcAft>
              <a:buClr>
                <a:schemeClr val="dk1"/>
              </a:buClr>
              <a:buSzPts val="1800"/>
              <a:buChar char="•"/>
              <a:defRPr/>
            </a:lvl6pPr>
            <a:lvl7pPr marL="3199440" lvl="6" indent="-342797" algn="l">
              <a:lnSpc>
                <a:spcPct val="100000"/>
              </a:lnSpc>
              <a:spcBef>
                <a:spcPts val="360"/>
              </a:spcBef>
              <a:spcAft>
                <a:spcPts val="0"/>
              </a:spcAft>
              <a:buClr>
                <a:schemeClr val="dk1"/>
              </a:buClr>
              <a:buSzPts val="1800"/>
              <a:buChar char="•"/>
              <a:defRPr/>
            </a:lvl7pPr>
            <a:lvl8pPr marL="3656503" lvl="7" indent="-342797" algn="l">
              <a:lnSpc>
                <a:spcPct val="100000"/>
              </a:lnSpc>
              <a:spcBef>
                <a:spcPts val="360"/>
              </a:spcBef>
              <a:spcAft>
                <a:spcPts val="0"/>
              </a:spcAft>
              <a:buClr>
                <a:schemeClr val="dk1"/>
              </a:buClr>
              <a:buSzPts val="1800"/>
              <a:buChar char="•"/>
              <a:defRPr/>
            </a:lvl8pPr>
            <a:lvl9pPr marL="4113566" lvl="8" indent="-342797"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993296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81000" y="1322388"/>
            <a:ext cx="9142413"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7" name="Title 6">
            <a:extLst>
              <a:ext uri="{FF2B5EF4-FFF2-40B4-BE49-F238E27FC236}">
                <a16:creationId xmlns:a16="http://schemas.microsoft.com/office/drawing/2014/main" id="{D76D97BA-52DD-41AA-A20A-BBBBC579AFC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05341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userDrawn="1">
            <p:ph idx="1"/>
          </p:nvPr>
        </p:nvSpPr>
        <p:spPr>
          <a:xfrm>
            <a:off x="381000" y="1322388"/>
            <a:ext cx="9142413"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43A79F4-F565-44C8-86A9-1F5AC95BDB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111393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Subhead 1">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1176337"/>
            <a:ext cx="9144002" cy="484974"/>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2">
            <a:extLst>
              <a:ext uri="{FF2B5EF4-FFF2-40B4-BE49-F238E27FC236}">
                <a16:creationId xmlns:a16="http://schemas.microsoft.com/office/drawing/2014/main" id="{D5DDCB06-3447-4A7E-9EDB-A056FBE675DE}"/>
              </a:ext>
            </a:extLst>
          </p:cNvPr>
          <p:cNvSpPr>
            <a:spLocks noGrp="1"/>
          </p:cNvSpPr>
          <p:nvPr>
            <p:ph idx="20"/>
          </p:nvPr>
        </p:nvSpPr>
        <p:spPr>
          <a:xfrm>
            <a:off x="381001" y="1781174"/>
            <a:ext cx="9144002"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41C1968-5465-4ADF-B86E-0DDB790EF7C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3950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1">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1CC5760-3DCB-4211-93DF-078C9E67AC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15301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2">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4D3A85EB-C4DA-40BF-9BD8-92ED29B2C5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66791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Content 1">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19213400-07F9-4279-85A6-3449AFE1FD8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5950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Content 2">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580AED01-E2F0-4BA1-83F0-8E9171B9053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5062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383815" y="1938570"/>
            <a:ext cx="1492609" cy="1492609"/>
          </a:xfrm>
          <a:prstGeom prst="ellipse">
            <a:avLst/>
          </a:prstGeom>
        </p:spPr>
        <p:txBody>
          <a:bodyPr anchor="ctr"/>
          <a:lstStyle>
            <a:lvl1pPr algn="ctr">
              <a:defRPr/>
            </a:lvl1pPr>
          </a:lstStyle>
          <a:p>
            <a:endParaRPr lang="en-US"/>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246001" y="1938570"/>
            <a:ext cx="1492609" cy="1492609"/>
          </a:xfrm>
          <a:prstGeom prst="ellipse">
            <a:avLst/>
          </a:prstGeom>
        </p:spPr>
        <p:txBody>
          <a:bodyPr anchor="ctr"/>
          <a:lstStyle>
            <a:lvl1pPr algn="ctr">
              <a:defRPr/>
            </a:lvl1pPr>
          </a:lstStyle>
          <a:p>
            <a:endParaRPr lang="en-US"/>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108187" y="1938570"/>
            <a:ext cx="1492609" cy="1492609"/>
          </a:xfrm>
          <a:prstGeom prst="ellipse">
            <a:avLst/>
          </a:prstGeom>
        </p:spPr>
        <p:txBody>
          <a:bodyPr anchor="ctr"/>
          <a:lstStyle>
            <a:lvl1pPr algn="ctr">
              <a:defRPr/>
            </a:lvl1pPr>
          </a:lstStyle>
          <a:p>
            <a:endParaRPr lang="en-US"/>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8970373" y="1938570"/>
            <a:ext cx="1492609" cy="1492609"/>
          </a:xfrm>
          <a:prstGeom prst="ellipse">
            <a:avLst/>
          </a:prstGeom>
        </p:spPr>
        <p:txBody>
          <a:bodyPr anchor="ctr"/>
          <a:lstStyle>
            <a:lvl1pPr algn="ctr">
              <a:defRPr/>
            </a:lvl1pPr>
          </a:lstStyle>
          <a:p>
            <a:endParaRPr lang="en-US"/>
          </a:p>
        </p:txBody>
      </p:sp>
      <p:sp>
        <p:nvSpPr>
          <p:cNvPr id="34" name="Text Placeholder 20">
            <a:extLst>
              <a:ext uri="{FF2B5EF4-FFF2-40B4-BE49-F238E27FC236}">
                <a16:creationId xmlns:a16="http://schemas.microsoft.com/office/drawing/2014/main" id="{2F8E936F-7579-4696-8A94-A6853220381C}"/>
              </a:ext>
            </a:extLst>
          </p:cNvPr>
          <p:cNvSpPr>
            <a:spLocks noGrp="1"/>
          </p:cNvSpPr>
          <p:nvPr>
            <p:ph type="body" sz="quarter" idx="30"/>
          </p:nvPr>
        </p:nvSpPr>
        <p:spPr>
          <a:xfrm>
            <a:off x="383816"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5" name="Text Placeholder 20">
            <a:extLst>
              <a:ext uri="{FF2B5EF4-FFF2-40B4-BE49-F238E27FC236}">
                <a16:creationId xmlns:a16="http://schemas.microsoft.com/office/drawing/2014/main" id="{C1331F89-1B3B-479D-9287-3BA91E7CB6E7}"/>
              </a:ext>
            </a:extLst>
          </p:cNvPr>
          <p:cNvSpPr>
            <a:spLocks noGrp="1"/>
          </p:cNvSpPr>
          <p:nvPr>
            <p:ph type="body" sz="quarter" idx="31"/>
          </p:nvPr>
        </p:nvSpPr>
        <p:spPr>
          <a:xfrm>
            <a:off x="3246002"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6" name="Text Placeholder 20">
            <a:extLst>
              <a:ext uri="{FF2B5EF4-FFF2-40B4-BE49-F238E27FC236}">
                <a16:creationId xmlns:a16="http://schemas.microsoft.com/office/drawing/2014/main" id="{B64678CA-7D27-4D1E-AC8F-F39752A64DCE}"/>
              </a:ext>
            </a:extLst>
          </p:cNvPr>
          <p:cNvSpPr>
            <a:spLocks noGrp="1"/>
          </p:cNvSpPr>
          <p:nvPr>
            <p:ph type="body" sz="quarter" idx="32"/>
          </p:nvPr>
        </p:nvSpPr>
        <p:spPr>
          <a:xfrm>
            <a:off x="6108188"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37" name="Text Placeholder 20">
            <a:extLst>
              <a:ext uri="{FF2B5EF4-FFF2-40B4-BE49-F238E27FC236}">
                <a16:creationId xmlns:a16="http://schemas.microsoft.com/office/drawing/2014/main" id="{0391E40B-31EE-41CA-8600-8FF01E5BFA43}"/>
              </a:ext>
            </a:extLst>
          </p:cNvPr>
          <p:cNvSpPr>
            <a:spLocks noGrp="1"/>
          </p:cNvSpPr>
          <p:nvPr>
            <p:ph type="body" sz="quarter" idx="33"/>
          </p:nvPr>
        </p:nvSpPr>
        <p:spPr>
          <a:xfrm>
            <a:off x="8970373" y="4269192"/>
            <a:ext cx="2560320" cy="1141008"/>
          </a:xfrm>
        </p:spPr>
        <p:txBody>
          <a:bodyPr/>
          <a:lstStyle>
            <a:lvl1pPr>
              <a:lnSpc>
                <a:spcPct val="110000"/>
              </a:lnSpc>
              <a:spcBef>
                <a:spcPts val="0"/>
              </a:spcBef>
              <a:defRPr sz="1400" baseline="0"/>
            </a:lvl1pPr>
            <a:lvl2pPr marL="112713" indent="-112713">
              <a:lnSpc>
                <a:spcPct val="110000"/>
              </a:lnSpc>
              <a:spcBef>
                <a:spcPts val="0"/>
              </a:spcBef>
              <a:buClr>
                <a:schemeClr val="accent1"/>
              </a:buClr>
              <a:defRPr sz="14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Click to edit Master text styles</a:t>
            </a:r>
          </a:p>
          <a:p>
            <a:pPr lvl="1"/>
            <a:r>
              <a:rPr lang="en-US"/>
              <a:t>Second level</a:t>
            </a:r>
          </a:p>
        </p:txBody>
      </p:sp>
      <p:sp>
        <p:nvSpPr>
          <p:cNvPr id="29" name="Text Placeholder 14">
            <a:extLst>
              <a:ext uri="{FF2B5EF4-FFF2-40B4-BE49-F238E27FC236}">
                <a16:creationId xmlns:a16="http://schemas.microsoft.com/office/drawing/2014/main" id="{6C8655DB-8B7C-4267-8D5D-56780B99AB97}"/>
              </a:ext>
            </a:extLst>
          </p:cNvPr>
          <p:cNvSpPr>
            <a:spLocks noGrp="1"/>
          </p:cNvSpPr>
          <p:nvPr>
            <p:ph type="body" sz="quarter" idx="26" hasCustomPrompt="1"/>
          </p:nvPr>
        </p:nvSpPr>
        <p:spPr>
          <a:xfrm>
            <a:off x="383816"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Text Placeholder 14">
            <a:extLst>
              <a:ext uri="{FF2B5EF4-FFF2-40B4-BE49-F238E27FC236}">
                <a16:creationId xmlns:a16="http://schemas.microsoft.com/office/drawing/2014/main" id="{5A57D5F3-2CAE-419F-BA98-87C21B53C4A8}"/>
              </a:ext>
            </a:extLst>
          </p:cNvPr>
          <p:cNvSpPr>
            <a:spLocks noGrp="1"/>
          </p:cNvSpPr>
          <p:nvPr>
            <p:ph type="body" sz="quarter" idx="27" hasCustomPrompt="1"/>
          </p:nvPr>
        </p:nvSpPr>
        <p:spPr>
          <a:xfrm>
            <a:off x="3246002"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8D1583A-C497-4C20-89FC-8355292E515C}"/>
              </a:ext>
            </a:extLst>
          </p:cNvPr>
          <p:cNvSpPr>
            <a:spLocks noGrp="1"/>
          </p:cNvSpPr>
          <p:nvPr>
            <p:ph type="body" sz="quarter" idx="28" hasCustomPrompt="1"/>
          </p:nvPr>
        </p:nvSpPr>
        <p:spPr>
          <a:xfrm>
            <a:off x="6108188"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Text Placeholder 14">
            <a:extLst>
              <a:ext uri="{FF2B5EF4-FFF2-40B4-BE49-F238E27FC236}">
                <a16:creationId xmlns:a16="http://schemas.microsoft.com/office/drawing/2014/main" id="{4AED494D-AEAE-43EA-AC43-4B3F3D9D4060}"/>
              </a:ext>
            </a:extLst>
          </p:cNvPr>
          <p:cNvSpPr>
            <a:spLocks noGrp="1"/>
          </p:cNvSpPr>
          <p:nvPr>
            <p:ph type="body" sz="quarter" idx="29" hasCustomPrompt="1"/>
          </p:nvPr>
        </p:nvSpPr>
        <p:spPr>
          <a:xfrm>
            <a:off x="8970373" y="3650732"/>
            <a:ext cx="2560320" cy="498598"/>
          </a:xfrm>
        </p:spPr>
        <p:txBody>
          <a:bodyPr tIns="0" anchor="b" anchorCtr="0">
            <a:no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Title 4">
            <a:extLst>
              <a:ext uri="{FF2B5EF4-FFF2-40B4-BE49-F238E27FC236}">
                <a16:creationId xmlns:a16="http://schemas.microsoft.com/office/drawing/2014/main" id="{84D1B9F4-9D43-4D73-AC91-928CCBCEF9B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285516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9144000" cy="4895532"/>
          </a:xfrm>
        </p:spPr>
        <p:txBody>
          <a:bodyPr numCol="2"/>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2" name="Title 1">
            <a:extLst>
              <a:ext uri="{FF2B5EF4-FFF2-40B4-BE49-F238E27FC236}">
                <a16:creationId xmlns:a16="http://schemas.microsoft.com/office/drawing/2014/main" id="{47A45263-0677-428F-8B48-EA1FEDB6B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58846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9144000" cy="3932238"/>
          </a:xfr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90543672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65127"/>
            <a:ext cx="30175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07007" y="2565127"/>
            <a:ext cx="30175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7233013" y="2565127"/>
            <a:ext cx="3017520"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endParaRPr lang="en-US"/>
          </a:p>
        </p:txBody>
      </p:sp>
      <p:sp>
        <p:nvSpPr>
          <p:cNvPr id="8" name="Title 7">
            <a:extLst>
              <a:ext uri="{FF2B5EF4-FFF2-40B4-BE49-F238E27FC236}">
                <a16:creationId xmlns:a16="http://schemas.microsoft.com/office/drawing/2014/main" id="{E771936F-325D-44D4-BFEE-81374CA479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4616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9601200" cy="4887912"/>
          </a:xfrm>
        </p:spPr>
        <p:txBody>
          <a:bodyPr anchor="ctr"/>
          <a:lstStyle>
            <a:lvl1pPr algn="ctr">
              <a:defRPr/>
            </a:lvl1pPr>
          </a:lstStyle>
          <a:p>
            <a:endParaRPr lang="en-US"/>
          </a:p>
        </p:txBody>
      </p:sp>
      <p:sp>
        <p:nvSpPr>
          <p:cNvPr id="5" name="Title 4">
            <a:extLst>
              <a:ext uri="{FF2B5EF4-FFF2-40B4-BE49-F238E27FC236}">
                <a16:creationId xmlns:a16="http://schemas.microsoft.com/office/drawing/2014/main" id="{C01CBB98-AFF1-4C4D-97D8-D98EFCDB67E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71616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Icons">
    <p:spTree>
      <p:nvGrpSpPr>
        <p:cNvPr id="1" name=""/>
        <p:cNvGrpSpPr/>
        <p:nvPr/>
      </p:nvGrpSpPr>
      <p:grpSpPr>
        <a:xfrm>
          <a:off x="0" y="0"/>
          <a:ext cx="0" cy="0"/>
          <a:chOff x="0" y="0"/>
          <a:chExt cx="0" cy="0"/>
        </a:xfrm>
      </p:grpSpPr>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3"/>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478178"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2524756"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2524756"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2524756"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2524756"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323934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3239341"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3239341"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3239341"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7526851"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7526851"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7526851"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7526851"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7526851"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7526851"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3953926"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3953926"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953926"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3953926"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953926"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953926"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466851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4668511"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4668511"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4668511"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4668511"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4668511"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8241436"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8241436"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8241436"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8241436"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8241436"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8241436"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9670606"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9670606"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9670606"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9670606"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9670606"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8956021"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8956021"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95602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8956021"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956021"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9670606"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95602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2" name="Title 1">
            <a:extLst>
              <a:ext uri="{FF2B5EF4-FFF2-40B4-BE49-F238E27FC236}">
                <a16:creationId xmlns:a16="http://schemas.microsoft.com/office/drawing/2014/main" id="{B85675F9-B2EB-421B-A4C4-8B8683D093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68924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Icons">
    <p:spTree>
      <p:nvGrpSpPr>
        <p:cNvPr id="1" name=""/>
        <p:cNvGrpSpPr/>
        <p:nvPr/>
      </p:nvGrpSpPr>
      <p:grpSpPr>
        <a:xfrm>
          <a:off x="0" y="0"/>
          <a:ext cx="0" cy="0"/>
          <a:chOff x="0" y="0"/>
          <a:chExt cx="0" cy="0"/>
        </a:xfrm>
      </p:grpSpPr>
      <p:sp>
        <p:nvSpPr>
          <p:cNvPr id="9" name="Left Bracket 8">
            <a:extLst>
              <a:ext uri="{FF2B5EF4-FFF2-40B4-BE49-F238E27FC236}">
                <a16:creationId xmlns:a16="http://schemas.microsoft.com/office/drawing/2014/main" id="{9DB06F89-EAA2-4FFE-B137-881E21A8ABBB}"/>
              </a:ext>
            </a:extLst>
          </p:cNvPr>
          <p:cNvSpPr/>
          <p:nvPr userDrawn="1"/>
        </p:nvSpPr>
        <p:spPr>
          <a:xfrm flipH="1">
            <a:off x="-7" y="1276793"/>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94" name="TextBox 93">
            <a:extLst>
              <a:ext uri="{FF2B5EF4-FFF2-40B4-BE49-F238E27FC236}">
                <a16:creationId xmlns:a16="http://schemas.microsoft.com/office/drawing/2014/main" id="{E6A5FF4F-117C-46A1-8F8D-38F0364B849F}"/>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a:solidFill>
                  <a:schemeClr val="tx1"/>
                </a:solidFill>
              </a:rPr>
              <a:t>Emoji</a:t>
            </a:r>
          </a:p>
        </p:txBody>
      </p:sp>
      <p:sp>
        <p:nvSpPr>
          <p:cNvPr id="2" name="TextBox 1">
            <a:extLst>
              <a:ext uri="{FF2B5EF4-FFF2-40B4-BE49-F238E27FC236}">
                <a16:creationId xmlns:a16="http://schemas.microsoft.com/office/drawing/2014/main" id="{899EF2EE-05B7-42BC-AF7B-39AE6F11FCD0}"/>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 alt</a:t>
            </a:r>
          </a:p>
        </p:txBody>
      </p:sp>
      <p:sp>
        <p:nvSpPr>
          <p:cNvPr id="3" name="Title 2">
            <a:extLst>
              <a:ext uri="{FF2B5EF4-FFF2-40B4-BE49-F238E27FC236}">
                <a16:creationId xmlns:a16="http://schemas.microsoft.com/office/drawing/2014/main" id="{3ACB1E86-CCD1-4632-B380-A59BDFD10F0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81994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Icons 2">
    <p:spTree>
      <p:nvGrpSpPr>
        <p:cNvPr id="1" name=""/>
        <p:cNvGrpSpPr/>
        <p:nvPr/>
      </p:nvGrpSpPr>
      <p:grpSpPr>
        <a:xfrm>
          <a:off x="0" y="0"/>
          <a:ext cx="0" cy="0"/>
          <a:chOff x="0" y="0"/>
          <a:chExt cx="0" cy="0"/>
        </a:xfrm>
      </p:grpSpPr>
      <p:sp>
        <p:nvSpPr>
          <p:cNvPr id="481" name="TextBox 480">
            <a:extLst>
              <a:ext uri="{FF2B5EF4-FFF2-40B4-BE49-F238E27FC236}">
                <a16:creationId xmlns:a16="http://schemas.microsoft.com/office/drawing/2014/main" id="{AC615E34-413E-4787-A19A-23E64973C9DA}"/>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t>RPA </a:t>
            </a:r>
          </a:p>
          <a:p>
            <a:pPr algn="ctr"/>
            <a:r>
              <a:rPr lang="en-US" sz="800"/>
              <a:t>champion</a:t>
            </a:r>
          </a:p>
        </p:txBody>
      </p:sp>
      <p:sp>
        <p:nvSpPr>
          <p:cNvPr id="483" name="TextBox 482">
            <a:extLst>
              <a:ext uri="{FF2B5EF4-FFF2-40B4-BE49-F238E27FC236}">
                <a16:creationId xmlns:a16="http://schemas.microsoft.com/office/drawing/2014/main" id="{43695054-C61D-4048-97DD-B4874916B2D7}"/>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t>Question and answer</a:t>
            </a:r>
          </a:p>
        </p:txBody>
      </p:sp>
      <p:sp>
        <p:nvSpPr>
          <p:cNvPr id="485" name="TextBox 484">
            <a:extLst>
              <a:ext uri="{FF2B5EF4-FFF2-40B4-BE49-F238E27FC236}">
                <a16:creationId xmlns:a16="http://schemas.microsoft.com/office/drawing/2014/main" id="{A6C906EC-3BF3-41F8-AD3E-DB9F94B5786C}"/>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t>Question and answer 2</a:t>
            </a:r>
          </a:p>
        </p:txBody>
      </p:sp>
      <p:sp>
        <p:nvSpPr>
          <p:cNvPr id="487" name="TextBox 486">
            <a:extLst>
              <a:ext uri="{FF2B5EF4-FFF2-40B4-BE49-F238E27FC236}">
                <a16:creationId xmlns:a16="http://schemas.microsoft.com/office/drawing/2014/main" id="{3739D30C-787B-4908-A5B6-482630A007D6}"/>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t>Ramp up</a:t>
            </a:r>
          </a:p>
        </p:txBody>
      </p:sp>
      <p:sp>
        <p:nvSpPr>
          <p:cNvPr id="489" name="TextBox 488">
            <a:extLst>
              <a:ext uri="{FF2B5EF4-FFF2-40B4-BE49-F238E27FC236}">
                <a16:creationId xmlns:a16="http://schemas.microsoft.com/office/drawing/2014/main" id="{05B1DE10-9695-4971-80F4-C71CC18892E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t>Ramp up alt</a:t>
            </a:r>
          </a:p>
        </p:txBody>
      </p:sp>
      <p:sp>
        <p:nvSpPr>
          <p:cNvPr id="491" name="TextBox 490">
            <a:extLst>
              <a:ext uri="{FF2B5EF4-FFF2-40B4-BE49-F238E27FC236}">
                <a16:creationId xmlns:a16="http://schemas.microsoft.com/office/drawing/2014/main" id="{1BC2EBBC-D131-4C9B-822F-859BF0D3E11D}"/>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t>Read guidelines</a:t>
            </a:r>
          </a:p>
        </p:txBody>
      </p:sp>
      <p:sp>
        <p:nvSpPr>
          <p:cNvPr id="493" name="TextBox 492">
            <a:extLst>
              <a:ext uri="{FF2B5EF4-FFF2-40B4-BE49-F238E27FC236}">
                <a16:creationId xmlns:a16="http://schemas.microsoft.com/office/drawing/2014/main" id="{EA3E2C6B-DE78-432C-BD6D-E20DD4D4E556}"/>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t>Reply</a:t>
            </a:r>
          </a:p>
        </p:txBody>
      </p:sp>
      <p:sp>
        <p:nvSpPr>
          <p:cNvPr id="495" name="TextBox 494">
            <a:extLst>
              <a:ext uri="{FF2B5EF4-FFF2-40B4-BE49-F238E27FC236}">
                <a16:creationId xmlns:a16="http://schemas.microsoft.com/office/drawing/2014/main" id="{9C1BD8A4-FE5D-4806-BADE-1CFC67DA8B6C}"/>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t>Resource</a:t>
            </a:r>
          </a:p>
        </p:txBody>
      </p:sp>
      <p:sp>
        <p:nvSpPr>
          <p:cNvPr id="497" name="TextBox 496">
            <a:extLst>
              <a:ext uri="{FF2B5EF4-FFF2-40B4-BE49-F238E27FC236}">
                <a16:creationId xmlns:a16="http://schemas.microsoft.com/office/drawing/2014/main" id="{62A521C1-1AC2-444D-9353-DA2BF0D0E971}"/>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t>Redesign</a:t>
            </a:r>
          </a:p>
        </p:txBody>
      </p:sp>
      <p:sp>
        <p:nvSpPr>
          <p:cNvPr id="499" name="TextBox 498">
            <a:extLst>
              <a:ext uri="{FF2B5EF4-FFF2-40B4-BE49-F238E27FC236}">
                <a16:creationId xmlns:a16="http://schemas.microsoft.com/office/drawing/2014/main" id="{1B59161D-EF39-475E-8160-23C3BD4D0A6F}"/>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t>Redesign alt</a:t>
            </a:r>
          </a:p>
        </p:txBody>
      </p:sp>
      <p:sp>
        <p:nvSpPr>
          <p:cNvPr id="501" name="TextBox 500">
            <a:extLst>
              <a:ext uri="{FF2B5EF4-FFF2-40B4-BE49-F238E27FC236}">
                <a16:creationId xmlns:a16="http://schemas.microsoft.com/office/drawing/2014/main" id="{4855D20C-F5A4-4CA2-B1F0-59FDFFE82FB7}"/>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t>Refresh</a:t>
            </a:r>
          </a:p>
        </p:txBody>
      </p:sp>
      <p:sp>
        <p:nvSpPr>
          <p:cNvPr id="503" name="TextBox 502">
            <a:extLst>
              <a:ext uri="{FF2B5EF4-FFF2-40B4-BE49-F238E27FC236}">
                <a16:creationId xmlns:a16="http://schemas.microsoft.com/office/drawing/2014/main" id="{EAB78544-A46D-4B34-ABA5-9AC1B92D6928}"/>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t>Refresh 2</a:t>
            </a:r>
          </a:p>
        </p:txBody>
      </p:sp>
      <p:sp>
        <p:nvSpPr>
          <p:cNvPr id="505" name="TextBox 504">
            <a:extLst>
              <a:ext uri="{FF2B5EF4-FFF2-40B4-BE49-F238E27FC236}">
                <a16:creationId xmlns:a16="http://schemas.microsoft.com/office/drawing/2014/main" id="{23908CC5-377C-4D4E-97C1-93221C641C3F}"/>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t>Remove</a:t>
            </a:r>
          </a:p>
        </p:txBody>
      </p:sp>
      <p:sp>
        <p:nvSpPr>
          <p:cNvPr id="507" name="TextBox 506">
            <a:extLst>
              <a:ext uri="{FF2B5EF4-FFF2-40B4-BE49-F238E27FC236}">
                <a16:creationId xmlns:a16="http://schemas.microsoft.com/office/drawing/2014/main" id="{4AA6AC7A-EE57-4D30-AB02-B7D06C284876}"/>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t>Remove alt</a:t>
            </a:r>
          </a:p>
        </p:txBody>
      </p:sp>
      <p:sp>
        <p:nvSpPr>
          <p:cNvPr id="509" name="TextBox 508">
            <a:extLst>
              <a:ext uri="{FF2B5EF4-FFF2-40B4-BE49-F238E27FC236}">
                <a16:creationId xmlns:a16="http://schemas.microsoft.com/office/drawing/2014/main" id="{CBCB365D-6F32-4060-873F-CC51026F549A}"/>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t>RPA business analyst</a:t>
            </a:r>
          </a:p>
        </p:txBody>
      </p:sp>
      <p:sp>
        <p:nvSpPr>
          <p:cNvPr id="511" name="TextBox 510">
            <a:extLst>
              <a:ext uri="{FF2B5EF4-FFF2-40B4-BE49-F238E27FC236}">
                <a16:creationId xmlns:a16="http://schemas.microsoft.com/office/drawing/2014/main" id="{B27BD45D-A29D-4C35-943D-36BC46929E60}"/>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t>Reader</a:t>
            </a:r>
          </a:p>
        </p:txBody>
      </p:sp>
      <p:sp>
        <p:nvSpPr>
          <p:cNvPr id="513" name="TextBox 512">
            <a:extLst>
              <a:ext uri="{FF2B5EF4-FFF2-40B4-BE49-F238E27FC236}">
                <a16:creationId xmlns:a16="http://schemas.microsoft.com/office/drawing/2014/main" id="{55F77E08-46EE-441F-94A2-0790AB601D87}"/>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t>Solutions 2</a:t>
            </a:r>
          </a:p>
        </p:txBody>
      </p:sp>
      <p:sp>
        <p:nvSpPr>
          <p:cNvPr id="515" name="TextBox 514">
            <a:extLst>
              <a:ext uri="{FF2B5EF4-FFF2-40B4-BE49-F238E27FC236}">
                <a16:creationId xmlns:a16="http://schemas.microsoft.com/office/drawing/2014/main" id="{FCB7DA7A-591F-45C1-82C3-D8D63866060A}"/>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t>RPA </a:t>
            </a:r>
          </a:p>
          <a:p>
            <a:pPr algn="ctr"/>
            <a:r>
              <a:rPr lang="en-US" sz="800"/>
              <a:t>developer</a:t>
            </a:r>
          </a:p>
        </p:txBody>
      </p:sp>
      <p:sp>
        <p:nvSpPr>
          <p:cNvPr id="517" name="TextBox 516">
            <a:extLst>
              <a:ext uri="{FF2B5EF4-FFF2-40B4-BE49-F238E27FC236}">
                <a16:creationId xmlns:a16="http://schemas.microsoft.com/office/drawing/2014/main" id="{455D9B53-7960-4EB1-80A2-EAF88554FEBC}"/>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t>RPA infrastructure engineer</a:t>
            </a:r>
          </a:p>
        </p:txBody>
      </p:sp>
      <p:sp>
        <p:nvSpPr>
          <p:cNvPr id="519" name="TextBox 518">
            <a:extLst>
              <a:ext uri="{FF2B5EF4-FFF2-40B4-BE49-F238E27FC236}">
                <a16:creationId xmlns:a16="http://schemas.microsoft.com/office/drawing/2014/main" id="{B9066059-AD8D-4A14-8FEB-1158D84E217C}"/>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t>RPA service support</a:t>
            </a:r>
          </a:p>
        </p:txBody>
      </p:sp>
      <p:sp>
        <p:nvSpPr>
          <p:cNvPr id="521" name="TextBox 520">
            <a:extLst>
              <a:ext uri="{FF2B5EF4-FFF2-40B4-BE49-F238E27FC236}">
                <a16:creationId xmlns:a16="http://schemas.microsoft.com/office/drawing/2014/main" id="{67B61ACC-574C-49AD-947F-DB134A0CAFD7}"/>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t>RPA solution architect</a:t>
            </a:r>
          </a:p>
        </p:txBody>
      </p:sp>
      <p:sp>
        <p:nvSpPr>
          <p:cNvPr id="523" name="TextBox 522">
            <a:extLst>
              <a:ext uri="{FF2B5EF4-FFF2-40B4-BE49-F238E27FC236}">
                <a16:creationId xmlns:a16="http://schemas.microsoft.com/office/drawing/2014/main" id="{FEA6A46D-381F-4D58-8A2C-8F116B6F3618}"/>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t>Satellite</a:t>
            </a:r>
          </a:p>
        </p:txBody>
      </p:sp>
      <p:sp>
        <p:nvSpPr>
          <p:cNvPr id="525" name="TextBox 524">
            <a:extLst>
              <a:ext uri="{FF2B5EF4-FFF2-40B4-BE49-F238E27FC236}">
                <a16:creationId xmlns:a16="http://schemas.microsoft.com/office/drawing/2014/main" id="{6B3D1753-5E98-4036-89D2-A3A6ED41A061}"/>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t>Share alt</a:t>
            </a:r>
          </a:p>
        </p:txBody>
      </p:sp>
      <p:sp>
        <p:nvSpPr>
          <p:cNvPr id="527" name="TextBox 526">
            <a:extLst>
              <a:ext uri="{FF2B5EF4-FFF2-40B4-BE49-F238E27FC236}">
                <a16:creationId xmlns:a16="http://schemas.microsoft.com/office/drawing/2014/main" id="{1DA7C23D-BE51-49E8-BB62-C8DACEE344EA}"/>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t>Slideshow</a:t>
            </a:r>
          </a:p>
        </p:txBody>
      </p:sp>
      <p:sp>
        <p:nvSpPr>
          <p:cNvPr id="529" name="TextBox 528">
            <a:extLst>
              <a:ext uri="{FF2B5EF4-FFF2-40B4-BE49-F238E27FC236}">
                <a16:creationId xmlns:a16="http://schemas.microsoft.com/office/drawing/2014/main" id="{4C971421-FEBD-480A-8841-267C78DDB260}"/>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t>Seamless integration</a:t>
            </a:r>
          </a:p>
        </p:txBody>
      </p:sp>
      <p:sp>
        <p:nvSpPr>
          <p:cNvPr id="531" name="TextBox 530">
            <a:extLst>
              <a:ext uri="{FF2B5EF4-FFF2-40B4-BE49-F238E27FC236}">
                <a16:creationId xmlns:a16="http://schemas.microsoft.com/office/drawing/2014/main" id="{CF556A5D-A514-4456-B6EF-8A51C2301454}"/>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t>Seamless integration alt</a:t>
            </a:r>
          </a:p>
        </p:txBody>
      </p:sp>
      <p:sp>
        <p:nvSpPr>
          <p:cNvPr id="533" name="TextBox 532">
            <a:extLst>
              <a:ext uri="{FF2B5EF4-FFF2-40B4-BE49-F238E27FC236}">
                <a16:creationId xmlns:a16="http://schemas.microsoft.com/office/drawing/2014/main" id="{212C814A-D0C6-45DA-96B0-187D50BD6654}"/>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t>Search</a:t>
            </a:r>
          </a:p>
        </p:txBody>
      </p:sp>
      <p:sp>
        <p:nvSpPr>
          <p:cNvPr id="535" name="TextBox 534">
            <a:extLst>
              <a:ext uri="{FF2B5EF4-FFF2-40B4-BE49-F238E27FC236}">
                <a16:creationId xmlns:a16="http://schemas.microsoft.com/office/drawing/2014/main" id="{68B03B50-8107-4D3C-B55B-3DDB371058DF}"/>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t>Secure </a:t>
            </a:r>
          </a:p>
          <a:p>
            <a:pPr algn="ctr"/>
            <a:r>
              <a:rPr lang="en-US" sz="800"/>
              <a:t>team collab</a:t>
            </a:r>
          </a:p>
        </p:txBody>
      </p:sp>
      <p:sp>
        <p:nvSpPr>
          <p:cNvPr id="537" name="TextBox 536">
            <a:extLst>
              <a:ext uri="{FF2B5EF4-FFF2-40B4-BE49-F238E27FC236}">
                <a16:creationId xmlns:a16="http://schemas.microsoft.com/office/drawing/2014/main" id="{B94231C2-03F3-4F9A-9127-7B4AC054C56C}"/>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t>Security</a:t>
            </a:r>
          </a:p>
        </p:txBody>
      </p:sp>
      <p:sp>
        <p:nvSpPr>
          <p:cNvPr id="539" name="TextBox 538">
            <a:extLst>
              <a:ext uri="{FF2B5EF4-FFF2-40B4-BE49-F238E27FC236}">
                <a16:creationId xmlns:a16="http://schemas.microsoft.com/office/drawing/2014/main" id="{542C94F8-8620-4694-ACB1-C4A05F5D8DA2}"/>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t>Share</a:t>
            </a:r>
          </a:p>
        </p:txBody>
      </p:sp>
      <p:sp>
        <p:nvSpPr>
          <p:cNvPr id="541" name="TextBox 540">
            <a:extLst>
              <a:ext uri="{FF2B5EF4-FFF2-40B4-BE49-F238E27FC236}">
                <a16:creationId xmlns:a16="http://schemas.microsoft.com/office/drawing/2014/main" id="{C983CABE-CFD4-46C1-9DDD-03C53F4D4CDE}"/>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t>Solutions</a:t>
            </a:r>
          </a:p>
        </p:txBody>
      </p:sp>
      <p:sp>
        <p:nvSpPr>
          <p:cNvPr id="543" name="TextBox 542">
            <a:extLst>
              <a:ext uri="{FF2B5EF4-FFF2-40B4-BE49-F238E27FC236}">
                <a16:creationId xmlns:a16="http://schemas.microsoft.com/office/drawing/2014/main" id="{68F30A2F-A3AB-416B-9719-8DCEA9732147}"/>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t>RPA </a:t>
            </a:r>
          </a:p>
          <a:p>
            <a:pPr algn="ctr"/>
            <a:r>
              <a:rPr lang="en-US" sz="800"/>
              <a:t>sponsor</a:t>
            </a:r>
          </a:p>
        </p:txBody>
      </p:sp>
      <p:sp>
        <p:nvSpPr>
          <p:cNvPr id="545" name="TextBox 544">
            <a:extLst>
              <a:ext uri="{FF2B5EF4-FFF2-40B4-BE49-F238E27FC236}">
                <a16:creationId xmlns:a16="http://schemas.microsoft.com/office/drawing/2014/main" id="{711B58EE-9392-4A36-9B49-241CBF24E88A}"/>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t>Thank you</a:t>
            </a:r>
          </a:p>
        </p:txBody>
      </p:sp>
      <p:sp>
        <p:nvSpPr>
          <p:cNvPr id="547" name="TextBox 546">
            <a:extLst>
              <a:ext uri="{FF2B5EF4-FFF2-40B4-BE49-F238E27FC236}">
                <a16:creationId xmlns:a16="http://schemas.microsoft.com/office/drawing/2014/main" id="{8AE36D27-719B-43B8-88BB-1A9D5991A99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t>Solutions alt</a:t>
            </a:r>
          </a:p>
        </p:txBody>
      </p:sp>
      <p:sp>
        <p:nvSpPr>
          <p:cNvPr id="549" name="TextBox 548">
            <a:extLst>
              <a:ext uri="{FF2B5EF4-FFF2-40B4-BE49-F238E27FC236}">
                <a16:creationId xmlns:a16="http://schemas.microsoft.com/office/drawing/2014/main" id="{35030CE1-7789-43E6-AB25-4677D1373D9D}"/>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t>Speed</a:t>
            </a:r>
          </a:p>
        </p:txBody>
      </p:sp>
      <p:sp>
        <p:nvSpPr>
          <p:cNvPr id="551" name="TextBox 550">
            <a:extLst>
              <a:ext uri="{FF2B5EF4-FFF2-40B4-BE49-F238E27FC236}">
                <a16:creationId xmlns:a16="http://schemas.microsoft.com/office/drawing/2014/main" id="{2F58C50F-EA97-4DFD-A1F5-3E12F51975BF}"/>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t>Stopwatch</a:t>
            </a:r>
          </a:p>
        </p:txBody>
      </p:sp>
      <p:sp>
        <p:nvSpPr>
          <p:cNvPr id="553" name="TextBox 552">
            <a:extLst>
              <a:ext uri="{FF2B5EF4-FFF2-40B4-BE49-F238E27FC236}">
                <a16:creationId xmlns:a16="http://schemas.microsoft.com/office/drawing/2014/main" id="{8C507FDC-3BCD-40CB-92A4-799D16699137}"/>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t>Stories</a:t>
            </a:r>
          </a:p>
        </p:txBody>
      </p:sp>
      <p:sp>
        <p:nvSpPr>
          <p:cNvPr id="555" name="TextBox 554">
            <a:extLst>
              <a:ext uri="{FF2B5EF4-FFF2-40B4-BE49-F238E27FC236}">
                <a16:creationId xmlns:a16="http://schemas.microsoft.com/office/drawing/2014/main" id="{97F740A5-EE54-4D7C-A565-73508AA6A46F}"/>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t>Success</a:t>
            </a:r>
          </a:p>
        </p:txBody>
      </p:sp>
      <p:sp>
        <p:nvSpPr>
          <p:cNvPr id="557" name="TextBox 556">
            <a:extLst>
              <a:ext uri="{FF2B5EF4-FFF2-40B4-BE49-F238E27FC236}">
                <a16:creationId xmlns:a16="http://schemas.microsoft.com/office/drawing/2014/main" id="{FDA58889-B3D6-4E08-9486-31BD6674011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2</a:t>
            </a:r>
          </a:p>
        </p:txBody>
      </p:sp>
      <p:sp>
        <p:nvSpPr>
          <p:cNvPr id="559" name="TextBox 558">
            <a:extLst>
              <a:ext uri="{FF2B5EF4-FFF2-40B4-BE49-F238E27FC236}">
                <a16:creationId xmlns:a16="http://schemas.microsoft.com/office/drawing/2014/main" id="{00579812-07D5-4E4C-91EC-497DB0BD3623}"/>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3</a:t>
            </a:r>
          </a:p>
        </p:txBody>
      </p:sp>
      <p:sp>
        <p:nvSpPr>
          <p:cNvPr id="561" name="TextBox 560">
            <a:extLst>
              <a:ext uri="{FF2B5EF4-FFF2-40B4-BE49-F238E27FC236}">
                <a16:creationId xmlns:a16="http://schemas.microsoft.com/office/drawing/2014/main" id="{F7BDEFAE-2C84-4C60-BCB8-7BAFBC009BED}"/>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t>Support</a:t>
            </a:r>
          </a:p>
        </p:txBody>
      </p:sp>
      <p:sp>
        <p:nvSpPr>
          <p:cNvPr id="563" name="TextBox 562">
            <a:extLst>
              <a:ext uri="{FF2B5EF4-FFF2-40B4-BE49-F238E27FC236}">
                <a16:creationId xmlns:a16="http://schemas.microsoft.com/office/drawing/2014/main" id="{AEFDD290-47AB-4C60-9334-A111E6D4BC7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t>Survey</a:t>
            </a:r>
          </a:p>
        </p:txBody>
      </p:sp>
      <p:sp>
        <p:nvSpPr>
          <p:cNvPr id="565" name="TextBox 564">
            <a:extLst>
              <a:ext uri="{FF2B5EF4-FFF2-40B4-BE49-F238E27FC236}">
                <a16:creationId xmlns:a16="http://schemas.microsoft.com/office/drawing/2014/main" id="{95C65428-5486-4717-8C43-360B19CEC2F8}"/>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t>Tap Touch</a:t>
            </a:r>
          </a:p>
        </p:txBody>
      </p:sp>
      <p:sp>
        <p:nvSpPr>
          <p:cNvPr id="567" name="TextBox 566">
            <a:extLst>
              <a:ext uri="{FF2B5EF4-FFF2-40B4-BE49-F238E27FC236}">
                <a16:creationId xmlns:a16="http://schemas.microsoft.com/office/drawing/2014/main" id="{210A870D-6DBE-45DD-AA0D-0C16AB1E9C7B}"/>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t>Target</a:t>
            </a:r>
          </a:p>
        </p:txBody>
      </p:sp>
      <p:sp>
        <p:nvSpPr>
          <p:cNvPr id="569" name="TextBox 568">
            <a:extLst>
              <a:ext uri="{FF2B5EF4-FFF2-40B4-BE49-F238E27FC236}">
                <a16:creationId xmlns:a16="http://schemas.microsoft.com/office/drawing/2014/main" id="{30B05603-F8F4-450E-A4E4-3F9840AA0441}"/>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t>Technology</a:t>
            </a:r>
          </a:p>
        </p:txBody>
      </p:sp>
      <p:sp>
        <p:nvSpPr>
          <p:cNvPr id="571" name="TextBox 570">
            <a:extLst>
              <a:ext uri="{FF2B5EF4-FFF2-40B4-BE49-F238E27FC236}">
                <a16:creationId xmlns:a16="http://schemas.microsoft.com/office/drawing/2014/main" id="{C8AB9F1B-5680-428C-9B0F-171B9C9B5939}"/>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t>Technology </a:t>
            </a:r>
          </a:p>
          <a:p>
            <a:pPr algn="ctr"/>
            <a:r>
              <a:rPr lang="en-US" sz="800"/>
              <a:t>alt</a:t>
            </a:r>
          </a:p>
        </p:txBody>
      </p:sp>
      <p:sp>
        <p:nvSpPr>
          <p:cNvPr id="573" name="TextBox 572">
            <a:extLst>
              <a:ext uri="{FF2B5EF4-FFF2-40B4-BE49-F238E27FC236}">
                <a16:creationId xmlns:a16="http://schemas.microsoft.com/office/drawing/2014/main" id="{3C2152B5-513D-452E-A5C4-CD26DE667CC5}"/>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t>Tent</a:t>
            </a:r>
          </a:p>
        </p:txBody>
      </p:sp>
      <p:sp>
        <p:nvSpPr>
          <p:cNvPr id="575" name="TextBox 574">
            <a:extLst>
              <a:ext uri="{FF2B5EF4-FFF2-40B4-BE49-F238E27FC236}">
                <a16:creationId xmlns:a16="http://schemas.microsoft.com/office/drawing/2014/main" id="{DD75CF29-6FCB-406F-B73D-5D112306C0CD}"/>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t>Student</a:t>
            </a:r>
          </a:p>
        </p:txBody>
      </p:sp>
      <p:sp>
        <p:nvSpPr>
          <p:cNvPr id="577" name="TextBox 576">
            <a:extLst>
              <a:ext uri="{FF2B5EF4-FFF2-40B4-BE49-F238E27FC236}">
                <a16:creationId xmlns:a16="http://schemas.microsoft.com/office/drawing/2014/main" id="{BCCCB375-5529-402F-A976-26EBD937A801}"/>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t>Time saver</a:t>
            </a:r>
          </a:p>
        </p:txBody>
      </p:sp>
      <p:sp>
        <p:nvSpPr>
          <p:cNvPr id="579" name="TextBox 578">
            <a:extLst>
              <a:ext uri="{FF2B5EF4-FFF2-40B4-BE49-F238E27FC236}">
                <a16:creationId xmlns:a16="http://schemas.microsoft.com/office/drawing/2014/main" id="{037971EF-6623-479F-92A5-635805853909}"/>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t>User</a:t>
            </a:r>
          </a:p>
        </p:txBody>
      </p:sp>
      <p:sp>
        <p:nvSpPr>
          <p:cNvPr id="581" name="TextBox 580">
            <a:extLst>
              <a:ext uri="{FF2B5EF4-FFF2-40B4-BE49-F238E27FC236}">
                <a16:creationId xmlns:a16="http://schemas.microsoft.com/office/drawing/2014/main" id="{0CA80814-D6C6-4583-BD20-7F27A83D9AF3}"/>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t>User-OTM</a:t>
            </a:r>
          </a:p>
        </p:txBody>
      </p:sp>
      <p:sp>
        <p:nvSpPr>
          <p:cNvPr id="583" name="TextBox 582">
            <a:extLst>
              <a:ext uri="{FF2B5EF4-FFF2-40B4-BE49-F238E27FC236}">
                <a16:creationId xmlns:a16="http://schemas.microsoft.com/office/drawing/2014/main" id="{19DCBA5F-FABF-420D-B37C-F30FA7883E80}"/>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t>Validate</a:t>
            </a:r>
          </a:p>
        </p:txBody>
      </p:sp>
      <p:sp>
        <p:nvSpPr>
          <p:cNvPr id="585" name="TextBox 584">
            <a:extLst>
              <a:ext uri="{FF2B5EF4-FFF2-40B4-BE49-F238E27FC236}">
                <a16:creationId xmlns:a16="http://schemas.microsoft.com/office/drawing/2014/main" id="{5E533D25-90D1-471E-BBAB-20257941FA16}"/>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t>Vendor</a:t>
            </a:r>
          </a:p>
        </p:txBody>
      </p:sp>
      <p:sp>
        <p:nvSpPr>
          <p:cNvPr id="587" name="TextBox 586">
            <a:extLst>
              <a:ext uri="{FF2B5EF4-FFF2-40B4-BE49-F238E27FC236}">
                <a16:creationId xmlns:a16="http://schemas.microsoft.com/office/drawing/2014/main" id="{BEACED7E-F9D3-48B4-87B9-8A94957A4E22}"/>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t>Welcome</a:t>
            </a:r>
          </a:p>
        </p:txBody>
      </p:sp>
      <p:sp>
        <p:nvSpPr>
          <p:cNvPr id="589" name="TextBox 588">
            <a:extLst>
              <a:ext uri="{FF2B5EF4-FFF2-40B4-BE49-F238E27FC236}">
                <a16:creationId xmlns:a16="http://schemas.microsoft.com/office/drawing/2014/main" id="{2620A4DE-A53F-4530-96B0-415ABFB76E18}"/>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t>Zoom in</a:t>
            </a:r>
          </a:p>
        </p:txBody>
      </p:sp>
      <p:sp>
        <p:nvSpPr>
          <p:cNvPr id="591" name="TextBox 590">
            <a:extLst>
              <a:ext uri="{FF2B5EF4-FFF2-40B4-BE49-F238E27FC236}">
                <a16:creationId xmlns:a16="http://schemas.microsoft.com/office/drawing/2014/main" id="{CCA7A403-9A51-4FDD-A1B8-5C9082B86436}"/>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t>Visibility off</a:t>
            </a:r>
          </a:p>
        </p:txBody>
      </p:sp>
      <p:sp>
        <p:nvSpPr>
          <p:cNvPr id="593" name="TextBox 592">
            <a:extLst>
              <a:ext uri="{FF2B5EF4-FFF2-40B4-BE49-F238E27FC236}">
                <a16:creationId xmlns:a16="http://schemas.microsoft.com/office/drawing/2014/main" id="{29BF41D6-8D07-44D1-97B3-244527F65170}"/>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t>Visibility on</a:t>
            </a:r>
          </a:p>
        </p:txBody>
      </p:sp>
      <p:sp>
        <p:nvSpPr>
          <p:cNvPr id="595" name="TextBox 594">
            <a:extLst>
              <a:ext uri="{FF2B5EF4-FFF2-40B4-BE49-F238E27FC236}">
                <a16:creationId xmlns:a16="http://schemas.microsoft.com/office/drawing/2014/main" id="{9C91F747-9328-43A1-8801-61D65A0CADAD}"/>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tx1"/>
                </a:solidFill>
              </a:rPr>
              <a:t>Warning</a:t>
            </a:r>
          </a:p>
        </p:txBody>
      </p:sp>
      <p:sp>
        <p:nvSpPr>
          <p:cNvPr id="597" name="TextBox 596">
            <a:extLst>
              <a:ext uri="{FF2B5EF4-FFF2-40B4-BE49-F238E27FC236}">
                <a16:creationId xmlns:a16="http://schemas.microsoft.com/office/drawing/2014/main" id="{C58ED54B-93E1-460E-830C-874CA4F50D22}"/>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t>Web</a:t>
            </a:r>
          </a:p>
          <a:p>
            <a:pPr algn="ctr"/>
            <a:r>
              <a:rPr lang="en-US" sz="800"/>
              <a:t>expert</a:t>
            </a:r>
          </a:p>
        </p:txBody>
      </p:sp>
      <p:sp>
        <p:nvSpPr>
          <p:cNvPr id="599" name="TextBox 598">
            <a:extLst>
              <a:ext uri="{FF2B5EF4-FFF2-40B4-BE49-F238E27FC236}">
                <a16:creationId xmlns:a16="http://schemas.microsoft.com/office/drawing/2014/main" id="{D823CE98-52A0-4478-B700-C7220D3456EB}"/>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t>Web</a:t>
            </a:r>
          </a:p>
          <a:p>
            <a:pPr algn="ctr"/>
            <a:r>
              <a:rPr lang="en-US" sz="800"/>
              <a:t>scraping</a:t>
            </a:r>
          </a:p>
        </p:txBody>
      </p:sp>
      <p:sp>
        <p:nvSpPr>
          <p:cNvPr id="601" name="TextBox 600">
            <a:extLst>
              <a:ext uri="{FF2B5EF4-FFF2-40B4-BE49-F238E27FC236}">
                <a16:creationId xmlns:a16="http://schemas.microsoft.com/office/drawing/2014/main" id="{7B465CA4-E923-4F44-9FAE-628374F70940}"/>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t>Web</a:t>
            </a:r>
          </a:p>
          <a:p>
            <a:pPr algn="ctr"/>
            <a:r>
              <a:rPr lang="en-US" sz="800"/>
              <a:t>testing</a:t>
            </a:r>
          </a:p>
        </p:txBody>
      </p:sp>
      <p:sp>
        <p:nvSpPr>
          <p:cNvPr id="603" name="TextBox 602">
            <a:extLst>
              <a:ext uri="{FF2B5EF4-FFF2-40B4-BE49-F238E27FC236}">
                <a16:creationId xmlns:a16="http://schemas.microsoft.com/office/drawing/2014/main" id="{82D2479D-509D-4581-9487-D62DF27182CE}"/>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t>Zoom out</a:t>
            </a:r>
          </a:p>
        </p:txBody>
      </p:sp>
      <p:sp>
        <p:nvSpPr>
          <p:cNvPr id="605" name="TextBox 604">
            <a:extLst>
              <a:ext uri="{FF2B5EF4-FFF2-40B4-BE49-F238E27FC236}">
                <a16:creationId xmlns:a16="http://schemas.microsoft.com/office/drawing/2014/main" id="{213FE9DF-7EFE-4FF3-8368-C6E994E4B317}"/>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t>Vector </a:t>
            </a:r>
          </a:p>
          <a:p>
            <a:pPr algn="ctr"/>
            <a:r>
              <a:rPr lang="en-US" sz="800"/>
              <a:t>anchor</a:t>
            </a:r>
          </a:p>
        </p:txBody>
      </p:sp>
      <p:sp>
        <p:nvSpPr>
          <p:cNvPr id="607" name="TextBox 606">
            <a:extLst>
              <a:ext uri="{FF2B5EF4-FFF2-40B4-BE49-F238E27FC236}">
                <a16:creationId xmlns:a16="http://schemas.microsoft.com/office/drawing/2014/main" id="{B21965E9-E636-4149-A761-B0B18609E90D}"/>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t>Money </a:t>
            </a:r>
          </a:p>
          <a:p>
            <a:pPr algn="ctr"/>
            <a:r>
              <a:rPr lang="en-US" sz="800"/>
              <a:t>square</a:t>
            </a:r>
          </a:p>
        </p:txBody>
      </p:sp>
      <p:sp>
        <p:nvSpPr>
          <p:cNvPr id="609" name="TextBox 608">
            <a:extLst>
              <a:ext uri="{FF2B5EF4-FFF2-40B4-BE49-F238E27FC236}">
                <a16:creationId xmlns:a16="http://schemas.microsoft.com/office/drawing/2014/main" id="{A44EEDF7-941E-4FD8-A6CE-098222409979}"/>
              </a:ext>
            </a:extLst>
          </p:cNvPr>
          <p:cNvSpPr txBox="1"/>
          <p:nvPr userDrawn="1"/>
        </p:nvSpPr>
        <p:spPr>
          <a:xfrm>
            <a:off x="387912" y="1756657"/>
            <a:ext cx="709636" cy="338328"/>
          </a:xfrm>
          <a:prstGeom prst="rect">
            <a:avLst/>
          </a:prstGeom>
          <a:noFill/>
        </p:spPr>
        <p:txBody>
          <a:bodyPr wrap="square" lIns="0" rIns="0">
            <a:noAutofit/>
          </a:bodyPr>
          <a:lstStyle/>
          <a:p>
            <a:pPr algn="ctr"/>
            <a:r>
              <a:rPr lang="en-US" sz="800"/>
              <a:t>Location </a:t>
            </a:r>
          </a:p>
          <a:p>
            <a:pPr algn="ctr"/>
            <a:r>
              <a:rPr lang="en-US" sz="800"/>
              <a:t>pin</a:t>
            </a:r>
          </a:p>
        </p:txBody>
      </p:sp>
      <p:sp>
        <p:nvSpPr>
          <p:cNvPr id="611" name="TextBox 610">
            <a:extLst>
              <a:ext uri="{FF2B5EF4-FFF2-40B4-BE49-F238E27FC236}">
                <a16:creationId xmlns:a16="http://schemas.microsoft.com/office/drawing/2014/main" id="{BF559BB8-A1CB-4448-96B7-5471A024BA03}"/>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t>Lock</a:t>
            </a:r>
          </a:p>
        </p:txBody>
      </p:sp>
      <p:sp>
        <p:nvSpPr>
          <p:cNvPr id="613" name="TextBox 612">
            <a:extLst>
              <a:ext uri="{FF2B5EF4-FFF2-40B4-BE49-F238E27FC236}">
                <a16:creationId xmlns:a16="http://schemas.microsoft.com/office/drawing/2014/main" id="{C48A4874-E387-4D4D-8CBA-EE4936A004A8}"/>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t>Lock</a:t>
            </a:r>
          </a:p>
          <a:p>
            <a:pPr algn="ctr"/>
            <a:r>
              <a:rPr lang="en-US" sz="800"/>
              <a:t>open</a:t>
            </a:r>
          </a:p>
        </p:txBody>
      </p:sp>
      <p:sp>
        <p:nvSpPr>
          <p:cNvPr id="615" name="TextBox 614">
            <a:extLst>
              <a:ext uri="{FF2B5EF4-FFF2-40B4-BE49-F238E27FC236}">
                <a16:creationId xmlns:a16="http://schemas.microsoft.com/office/drawing/2014/main" id="{434CAC96-477B-4750-942B-551FF000F1B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t>Macro recording</a:t>
            </a:r>
          </a:p>
        </p:txBody>
      </p:sp>
      <p:sp>
        <p:nvSpPr>
          <p:cNvPr id="617" name="TextBox 616">
            <a:extLst>
              <a:ext uri="{FF2B5EF4-FFF2-40B4-BE49-F238E27FC236}">
                <a16:creationId xmlns:a16="http://schemas.microsoft.com/office/drawing/2014/main" id="{912A4E62-2EB8-447E-B421-A1DC28B0AE56}"/>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t>Managing</a:t>
            </a:r>
          </a:p>
        </p:txBody>
      </p:sp>
      <p:sp>
        <p:nvSpPr>
          <p:cNvPr id="619" name="TextBox 618">
            <a:extLst>
              <a:ext uri="{FF2B5EF4-FFF2-40B4-BE49-F238E27FC236}">
                <a16:creationId xmlns:a16="http://schemas.microsoft.com/office/drawing/2014/main" id="{F03F7DCC-8D90-46AE-B314-75D8D5DAA9F1}"/>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t>Mobile</a:t>
            </a:r>
          </a:p>
          <a:p>
            <a:pPr algn="ctr"/>
            <a:r>
              <a:rPr lang="en-US" sz="800"/>
              <a:t>device</a:t>
            </a:r>
          </a:p>
        </p:txBody>
      </p:sp>
      <p:sp>
        <p:nvSpPr>
          <p:cNvPr id="621" name="TextBox 620">
            <a:extLst>
              <a:ext uri="{FF2B5EF4-FFF2-40B4-BE49-F238E27FC236}">
                <a16:creationId xmlns:a16="http://schemas.microsoft.com/office/drawing/2014/main" id="{CD8EA5EA-5FD1-473D-92F5-10F69A375720}"/>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t>Money </a:t>
            </a:r>
          </a:p>
        </p:txBody>
      </p:sp>
      <p:sp>
        <p:nvSpPr>
          <p:cNvPr id="623" name="TextBox 622">
            <a:extLst>
              <a:ext uri="{FF2B5EF4-FFF2-40B4-BE49-F238E27FC236}">
                <a16:creationId xmlns:a16="http://schemas.microsoft.com/office/drawing/2014/main" id="{8EB9E53B-645E-4E07-9C84-9E225D25C1F1}"/>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t>Managing alt</a:t>
            </a:r>
          </a:p>
        </p:txBody>
      </p:sp>
      <p:sp>
        <p:nvSpPr>
          <p:cNvPr id="625" name="TextBox 624">
            <a:extLst>
              <a:ext uri="{FF2B5EF4-FFF2-40B4-BE49-F238E27FC236}">
                <a16:creationId xmlns:a16="http://schemas.microsoft.com/office/drawing/2014/main" id="{C1974E64-5A8E-41D7-926E-0C33F5E43D19}"/>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t>Map</a:t>
            </a:r>
          </a:p>
        </p:txBody>
      </p:sp>
      <p:sp>
        <p:nvSpPr>
          <p:cNvPr id="627" name="TextBox 626">
            <a:extLst>
              <a:ext uri="{FF2B5EF4-FFF2-40B4-BE49-F238E27FC236}">
                <a16:creationId xmlns:a16="http://schemas.microsoft.com/office/drawing/2014/main" id="{B6884CAD-AE4A-47A2-ADCD-53E37FAE7777}"/>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t>Map alt</a:t>
            </a:r>
          </a:p>
        </p:txBody>
      </p:sp>
      <p:sp>
        <p:nvSpPr>
          <p:cNvPr id="629" name="TextBox 628">
            <a:extLst>
              <a:ext uri="{FF2B5EF4-FFF2-40B4-BE49-F238E27FC236}">
                <a16:creationId xmlns:a16="http://schemas.microsoft.com/office/drawing/2014/main" id="{04AABCD4-86BF-4089-A1E1-F124443A7FAA}"/>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t>Map alt 2</a:t>
            </a:r>
          </a:p>
        </p:txBody>
      </p:sp>
      <p:sp>
        <p:nvSpPr>
          <p:cNvPr id="631" name="TextBox 630">
            <a:extLst>
              <a:ext uri="{FF2B5EF4-FFF2-40B4-BE49-F238E27FC236}">
                <a16:creationId xmlns:a16="http://schemas.microsoft.com/office/drawing/2014/main" id="{5EC89280-2227-4E24-B9C9-2DBE66CEA7B8}"/>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t>Media</a:t>
            </a:r>
          </a:p>
        </p:txBody>
      </p:sp>
      <p:sp>
        <p:nvSpPr>
          <p:cNvPr id="633" name="TextBox 632">
            <a:extLst>
              <a:ext uri="{FF2B5EF4-FFF2-40B4-BE49-F238E27FC236}">
                <a16:creationId xmlns:a16="http://schemas.microsoft.com/office/drawing/2014/main" id="{A2082B14-9045-4CCE-A159-2607752ABF27}"/>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t>Mismatch</a:t>
            </a:r>
          </a:p>
        </p:txBody>
      </p:sp>
      <p:sp>
        <p:nvSpPr>
          <p:cNvPr id="635" name="TextBox 634">
            <a:extLst>
              <a:ext uri="{FF2B5EF4-FFF2-40B4-BE49-F238E27FC236}">
                <a16:creationId xmlns:a16="http://schemas.microsoft.com/office/drawing/2014/main" id="{136105B6-A9C0-4D88-8586-7567DB5DDDD3}"/>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t>Money </a:t>
            </a:r>
          </a:p>
          <a:p>
            <a:pPr algn="ctr"/>
            <a:r>
              <a:rPr lang="en-US" sz="800"/>
              <a:t>circle</a:t>
            </a:r>
          </a:p>
        </p:txBody>
      </p:sp>
      <p:sp>
        <p:nvSpPr>
          <p:cNvPr id="637" name="TextBox 636">
            <a:extLst>
              <a:ext uri="{FF2B5EF4-FFF2-40B4-BE49-F238E27FC236}">
                <a16:creationId xmlns:a16="http://schemas.microsoft.com/office/drawing/2014/main" id="{2F997FB6-015F-44DE-A60D-42E3CE1A1B5A}"/>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t>Manage documents</a:t>
            </a:r>
          </a:p>
        </p:txBody>
      </p:sp>
      <p:sp>
        <p:nvSpPr>
          <p:cNvPr id="639" name="TextBox 638">
            <a:extLst>
              <a:ext uri="{FF2B5EF4-FFF2-40B4-BE49-F238E27FC236}">
                <a16:creationId xmlns:a16="http://schemas.microsoft.com/office/drawing/2014/main" id="{354E9287-D580-4B32-9F2A-79BC21EDF64C}"/>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t>QA</a:t>
            </a:r>
          </a:p>
        </p:txBody>
      </p:sp>
      <p:sp>
        <p:nvSpPr>
          <p:cNvPr id="641" name="TextBox 640">
            <a:extLst>
              <a:ext uri="{FF2B5EF4-FFF2-40B4-BE49-F238E27FC236}">
                <a16:creationId xmlns:a16="http://schemas.microsoft.com/office/drawing/2014/main" id="{88E82C6E-BC56-408B-B706-7DC8FDF75BF8}"/>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t>Monitoring</a:t>
            </a:r>
          </a:p>
        </p:txBody>
      </p:sp>
      <p:sp>
        <p:nvSpPr>
          <p:cNvPr id="643" name="TextBox 642">
            <a:extLst>
              <a:ext uri="{FF2B5EF4-FFF2-40B4-BE49-F238E27FC236}">
                <a16:creationId xmlns:a16="http://schemas.microsoft.com/office/drawing/2014/main" id="{B2F1DAD0-F9A3-4508-B6FA-4A05AE1954C7}"/>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t>Monitoring alt</a:t>
            </a:r>
          </a:p>
        </p:txBody>
      </p:sp>
      <p:sp>
        <p:nvSpPr>
          <p:cNvPr id="645" name="TextBox 644">
            <a:extLst>
              <a:ext uri="{FF2B5EF4-FFF2-40B4-BE49-F238E27FC236}">
                <a16:creationId xmlns:a16="http://schemas.microsoft.com/office/drawing/2014/main" id="{9F1E6922-FFBC-4C8C-8509-44FF27B2C648}"/>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t>Note</a:t>
            </a:r>
          </a:p>
        </p:txBody>
      </p:sp>
      <p:sp>
        <p:nvSpPr>
          <p:cNvPr id="647" name="TextBox 646">
            <a:extLst>
              <a:ext uri="{FF2B5EF4-FFF2-40B4-BE49-F238E27FC236}">
                <a16:creationId xmlns:a16="http://schemas.microsoft.com/office/drawing/2014/main" id="{D9BDE033-1324-4D4D-BE7B-6741F0058753}"/>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t>OCR</a:t>
            </a:r>
          </a:p>
        </p:txBody>
      </p:sp>
      <p:sp>
        <p:nvSpPr>
          <p:cNvPr id="649" name="TextBox 648">
            <a:extLst>
              <a:ext uri="{FF2B5EF4-FFF2-40B4-BE49-F238E27FC236}">
                <a16:creationId xmlns:a16="http://schemas.microsoft.com/office/drawing/2014/main" id="{9601E31D-B4FC-43E9-BBB5-79F36EF10F25}"/>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t>Phone </a:t>
            </a:r>
          </a:p>
          <a:p>
            <a:pPr algn="ctr"/>
            <a:r>
              <a:rPr lang="en-US" sz="800"/>
              <a:t>call</a:t>
            </a:r>
          </a:p>
        </p:txBody>
      </p:sp>
      <p:sp>
        <p:nvSpPr>
          <p:cNvPr id="651" name="TextBox 650">
            <a:extLst>
              <a:ext uri="{FF2B5EF4-FFF2-40B4-BE49-F238E27FC236}">
                <a16:creationId xmlns:a16="http://schemas.microsoft.com/office/drawing/2014/main" id="{24E3C5B6-0999-4757-9F98-23E5FCB4088C}"/>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t>Proof of concept</a:t>
            </a:r>
          </a:p>
        </p:txBody>
      </p:sp>
      <p:sp>
        <p:nvSpPr>
          <p:cNvPr id="653" name="TextBox 652">
            <a:extLst>
              <a:ext uri="{FF2B5EF4-FFF2-40B4-BE49-F238E27FC236}">
                <a16:creationId xmlns:a16="http://schemas.microsoft.com/office/drawing/2014/main" id="{D207126C-2689-4749-81C3-627038AA0B1C}"/>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t>Proof of concept 2</a:t>
            </a:r>
          </a:p>
        </p:txBody>
      </p:sp>
      <p:sp>
        <p:nvSpPr>
          <p:cNvPr id="655" name="TextBox 654">
            <a:extLst>
              <a:ext uri="{FF2B5EF4-FFF2-40B4-BE49-F238E27FC236}">
                <a16:creationId xmlns:a16="http://schemas.microsoft.com/office/drawing/2014/main" id="{6E772628-0A70-4898-AEDF-969CFBD1BB62}"/>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t>Pivot</a:t>
            </a:r>
          </a:p>
        </p:txBody>
      </p:sp>
      <p:sp>
        <p:nvSpPr>
          <p:cNvPr id="657" name="TextBox 656">
            <a:extLst>
              <a:ext uri="{FF2B5EF4-FFF2-40B4-BE49-F238E27FC236}">
                <a16:creationId xmlns:a16="http://schemas.microsoft.com/office/drawing/2014/main" id="{557A935E-47BF-451F-BE8A-B878139461D6}"/>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t>Plugin</a:t>
            </a:r>
          </a:p>
        </p:txBody>
      </p:sp>
      <p:sp>
        <p:nvSpPr>
          <p:cNvPr id="659" name="TextBox 658">
            <a:extLst>
              <a:ext uri="{FF2B5EF4-FFF2-40B4-BE49-F238E27FC236}">
                <a16:creationId xmlns:a16="http://schemas.microsoft.com/office/drawing/2014/main" id="{6C7F95D7-4744-4C14-8CC2-4AC70446A8A3}"/>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t>Process identification</a:t>
            </a:r>
          </a:p>
        </p:txBody>
      </p:sp>
      <p:sp>
        <p:nvSpPr>
          <p:cNvPr id="661" name="TextBox 660">
            <a:extLst>
              <a:ext uri="{FF2B5EF4-FFF2-40B4-BE49-F238E27FC236}">
                <a16:creationId xmlns:a16="http://schemas.microsoft.com/office/drawing/2014/main" id="{32F110B8-3E06-43DD-993B-87AAFBF7C4A5}"/>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t>Process identification 2</a:t>
            </a:r>
          </a:p>
        </p:txBody>
      </p:sp>
      <p:sp>
        <p:nvSpPr>
          <p:cNvPr id="663" name="TextBox 662">
            <a:extLst>
              <a:ext uri="{FF2B5EF4-FFF2-40B4-BE49-F238E27FC236}">
                <a16:creationId xmlns:a16="http://schemas.microsoft.com/office/drawing/2014/main" id="{A96C2934-8FDF-44D3-80F1-9ED7D91FC98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t>Project</a:t>
            </a:r>
          </a:p>
        </p:txBody>
      </p:sp>
      <p:sp>
        <p:nvSpPr>
          <p:cNvPr id="665" name="TextBox 664">
            <a:extLst>
              <a:ext uri="{FF2B5EF4-FFF2-40B4-BE49-F238E27FC236}">
                <a16:creationId xmlns:a16="http://schemas.microsoft.com/office/drawing/2014/main" id="{CC4C6D62-B4C9-44BA-ACD1-35EBC1D5D918}"/>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t>Promoter bullhorn</a:t>
            </a:r>
          </a:p>
        </p:txBody>
      </p:sp>
      <p:sp>
        <p:nvSpPr>
          <p:cNvPr id="667" name="TextBox 666">
            <a:extLst>
              <a:ext uri="{FF2B5EF4-FFF2-40B4-BE49-F238E27FC236}">
                <a16:creationId xmlns:a16="http://schemas.microsoft.com/office/drawing/2014/main" id="{3B668145-1735-47EB-A7F3-42A32381F1A7}"/>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t>Public </a:t>
            </a:r>
          </a:p>
          <a:p>
            <a:pPr algn="ctr"/>
            <a:r>
              <a:rPr lang="en-US" sz="800"/>
              <a:t>sector</a:t>
            </a:r>
          </a:p>
        </p:txBody>
      </p:sp>
      <p:sp>
        <p:nvSpPr>
          <p:cNvPr id="669" name="TextBox 668">
            <a:extLst>
              <a:ext uri="{FF2B5EF4-FFF2-40B4-BE49-F238E27FC236}">
                <a16:creationId xmlns:a16="http://schemas.microsoft.com/office/drawing/2014/main" id="{1DBAC888-1008-4F3C-AABF-04F38EBED5BA}"/>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t>OCR alt</a:t>
            </a:r>
          </a:p>
        </p:txBody>
      </p:sp>
      <p:sp>
        <p:nvSpPr>
          <p:cNvPr id="2" name="Title 1">
            <a:extLst>
              <a:ext uri="{FF2B5EF4-FFF2-40B4-BE49-F238E27FC236}">
                <a16:creationId xmlns:a16="http://schemas.microsoft.com/office/drawing/2014/main" id="{643920EF-84EB-48F9-96E6-3563B1AE80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767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5B52BF-524B-4C19-B2D2-D37EBEE79855}"/>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6" name="Left Bracket 5">
            <a:extLst>
              <a:ext uri="{FF2B5EF4-FFF2-40B4-BE49-F238E27FC236}">
                <a16:creationId xmlns:a16="http://schemas.microsoft.com/office/drawing/2014/main" id="{9791BE5E-449B-4FD7-8C2A-42AD93977E12}"/>
              </a:ext>
            </a:extLst>
          </p:cNvPr>
          <p:cNvSpPr/>
          <p:nvPr userDrawn="1"/>
        </p:nvSpPr>
        <p:spPr>
          <a:xfrm flipH="1">
            <a:off x="-6" y="1276793"/>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1" name="TextBox 280">
            <a:extLst>
              <a:ext uri="{FF2B5EF4-FFF2-40B4-BE49-F238E27FC236}">
                <a16:creationId xmlns:a16="http://schemas.microsoft.com/office/drawing/2014/main" id="{7D33A196-A6A8-4109-B8EF-A189C9638264}"/>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bg1"/>
                </a:solidFill>
              </a:rPr>
              <a:t>Robot Attended</a:t>
            </a:r>
          </a:p>
        </p:txBody>
      </p:sp>
      <p:sp>
        <p:nvSpPr>
          <p:cNvPr id="283" name="TextBox 282">
            <a:extLst>
              <a:ext uri="{FF2B5EF4-FFF2-40B4-BE49-F238E27FC236}">
                <a16:creationId xmlns:a16="http://schemas.microsoft.com/office/drawing/2014/main" id="{88C75E80-0CE3-4713-9DD7-6208DDBD87D9}"/>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bg1"/>
                </a:solidFill>
              </a:rPr>
              <a:t>Robot Unattended</a:t>
            </a:r>
          </a:p>
        </p:txBody>
      </p:sp>
      <p:sp>
        <p:nvSpPr>
          <p:cNvPr id="285" name="TextBox 284">
            <a:extLst>
              <a:ext uri="{FF2B5EF4-FFF2-40B4-BE49-F238E27FC236}">
                <a16:creationId xmlns:a16="http://schemas.microsoft.com/office/drawing/2014/main" id="{AB4C91F5-C032-4A9C-8501-DF80BA144803}"/>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bg1"/>
                </a:solidFill>
              </a:rPr>
              <a:t>Orchestrator</a:t>
            </a:r>
          </a:p>
        </p:txBody>
      </p:sp>
      <p:sp>
        <p:nvSpPr>
          <p:cNvPr id="287" name="TextBox 286">
            <a:extLst>
              <a:ext uri="{FF2B5EF4-FFF2-40B4-BE49-F238E27FC236}">
                <a16:creationId xmlns:a16="http://schemas.microsoft.com/office/drawing/2014/main" id="{AE64AA71-019C-4448-9489-72D5777CDFD8}"/>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bg1"/>
                </a:solidFill>
              </a:rPr>
              <a:t>Studio</a:t>
            </a:r>
          </a:p>
        </p:txBody>
      </p:sp>
      <p:sp>
        <p:nvSpPr>
          <p:cNvPr id="289" name="TextBox 288">
            <a:extLst>
              <a:ext uri="{FF2B5EF4-FFF2-40B4-BE49-F238E27FC236}">
                <a16:creationId xmlns:a16="http://schemas.microsoft.com/office/drawing/2014/main" id="{6C36F93E-C86E-44C3-B1D4-0CDEBB7A1483}"/>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a:solidFill>
                  <a:schemeClr val="bg1"/>
                </a:solidFill>
              </a:rPr>
              <a:t>Calendar</a:t>
            </a:r>
          </a:p>
        </p:txBody>
      </p:sp>
      <p:sp>
        <p:nvSpPr>
          <p:cNvPr id="291" name="TextBox 290">
            <a:extLst>
              <a:ext uri="{FF2B5EF4-FFF2-40B4-BE49-F238E27FC236}">
                <a16:creationId xmlns:a16="http://schemas.microsoft.com/office/drawing/2014/main" id="{BFA6AC61-8B68-4A9C-BC38-D88FAEF9C888}"/>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a:solidFill>
                  <a:schemeClr val="bg1"/>
                </a:solidFill>
              </a:rPr>
              <a:t>Course foundation</a:t>
            </a:r>
          </a:p>
        </p:txBody>
      </p:sp>
      <p:sp>
        <p:nvSpPr>
          <p:cNvPr id="293" name="TextBox 292">
            <a:extLst>
              <a:ext uri="{FF2B5EF4-FFF2-40B4-BE49-F238E27FC236}">
                <a16:creationId xmlns:a16="http://schemas.microsoft.com/office/drawing/2014/main" id="{DED33649-2708-4054-8C49-16C700A4B49A}"/>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bg1"/>
                </a:solidFill>
              </a:rPr>
              <a:t>Enterprise-competency alt</a:t>
            </a:r>
          </a:p>
        </p:txBody>
      </p:sp>
      <p:sp>
        <p:nvSpPr>
          <p:cNvPr id="295" name="TextBox 294">
            <a:extLst>
              <a:ext uri="{FF2B5EF4-FFF2-40B4-BE49-F238E27FC236}">
                <a16:creationId xmlns:a16="http://schemas.microsoft.com/office/drawing/2014/main" id="{1D93EA50-5D63-4CAC-9BBA-FC11BFDC90C0}"/>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bg1"/>
                </a:solidFill>
              </a:rPr>
              <a:t>Growth</a:t>
            </a:r>
          </a:p>
        </p:txBody>
      </p:sp>
      <p:sp>
        <p:nvSpPr>
          <p:cNvPr id="297" name="TextBox 296">
            <a:extLst>
              <a:ext uri="{FF2B5EF4-FFF2-40B4-BE49-F238E27FC236}">
                <a16:creationId xmlns:a16="http://schemas.microsoft.com/office/drawing/2014/main" id="{454AB1A7-97EF-4D7F-84DB-75782615EA63}"/>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bg1"/>
                </a:solidFill>
              </a:rPr>
              <a:t>Certification</a:t>
            </a:r>
          </a:p>
        </p:txBody>
      </p:sp>
      <p:sp>
        <p:nvSpPr>
          <p:cNvPr id="299" name="TextBox 298">
            <a:extLst>
              <a:ext uri="{FF2B5EF4-FFF2-40B4-BE49-F238E27FC236}">
                <a16:creationId xmlns:a16="http://schemas.microsoft.com/office/drawing/2014/main" id="{141267A5-7BF0-479B-A02D-BA25111EA4D4}"/>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bg1"/>
                </a:solidFill>
              </a:rPr>
              <a:t>Course foundation 2</a:t>
            </a:r>
          </a:p>
        </p:txBody>
      </p:sp>
      <p:sp>
        <p:nvSpPr>
          <p:cNvPr id="301" name="TextBox 300">
            <a:extLst>
              <a:ext uri="{FF2B5EF4-FFF2-40B4-BE49-F238E27FC236}">
                <a16:creationId xmlns:a16="http://schemas.microsoft.com/office/drawing/2014/main" id="{D8E69AA5-26B3-4474-B10D-303EC789B024}"/>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a:solidFill>
                  <a:schemeClr val="bg1"/>
                </a:solidFill>
              </a:rPr>
              <a:t>Equal</a:t>
            </a:r>
          </a:p>
        </p:txBody>
      </p:sp>
      <p:sp>
        <p:nvSpPr>
          <p:cNvPr id="303" name="TextBox 302">
            <a:extLst>
              <a:ext uri="{FF2B5EF4-FFF2-40B4-BE49-F238E27FC236}">
                <a16:creationId xmlns:a16="http://schemas.microsoft.com/office/drawing/2014/main" id="{64580ABD-6720-4432-AB0F-030830C7FE46}"/>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a:solidFill>
                  <a:schemeClr val="bg1"/>
                </a:solidFill>
              </a:rPr>
              <a:t>Health</a:t>
            </a:r>
          </a:p>
        </p:txBody>
      </p:sp>
      <p:sp>
        <p:nvSpPr>
          <p:cNvPr id="305" name="TextBox 304">
            <a:extLst>
              <a:ext uri="{FF2B5EF4-FFF2-40B4-BE49-F238E27FC236}">
                <a16:creationId xmlns:a16="http://schemas.microsoft.com/office/drawing/2014/main" id="{717B56DC-45A1-46B1-8009-B49EEB12B3C0}"/>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a:solidFill>
                  <a:schemeClr val="bg1"/>
                </a:solidFill>
              </a:rPr>
              <a:t>Chart</a:t>
            </a:r>
          </a:p>
        </p:txBody>
      </p:sp>
      <p:sp>
        <p:nvSpPr>
          <p:cNvPr id="307" name="TextBox 306">
            <a:extLst>
              <a:ext uri="{FF2B5EF4-FFF2-40B4-BE49-F238E27FC236}">
                <a16:creationId xmlns:a16="http://schemas.microsoft.com/office/drawing/2014/main" id="{5B37DF35-1C4E-4138-98BD-EBE5232ACE08}"/>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a:solidFill>
                  <a:schemeClr val="bg1"/>
                </a:solidFill>
              </a:rPr>
              <a:t>Course foundation 3</a:t>
            </a:r>
          </a:p>
        </p:txBody>
      </p:sp>
      <p:sp>
        <p:nvSpPr>
          <p:cNvPr id="309" name="TextBox 308">
            <a:extLst>
              <a:ext uri="{FF2B5EF4-FFF2-40B4-BE49-F238E27FC236}">
                <a16:creationId xmlns:a16="http://schemas.microsoft.com/office/drawing/2014/main" id="{932E09EE-C78C-43A9-8B3D-018A7ADA7BFF}"/>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a:solidFill>
                  <a:schemeClr val="bg1"/>
                </a:solidFill>
              </a:rPr>
              <a:t>Error</a:t>
            </a:r>
          </a:p>
        </p:txBody>
      </p:sp>
      <p:sp>
        <p:nvSpPr>
          <p:cNvPr id="311" name="TextBox 310">
            <a:extLst>
              <a:ext uri="{FF2B5EF4-FFF2-40B4-BE49-F238E27FC236}">
                <a16:creationId xmlns:a16="http://schemas.microsoft.com/office/drawing/2014/main" id="{1C5EDAB4-6AD7-4491-B73B-2113B1A5F3B9}"/>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a:solidFill>
                  <a:schemeClr val="bg1"/>
                </a:solidFill>
              </a:rPr>
              <a:t>Heart</a:t>
            </a:r>
          </a:p>
        </p:txBody>
      </p:sp>
      <p:sp>
        <p:nvSpPr>
          <p:cNvPr id="313" name="TextBox 312">
            <a:extLst>
              <a:ext uri="{FF2B5EF4-FFF2-40B4-BE49-F238E27FC236}">
                <a16:creationId xmlns:a16="http://schemas.microsoft.com/office/drawing/2014/main" id="{675EA841-2F61-4151-B78F-EB65F2211DE4}"/>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a:solidFill>
                  <a:schemeClr val="bg1"/>
                </a:solidFill>
              </a:rPr>
              <a:t>Clock</a:t>
            </a:r>
          </a:p>
        </p:txBody>
      </p:sp>
      <p:sp>
        <p:nvSpPr>
          <p:cNvPr id="315" name="TextBox 314">
            <a:extLst>
              <a:ext uri="{FF2B5EF4-FFF2-40B4-BE49-F238E27FC236}">
                <a16:creationId xmlns:a16="http://schemas.microsoft.com/office/drawing/2014/main" id="{57A906BB-AC45-482E-A326-460F3B05A122}"/>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a:solidFill>
                  <a:schemeClr val="bg1"/>
                </a:solidFill>
              </a:rPr>
              <a:t>Course-orchestrator</a:t>
            </a:r>
          </a:p>
        </p:txBody>
      </p:sp>
      <p:sp>
        <p:nvSpPr>
          <p:cNvPr id="317" name="TextBox 316">
            <a:extLst>
              <a:ext uri="{FF2B5EF4-FFF2-40B4-BE49-F238E27FC236}">
                <a16:creationId xmlns:a16="http://schemas.microsoft.com/office/drawing/2014/main" id="{12DC0C76-B831-4C56-BD6B-CAE38F65F940}"/>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bg1"/>
                </a:solidFill>
              </a:rPr>
              <a:t>Exception handling</a:t>
            </a:r>
          </a:p>
        </p:txBody>
      </p:sp>
      <p:sp>
        <p:nvSpPr>
          <p:cNvPr id="319" name="TextBox 318">
            <a:extLst>
              <a:ext uri="{FF2B5EF4-FFF2-40B4-BE49-F238E27FC236}">
                <a16:creationId xmlns:a16="http://schemas.microsoft.com/office/drawing/2014/main" id="{ADAF4DCD-FDF2-40DE-8122-170B5DE78F6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bg1"/>
                </a:solidFill>
              </a:rPr>
              <a:t>Home</a:t>
            </a:r>
          </a:p>
        </p:txBody>
      </p:sp>
      <p:sp>
        <p:nvSpPr>
          <p:cNvPr id="321" name="TextBox 320">
            <a:extLst>
              <a:ext uri="{FF2B5EF4-FFF2-40B4-BE49-F238E27FC236}">
                <a16:creationId xmlns:a16="http://schemas.microsoft.com/office/drawing/2014/main" id="{2635136B-36D5-41F1-AAB3-4530B41F96C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app</a:t>
            </a:r>
          </a:p>
        </p:txBody>
      </p:sp>
      <p:sp>
        <p:nvSpPr>
          <p:cNvPr id="323" name="TextBox 322">
            <a:extLst>
              <a:ext uri="{FF2B5EF4-FFF2-40B4-BE49-F238E27FC236}">
                <a16:creationId xmlns:a16="http://schemas.microsoft.com/office/drawing/2014/main" id="{F5964800-661B-4696-8F8F-015208D39989}"/>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bg1"/>
                </a:solidFill>
              </a:rPr>
              <a:t>CRM</a:t>
            </a:r>
          </a:p>
        </p:txBody>
      </p:sp>
      <p:sp>
        <p:nvSpPr>
          <p:cNvPr id="325" name="TextBox 324">
            <a:extLst>
              <a:ext uri="{FF2B5EF4-FFF2-40B4-BE49-F238E27FC236}">
                <a16:creationId xmlns:a16="http://schemas.microsoft.com/office/drawing/2014/main" id="{95217A9F-E08F-40F4-AC3B-0E23E65F0A48}"/>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bg1"/>
                </a:solidFill>
              </a:rPr>
              <a:t>Fast ROI</a:t>
            </a:r>
          </a:p>
        </p:txBody>
      </p:sp>
      <p:sp>
        <p:nvSpPr>
          <p:cNvPr id="327" name="TextBox 326">
            <a:extLst>
              <a:ext uri="{FF2B5EF4-FFF2-40B4-BE49-F238E27FC236}">
                <a16:creationId xmlns:a16="http://schemas.microsoft.com/office/drawing/2014/main" id="{B48C75E9-5ECF-4D27-9B51-F833AB63E3E0}"/>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bg1"/>
                </a:solidFill>
              </a:rPr>
              <a:t>Hourglass</a:t>
            </a:r>
          </a:p>
        </p:txBody>
      </p:sp>
      <p:sp>
        <p:nvSpPr>
          <p:cNvPr id="329" name="TextBox 328">
            <a:extLst>
              <a:ext uri="{FF2B5EF4-FFF2-40B4-BE49-F238E27FC236}">
                <a16:creationId xmlns:a16="http://schemas.microsoft.com/office/drawing/2014/main" id="{099BACDB-7E38-4EC7-9A2F-74E7990270D4}"/>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a:solidFill>
                  <a:schemeClr val="bg1"/>
                </a:solidFill>
              </a:rPr>
              <a:t>Code</a:t>
            </a:r>
          </a:p>
        </p:txBody>
      </p:sp>
      <p:sp>
        <p:nvSpPr>
          <p:cNvPr id="331" name="TextBox 330">
            <a:extLst>
              <a:ext uri="{FF2B5EF4-FFF2-40B4-BE49-F238E27FC236}">
                <a16:creationId xmlns:a16="http://schemas.microsoft.com/office/drawing/2014/main" id="{6478CC05-91C7-4A8B-B7B4-DF054BFF97C3}"/>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a:solidFill>
                  <a:schemeClr val="bg1"/>
                </a:solidFill>
              </a:rPr>
              <a:t>Desktop program</a:t>
            </a:r>
          </a:p>
        </p:txBody>
      </p:sp>
      <p:sp>
        <p:nvSpPr>
          <p:cNvPr id="333" name="TextBox 332">
            <a:extLst>
              <a:ext uri="{FF2B5EF4-FFF2-40B4-BE49-F238E27FC236}">
                <a16:creationId xmlns:a16="http://schemas.microsoft.com/office/drawing/2014/main" id="{848E7C20-B646-4CFA-92B8-687B61AD50DD}"/>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a:solidFill>
                  <a:schemeClr val="bg1"/>
                </a:solidFill>
              </a:rPr>
              <a:t>First-link</a:t>
            </a:r>
          </a:p>
        </p:txBody>
      </p:sp>
      <p:sp>
        <p:nvSpPr>
          <p:cNvPr id="335" name="TextBox 334">
            <a:extLst>
              <a:ext uri="{FF2B5EF4-FFF2-40B4-BE49-F238E27FC236}">
                <a16:creationId xmlns:a16="http://schemas.microsoft.com/office/drawing/2014/main" id="{445C01EC-D8F3-4912-A74D-9B81139B6ADA}"/>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a:solidFill>
                  <a:schemeClr val="bg1"/>
                </a:solidFill>
              </a:rPr>
              <a:t>Automated data entry</a:t>
            </a:r>
          </a:p>
        </p:txBody>
      </p:sp>
      <p:sp>
        <p:nvSpPr>
          <p:cNvPr id="337" name="TextBox 336">
            <a:extLst>
              <a:ext uri="{FF2B5EF4-FFF2-40B4-BE49-F238E27FC236}">
                <a16:creationId xmlns:a16="http://schemas.microsoft.com/office/drawing/2014/main" id="{8EEC322D-C3BF-49A8-AA5C-E355315A967C}"/>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a:solidFill>
                  <a:schemeClr val="bg1"/>
                </a:solidFill>
              </a:rPr>
              <a:t>AI </a:t>
            </a:r>
          </a:p>
        </p:txBody>
      </p:sp>
      <p:sp>
        <p:nvSpPr>
          <p:cNvPr id="339" name="TextBox 338">
            <a:extLst>
              <a:ext uri="{FF2B5EF4-FFF2-40B4-BE49-F238E27FC236}">
                <a16:creationId xmlns:a16="http://schemas.microsoft.com/office/drawing/2014/main" id="{32C70CF3-0806-44CA-8B40-0890D945FA9B}"/>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a:solidFill>
                  <a:schemeClr val="bg1"/>
                </a:solidFill>
              </a:rPr>
              <a:t>Keyboard</a:t>
            </a:r>
          </a:p>
        </p:txBody>
      </p:sp>
      <p:sp>
        <p:nvSpPr>
          <p:cNvPr id="341" name="TextBox 340">
            <a:extLst>
              <a:ext uri="{FF2B5EF4-FFF2-40B4-BE49-F238E27FC236}">
                <a16:creationId xmlns:a16="http://schemas.microsoft.com/office/drawing/2014/main" id="{F6DB3435-C3F7-47FD-8D54-A4A936F9488C}"/>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a:solidFill>
                  <a:schemeClr val="bg1"/>
                </a:solidFill>
              </a:rPr>
              <a:t>Complete </a:t>
            </a:r>
          </a:p>
          <a:p>
            <a:pPr algn="ctr"/>
            <a:r>
              <a:rPr lang="en-US" sz="800">
                <a:solidFill>
                  <a:schemeClr val="bg1"/>
                </a:solidFill>
              </a:rPr>
              <a:t>audit</a:t>
            </a:r>
          </a:p>
        </p:txBody>
      </p:sp>
      <p:sp>
        <p:nvSpPr>
          <p:cNvPr id="343" name="TextBox 342">
            <a:extLst>
              <a:ext uri="{FF2B5EF4-FFF2-40B4-BE49-F238E27FC236}">
                <a16:creationId xmlns:a16="http://schemas.microsoft.com/office/drawing/2014/main" id="{B7F76A57-2609-4FC0-9405-93FF52E326C2}"/>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a:solidFill>
                  <a:schemeClr val="bg1"/>
                </a:solidFill>
              </a:rPr>
              <a:t>Document </a:t>
            </a:r>
            <a:br>
              <a:rPr lang="en-US" sz="800">
                <a:solidFill>
                  <a:schemeClr val="bg1"/>
                </a:solidFill>
              </a:rPr>
            </a:br>
            <a:endParaRPr lang="en-US" sz="800">
              <a:solidFill>
                <a:schemeClr val="bg1"/>
              </a:solidFill>
            </a:endParaRPr>
          </a:p>
        </p:txBody>
      </p:sp>
      <p:sp>
        <p:nvSpPr>
          <p:cNvPr id="345" name="TextBox 344">
            <a:extLst>
              <a:ext uri="{FF2B5EF4-FFF2-40B4-BE49-F238E27FC236}">
                <a16:creationId xmlns:a16="http://schemas.microsoft.com/office/drawing/2014/main" id="{6EFB18A7-0C14-44D2-9DAF-73D7A49A8DAD}"/>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a:solidFill>
                  <a:schemeClr val="bg1"/>
                </a:solidFill>
              </a:rPr>
              <a:t>First-mention</a:t>
            </a:r>
          </a:p>
        </p:txBody>
      </p:sp>
      <p:sp>
        <p:nvSpPr>
          <p:cNvPr id="347" name="TextBox 346">
            <a:extLst>
              <a:ext uri="{FF2B5EF4-FFF2-40B4-BE49-F238E27FC236}">
                <a16:creationId xmlns:a16="http://schemas.microsoft.com/office/drawing/2014/main" id="{BF3EA2B1-FD7B-4013-A489-136CBC5B4C43}"/>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a:solidFill>
                  <a:schemeClr val="bg1"/>
                </a:solidFill>
              </a:rPr>
              <a:t>Automation</a:t>
            </a:r>
          </a:p>
        </p:txBody>
      </p:sp>
      <p:sp>
        <p:nvSpPr>
          <p:cNvPr id="349" name="TextBox 348">
            <a:extLst>
              <a:ext uri="{FF2B5EF4-FFF2-40B4-BE49-F238E27FC236}">
                <a16:creationId xmlns:a16="http://schemas.microsoft.com/office/drawing/2014/main" id="{70DB2E18-E083-4F34-BA59-8AC444422822}"/>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a:solidFill>
                  <a:schemeClr val="bg1"/>
                </a:solidFill>
              </a:rPr>
              <a:t>AI Alt</a:t>
            </a:r>
          </a:p>
        </p:txBody>
      </p:sp>
      <p:sp>
        <p:nvSpPr>
          <p:cNvPr id="351" name="TextBox 350">
            <a:extLst>
              <a:ext uri="{FF2B5EF4-FFF2-40B4-BE49-F238E27FC236}">
                <a16:creationId xmlns:a16="http://schemas.microsoft.com/office/drawing/2014/main" id="{4E733983-4B84-4206-9B4C-1326E9C07CAE}"/>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a:solidFill>
                  <a:schemeClr val="bg1"/>
                </a:solidFill>
              </a:rPr>
              <a:t>Label</a:t>
            </a:r>
          </a:p>
        </p:txBody>
      </p:sp>
      <p:sp>
        <p:nvSpPr>
          <p:cNvPr id="353" name="TextBox 352">
            <a:extLst>
              <a:ext uri="{FF2B5EF4-FFF2-40B4-BE49-F238E27FC236}">
                <a16:creationId xmlns:a16="http://schemas.microsoft.com/office/drawing/2014/main" id="{13AFA605-90CB-4AC7-87F1-07FD8EF7F929}"/>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a:solidFill>
                  <a:schemeClr val="bg1"/>
                </a:solidFill>
              </a:rPr>
              <a:t>Contact</a:t>
            </a:r>
          </a:p>
          <a:p>
            <a:pPr algn="ctr"/>
            <a:r>
              <a:rPr lang="en-US" sz="800">
                <a:solidFill>
                  <a:schemeClr val="bg1"/>
                </a:solidFill>
              </a:rPr>
              <a:t>email</a:t>
            </a:r>
          </a:p>
        </p:txBody>
      </p:sp>
      <p:sp>
        <p:nvSpPr>
          <p:cNvPr id="355" name="TextBox 354">
            <a:extLst>
              <a:ext uri="{FF2B5EF4-FFF2-40B4-BE49-F238E27FC236}">
                <a16:creationId xmlns:a16="http://schemas.microsoft.com/office/drawing/2014/main" id="{01E610FF-04CC-480F-AC21-B1F5E1610624}"/>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a:solidFill>
                  <a:schemeClr val="bg1"/>
                </a:solidFill>
              </a:rPr>
              <a:t>Done</a:t>
            </a:r>
          </a:p>
        </p:txBody>
      </p:sp>
      <p:sp>
        <p:nvSpPr>
          <p:cNvPr id="357" name="TextBox 356">
            <a:extLst>
              <a:ext uri="{FF2B5EF4-FFF2-40B4-BE49-F238E27FC236}">
                <a16:creationId xmlns:a16="http://schemas.microsoft.com/office/drawing/2014/main" id="{FF55EBF2-EF4B-4F98-A36D-780219BBC4EB}"/>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bg1"/>
                </a:solidFill>
              </a:rPr>
              <a:t>First-</a:t>
            </a:r>
            <a:r>
              <a:rPr lang="en-US" sz="800" err="1">
                <a:solidFill>
                  <a:schemeClr val="bg1"/>
                </a:solidFill>
              </a:rPr>
              <a:t>onebox</a:t>
            </a:r>
            <a:endParaRPr lang="en-US" sz="800">
              <a:solidFill>
                <a:schemeClr val="bg1"/>
              </a:solidFill>
            </a:endParaRPr>
          </a:p>
        </p:txBody>
      </p:sp>
      <p:sp>
        <p:nvSpPr>
          <p:cNvPr id="359" name="TextBox 358">
            <a:extLst>
              <a:ext uri="{FF2B5EF4-FFF2-40B4-BE49-F238E27FC236}">
                <a16:creationId xmlns:a16="http://schemas.microsoft.com/office/drawing/2014/main" id="{227BC9DF-042F-4718-A11B-7C80BFEB231E}"/>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a:solidFill>
                  <a:schemeClr val="bg1"/>
                </a:solidFill>
              </a:rPr>
              <a:t>Background automation</a:t>
            </a:r>
          </a:p>
        </p:txBody>
      </p:sp>
      <p:sp>
        <p:nvSpPr>
          <p:cNvPr id="361" name="TextBox 360">
            <a:extLst>
              <a:ext uri="{FF2B5EF4-FFF2-40B4-BE49-F238E27FC236}">
                <a16:creationId xmlns:a16="http://schemas.microsoft.com/office/drawing/2014/main" id="{02932810-D34E-44B5-A09C-8502BF7848D4}"/>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bg1"/>
                </a:solidFill>
              </a:rPr>
              <a:t>AI Enabled</a:t>
            </a:r>
          </a:p>
        </p:txBody>
      </p:sp>
      <p:sp>
        <p:nvSpPr>
          <p:cNvPr id="363" name="TextBox 362">
            <a:extLst>
              <a:ext uri="{FF2B5EF4-FFF2-40B4-BE49-F238E27FC236}">
                <a16:creationId xmlns:a16="http://schemas.microsoft.com/office/drawing/2014/main" id="{A88ED0E5-4A3E-48C8-850F-CFF2D74ACADF}"/>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bg1"/>
                </a:solidFill>
              </a:rPr>
              <a:t>Label alt</a:t>
            </a:r>
          </a:p>
        </p:txBody>
      </p:sp>
      <p:sp>
        <p:nvSpPr>
          <p:cNvPr id="365" name="TextBox 364">
            <a:extLst>
              <a:ext uri="{FF2B5EF4-FFF2-40B4-BE49-F238E27FC236}">
                <a16:creationId xmlns:a16="http://schemas.microsoft.com/office/drawing/2014/main" id="{7B8203C8-F4A3-4AFF-B288-92169C7747F9}"/>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a:solidFill>
                  <a:schemeClr val="bg1"/>
                </a:solidFill>
              </a:rPr>
              <a:t>Cost low</a:t>
            </a:r>
          </a:p>
        </p:txBody>
      </p:sp>
      <p:sp>
        <p:nvSpPr>
          <p:cNvPr id="367" name="TextBox 366">
            <a:extLst>
              <a:ext uri="{FF2B5EF4-FFF2-40B4-BE49-F238E27FC236}">
                <a16:creationId xmlns:a16="http://schemas.microsoft.com/office/drawing/2014/main" id="{26507E6B-1C2B-4A60-9A07-3D525B32BE9D}"/>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a:solidFill>
                  <a:schemeClr val="bg1"/>
                </a:solidFill>
              </a:rPr>
              <a:t>Editor</a:t>
            </a:r>
          </a:p>
        </p:txBody>
      </p:sp>
      <p:sp>
        <p:nvSpPr>
          <p:cNvPr id="369" name="TextBox 368">
            <a:extLst>
              <a:ext uri="{FF2B5EF4-FFF2-40B4-BE49-F238E27FC236}">
                <a16:creationId xmlns:a16="http://schemas.microsoft.com/office/drawing/2014/main" id="{373AB452-BC5E-4E48-A8F0-B6E1ACDDB33C}"/>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a:solidFill>
                  <a:schemeClr val="bg1"/>
                </a:solidFill>
              </a:rPr>
              <a:t>Goals</a:t>
            </a:r>
          </a:p>
        </p:txBody>
      </p:sp>
      <p:sp>
        <p:nvSpPr>
          <p:cNvPr id="371" name="TextBox 370">
            <a:extLst>
              <a:ext uri="{FF2B5EF4-FFF2-40B4-BE49-F238E27FC236}">
                <a16:creationId xmlns:a16="http://schemas.microsoft.com/office/drawing/2014/main" id="{02469338-110D-47CC-9317-6A4426BFA917}"/>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a:solidFill>
                  <a:schemeClr val="bg1"/>
                </a:solidFill>
              </a:rPr>
              <a:t>Business partner-up alt</a:t>
            </a:r>
          </a:p>
        </p:txBody>
      </p:sp>
      <p:sp>
        <p:nvSpPr>
          <p:cNvPr id="373" name="TextBox 372">
            <a:extLst>
              <a:ext uri="{FF2B5EF4-FFF2-40B4-BE49-F238E27FC236}">
                <a16:creationId xmlns:a16="http://schemas.microsoft.com/office/drawing/2014/main" id="{BC8ABBD0-8FAE-4B8C-B89D-4BA3454D801C}"/>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a:solidFill>
                  <a:schemeClr val="bg1"/>
                </a:solidFill>
              </a:rPr>
              <a:t>App-3rd-party  2</a:t>
            </a:r>
          </a:p>
        </p:txBody>
      </p:sp>
      <p:sp>
        <p:nvSpPr>
          <p:cNvPr id="375" name="TextBox 374">
            <a:extLst>
              <a:ext uri="{FF2B5EF4-FFF2-40B4-BE49-F238E27FC236}">
                <a16:creationId xmlns:a16="http://schemas.microsoft.com/office/drawing/2014/main" id="{C5C19617-191C-43CD-88A9-C993E496AE51}"/>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a:t>
            </a:r>
          </a:p>
        </p:txBody>
      </p:sp>
      <p:sp>
        <p:nvSpPr>
          <p:cNvPr id="377" name="TextBox 376">
            <a:extLst>
              <a:ext uri="{FF2B5EF4-FFF2-40B4-BE49-F238E27FC236}">
                <a16:creationId xmlns:a16="http://schemas.microsoft.com/office/drawing/2014/main" id="{74CC0254-9713-4D1E-9792-B0499E96D642}"/>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bg1"/>
                </a:solidFill>
              </a:rPr>
              <a:t>Cloud download</a:t>
            </a:r>
          </a:p>
        </p:txBody>
      </p:sp>
      <p:sp>
        <p:nvSpPr>
          <p:cNvPr id="379" name="TextBox 378">
            <a:extLst>
              <a:ext uri="{FF2B5EF4-FFF2-40B4-BE49-F238E27FC236}">
                <a16:creationId xmlns:a16="http://schemas.microsoft.com/office/drawing/2014/main" id="{90367A62-FCD8-4536-B482-C6985DE57C6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bg1"/>
                </a:solidFill>
              </a:rPr>
              <a:t>Crown</a:t>
            </a:r>
          </a:p>
        </p:txBody>
      </p:sp>
      <p:sp>
        <p:nvSpPr>
          <p:cNvPr id="381" name="TextBox 380">
            <a:extLst>
              <a:ext uri="{FF2B5EF4-FFF2-40B4-BE49-F238E27FC236}">
                <a16:creationId xmlns:a16="http://schemas.microsoft.com/office/drawing/2014/main" id="{E9DA5E44-198B-4EA0-8862-01B80AD26BFB}"/>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bg1"/>
                </a:solidFill>
              </a:rPr>
              <a:t>First Emoji</a:t>
            </a:r>
          </a:p>
        </p:txBody>
      </p:sp>
      <p:sp>
        <p:nvSpPr>
          <p:cNvPr id="383" name="TextBox 382">
            <a:extLst>
              <a:ext uri="{FF2B5EF4-FFF2-40B4-BE49-F238E27FC236}">
                <a16:creationId xmlns:a16="http://schemas.microsoft.com/office/drawing/2014/main" id="{2DF569CF-FFFA-4E39-B9D6-B772947C8F66}"/>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bg1"/>
                </a:solidFill>
              </a:rPr>
              <a:t>Assessment</a:t>
            </a:r>
          </a:p>
        </p:txBody>
      </p:sp>
      <p:sp>
        <p:nvSpPr>
          <p:cNvPr id="385" name="TextBox 384">
            <a:extLst>
              <a:ext uri="{FF2B5EF4-FFF2-40B4-BE49-F238E27FC236}">
                <a16:creationId xmlns:a16="http://schemas.microsoft.com/office/drawing/2014/main" id="{9C819BE3-A96F-4379-9B22-D0296A58E75A}"/>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bg1"/>
                </a:solidFill>
              </a:rPr>
              <a:t>Abstract</a:t>
            </a:r>
          </a:p>
        </p:txBody>
      </p:sp>
      <p:sp>
        <p:nvSpPr>
          <p:cNvPr id="387" name="TextBox 386">
            <a:extLst>
              <a:ext uri="{FF2B5EF4-FFF2-40B4-BE49-F238E27FC236}">
                <a16:creationId xmlns:a16="http://schemas.microsoft.com/office/drawing/2014/main" id="{760E27AD-12EF-4C09-93C0-31471C7AF0E3}"/>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bg1"/>
                </a:solidFill>
              </a:rPr>
              <a:t>Information</a:t>
            </a:r>
          </a:p>
        </p:txBody>
      </p:sp>
      <p:sp>
        <p:nvSpPr>
          <p:cNvPr id="389" name="TextBox 388">
            <a:extLst>
              <a:ext uri="{FF2B5EF4-FFF2-40B4-BE49-F238E27FC236}">
                <a16:creationId xmlns:a16="http://schemas.microsoft.com/office/drawing/2014/main" id="{CAC0382A-B148-4523-B831-DBE4771D7B00}"/>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upload</a:t>
            </a:r>
          </a:p>
        </p:txBody>
      </p:sp>
      <p:sp>
        <p:nvSpPr>
          <p:cNvPr id="391" name="TextBox 390">
            <a:extLst>
              <a:ext uri="{FF2B5EF4-FFF2-40B4-BE49-F238E27FC236}">
                <a16:creationId xmlns:a16="http://schemas.microsoft.com/office/drawing/2014/main" id="{03B1F479-1CEB-4427-A8CC-DAB95EBDB3AA}"/>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bg1"/>
                </a:solidFill>
              </a:rPr>
              <a:t>Decrease</a:t>
            </a:r>
          </a:p>
        </p:txBody>
      </p:sp>
      <p:sp>
        <p:nvSpPr>
          <p:cNvPr id="393" name="TextBox 392">
            <a:extLst>
              <a:ext uri="{FF2B5EF4-FFF2-40B4-BE49-F238E27FC236}">
                <a16:creationId xmlns:a16="http://schemas.microsoft.com/office/drawing/2014/main" id="{4C6538F6-318C-4897-8FB1-ECDB51724407}"/>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a:solidFill>
                  <a:schemeClr val="bg1"/>
                </a:solidFill>
              </a:rPr>
              <a:t>First-like</a:t>
            </a:r>
          </a:p>
        </p:txBody>
      </p:sp>
      <p:sp>
        <p:nvSpPr>
          <p:cNvPr id="395" name="TextBox 394">
            <a:extLst>
              <a:ext uri="{FF2B5EF4-FFF2-40B4-BE49-F238E27FC236}">
                <a16:creationId xmlns:a16="http://schemas.microsoft.com/office/drawing/2014/main" id="{21DE5928-FF83-4400-BE86-DBA42D3EEBD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bg1"/>
                </a:solidFill>
              </a:rPr>
              <a:t>Autobiographer</a:t>
            </a:r>
          </a:p>
        </p:txBody>
      </p:sp>
      <p:sp>
        <p:nvSpPr>
          <p:cNvPr id="397" name="TextBox 396">
            <a:extLst>
              <a:ext uri="{FF2B5EF4-FFF2-40B4-BE49-F238E27FC236}">
                <a16:creationId xmlns:a16="http://schemas.microsoft.com/office/drawing/2014/main" id="{95496E97-9B73-477B-B766-41C4515FFC03}"/>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bg1"/>
                </a:solidFill>
              </a:rPr>
              <a:t>Advanced </a:t>
            </a:r>
          </a:p>
          <a:p>
            <a:pPr algn="ctr"/>
            <a:r>
              <a:rPr lang="en-US" sz="800">
                <a:solidFill>
                  <a:schemeClr val="bg1"/>
                </a:solidFill>
              </a:rPr>
              <a:t>OCR</a:t>
            </a:r>
          </a:p>
        </p:txBody>
      </p:sp>
      <p:sp>
        <p:nvSpPr>
          <p:cNvPr id="399" name="TextBox 398">
            <a:extLst>
              <a:ext uri="{FF2B5EF4-FFF2-40B4-BE49-F238E27FC236}">
                <a16:creationId xmlns:a16="http://schemas.microsoft.com/office/drawing/2014/main" id="{FDE70475-47F8-43D0-A774-BF626208DEF3}"/>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a:solidFill>
                  <a:schemeClr val="bg1"/>
                </a:solidFill>
              </a:rPr>
              <a:t>Institutionalize</a:t>
            </a:r>
          </a:p>
        </p:txBody>
      </p:sp>
      <p:sp>
        <p:nvSpPr>
          <p:cNvPr id="401" name="TextBox 400">
            <a:extLst>
              <a:ext uri="{FF2B5EF4-FFF2-40B4-BE49-F238E27FC236}">
                <a16:creationId xmlns:a16="http://schemas.microsoft.com/office/drawing/2014/main" id="{88CBAD70-9703-44D9-830A-EC106E6059C6}"/>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secure</a:t>
            </a:r>
          </a:p>
        </p:txBody>
      </p:sp>
      <p:sp>
        <p:nvSpPr>
          <p:cNvPr id="403" name="TextBox 402">
            <a:extLst>
              <a:ext uri="{FF2B5EF4-FFF2-40B4-BE49-F238E27FC236}">
                <a16:creationId xmlns:a16="http://schemas.microsoft.com/office/drawing/2014/main" id="{E7C14DC3-20E0-4858-A382-52D3C29865EF}"/>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bg1"/>
                </a:solidFill>
              </a:rPr>
              <a:t>Cultural acceptance</a:t>
            </a:r>
          </a:p>
        </p:txBody>
      </p:sp>
      <p:sp>
        <p:nvSpPr>
          <p:cNvPr id="405" name="TextBox 404">
            <a:extLst>
              <a:ext uri="{FF2B5EF4-FFF2-40B4-BE49-F238E27FC236}">
                <a16:creationId xmlns:a16="http://schemas.microsoft.com/office/drawing/2014/main" id="{0CC4D9FB-D022-461D-9366-C8CD74612039}"/>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bg1"/>
                </a:solidFill>
              </a:rPr>
              <a:t>First Flag</a:t>
            </a:r>
          </a:p>
        </p:txBody>
      </p:sp>
      <p:sp>
        <p:nvSpPr>
          <p:cNvPr id="407" name="TextBox 406">
            <a:extLst>
              <a:ext uri="{FF2B5EF4-FFF2-40B4-BE49-F238E27FC236}">
                <a16:creationId xmlns:a16="http://schemas.microsoft.com/office/drawing/2014/main" id="{8716872F-F885-4AA4-A216-14ECBF712486}"/>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bg1"/>
                </a:solidFill>
              </a:rPr>
              <a:t>Atom</a:t>
            </a:r>
          </a:p>
        </p:txBody>
      </p:sp>
      <p:sp>
        <p:nvSpPr>
          <p:cNvPr id="409" name="TextBox 408">
            <a:extLst>
              <a:ext uri="{FF2B5EF4-FFF2-40B4-BE49-F238E27FC236}">
                <a16:creationId xmlns:a16="http://schemas.microsoft.com/office/drawing/2014/main" id="{98D2CF27-1C39-4069-82E0-5F7B5054EC9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bg1"/>
                </a:solidFill>
              </a:rPr>
              <a:t>Add</a:t>
            </a:r>
          </a:p>
        </p:txBody>
      </p:sp>
      <p:sp>
        <p:nvSpPr>
          <p:cNvPr id="411" name="TextBox 410">
            <a:extLst>
              <a:ext uri="{FF2B5EF4-FFF2-40B4-BE49-F238E27FC236}">
                <a16:creationId xmlns:a16="http://schemas.microsoft.com/office/drawing/2014/main" id="{038B9D5C-4EF3-414D-97D8-EB33CA1F6357}"/>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bg1"/>
                </a:solidFill>
              </a:rPr>
              <a:t>Input</a:t>
            </a:r>
          </a:p>
        </p:txBody>
      </p:sp>
      <p:sp>
        <p:nvSpPr>
          <p:cNvPr id="413" name="TextBox 412">
            <a:extLst>
              <a:ext uri="{FF2B5EF4-FFF2-40B4-BE49-F238E27FC236}">
                <a16:creationId xmlns:a16="http://schemas.microsoft.com/office/drawing/2014/main" id="{C47B2501-DEF0-485E-9DC7-635935BAA2E2}"/>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bg1"/>
                </a:solidFill>
              </a:rPr>
              <a:t>Contact </a:t>
            </a:r>
          </a:p>
          <a:p>
            <a:pPr algn="ctr"/>
            <a:r>
              <a:rPr lang="en-US" sz="800">
                <a:solidFill>
                  <a:schemeClr val="bg1"/>
                </a:solidFill>
              </a:rPr>
              <a:t>email alt</a:t>
            </a:r>
          </a:p>
        </p:txBody>
      </p:sp>
      <p:sp>
        <p:nvSpPr>
          <p:cNvPr id="415" name="TextBox 414">
            <a:extLst>
              <a:ext uri="{FF2B5EF4-FFF2-40B4-BE49-F238E27FC236}">
                <a16:creationId xmlns:a16="http://schemas.microsoft.com/office/drawing/2014/main" id="{277328AC-2E13-4879-B539-87781F9467D9}"/>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bg1"/>
                </a:solidFill>
              </a:rPr>
              <a:t>Ease </a:t>
            </a:r>
          </a:p>
          <a:p>
            <a:pPr algn="ctr"/>
            <a:r>
              <a:rPr lang="en-US" sz="800">
                <a:solidFill>
                  <a:schemeClr val="bg1"/>
                </a:solidFill>
              </a:rPr>
              <a:t>of use</a:t>
            </a:r>
          </a:p>
        </p:txBody>
      </p:sp>
      <p:sp>
        <p:nvSpPr>
          <p:cNvPr id="417" name="TextBox 416">
            <a:extLst>
              <a:ext uri="{FF2B5EF4-FFF2-40B4-BE49-F238E27FC236}">
                <a16:creationId xmlns:a16="http://schemas.microsoft.com/office/drawing/2014/main" id="{5DB71552-F798-4CE8-8F5D-11ED55CED8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bg1"/>
                </a:solidFill>
              </a:rPr>
              <a:t>First-quote</a:t>
            </a:r>
          </a:p>
        </p:txBody>
      </p:sp>
      <p:sp>
        <p:nvSpPr>
          <p:cNvPr id="419" name="TextBox 418">
            <a:extLst>
              <a:ext uri="{FF2B5EF4-FFF2-40B4-BE49-F238E27FC236}">
                <a16:creationId xmlns:a16="http://schemas.microsoft.com/office/drawing/2014/main" id="{8F017A92-C891-4F09-81AE-0B07602332F1}"/>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bg1"/>
                </a:solidFill>
              </a:rPr>
              <a:t>Big scale</a:t>
            </a:r>
          </a:p>
        </p:txBody>
      </p:sp>
      <p:sp>
        <p:nvSpPr>
          <p:cNvPr id="421" name="TextBox 420">
            <a:extLst>
              <a:ext uri="{FF2B5EF4-FFF2-40B4-BE49-F238E27FC236}">
                <a16:creationId xmlns:a16="http://schemas.microsoft.com/office/drawing/2014/main" id="{BE80C217-590F-4866-AB75-5D2EF5680C9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bg1"/>
                </a:solidFill>
              </a:rPr>
              <a:t>Alert </a:t>
            </a:r>
          </a:p>
          <a:p>
            <a:pPr algn="ctr"/>
            <a:r>
              <a:rPr lang="en-US" sz="800">
                <a:solidFill>
                  <a:schemeClr val="bg1"/>
                </a:solidFill>
              </a:rPr>
              <a:t>Alarm</a:t>
            </a:r>
          </a:p>
        </p:txBody>
      </p:sp>
      <p:sp>
        <p:nvSpPr>
          <p:cNvPr id="423" name="TextBox 422">
            <a:extLst>
              <a:ext uri="{FF2B5EF4-FFF2-40B4-BE49-F238E27FC236}">
                <a16:creationId xmlns:a16="http://schemas.microsoft.com/office/drawing/2014/main" id="{93BF7EB0-604B-428B-A5D3-36F01291DB67}"/>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bg1"/>
                </a:solidFill>
              </a:rPr>
              <a:t>Leader</a:t>
            </a:r>
          </a:p>
        </p:txBody>
      </p:sp>
      <p:sp>
        <p:nvSpPr>
          <p:cNvPr id="425" name="TextBox 424">
            <a:extLst>
              <a:ext uri="{FF2B5EF4-FFF2-40B4-BE49-F238E27FC236}">
                <a16:creationId xmlns:a16="http://schemas.microsoft.com/office/drawing/2014/main" id="{6620A372-13FD-482E-8BF9-37C5DE45EAA3}"/>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bg1"/>
                </a:solidFill>
              </a:rPr>
              <a:t>Cost high</a:t>
            </a:r>
          </a:p>
        </p:txBody>
      </p:sp>
      <p:sp>
        <p:nvSpPr>
          <p:cNvPr id="427" name="TextBox 426">
            <a:extLst>
              <a:ext uri="{FF2B5EF4-FFF2-40B4-BE49-F238E27FC236}">
                <a16:creationId xmlns:a16="http://schemas.microsoft.com/office/drawing/2014/main" id="{351204F3-F0CD-4DFC-9DBB-ACA0F810EC8A}"/>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bg1"/>
                </a:solidFill>
              </a:rPr>
              <a:t>Edit</a:t>
            </a:r>
          </a:p>
        </p:txBody>
      </p:sp>
      <p:sp>
        <p:nvSpPr>
          <p:cNvPr id="429" name="TextBox 428">
            <a:extLst>
              <a:ext uri="{FF2B5EF4-FFF2-40B4-BE49-F238E27FC236}">
                <a16:creationId xmlns:a16="http://schemas.microsoft.com/office/drawing/2014/main" id="{E91D9B54-7E28-44B3-B020-2A65D044E175}"/>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a:solidFill>
                  <a:schemeClr val="bg1"/>
                </a:solidFill>
              </a:rPr>
              <a:t>Flexibility</a:t>
            </a:r>
          </a:p>
        </p:txBody>
      </p:sp>
      <p:sp>
        <p:nvSpPr>
          <p:cNvPr id="431" name="TextBox 430">
            <a:extLst>
              <a:ext uri="{FF2B5EF4-FFF2-40B4-BE49-F238E27FC236}">
                <a16:creationId xmlns:a16="http://schemas.microsoft.com/office/drawing/2014/main" id="{AD643864-9FF4-4A8C-8CB1-B7BCFBE3E250}"/>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bg1"/>
                </a:solidFill>
              </a:rPr>
              <a:t>Business partner-up</a:t>
            </a:r>
          </a:p>
        </p:txBody>
      </p:sp>
      <p:sp>
        <p:nvSpPr>
          <p:cNvPr id="433" name="TextBox 432">
            <a:extLst>
              <a:ext uri="{FF2B5EF4-FFF2-40B4-BE49-F238E27FC236}">
                <a16:creationId xmlns:a16="http://schemas.microsoft.com/office/drawing/2014/main" id="{BCEF4B94-E763-4437-AB2C-BD2227611692}"/>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a:solidFill>
                  <a:schemeClr val="bg1"/>
                </a:solidFill>
              </a:rPr>
              <a:t>App-3rd-party</a:t>
            </a:r>
          </a:p>
        </p:txBody>
      </p:sp>
      <p:sp>
        <p:nvSpPr>
          <p:cNvPr id="435" name="TextBox 434">
            <a:extLst>
              <a:ext uri="{FF2B5EF4-FFF2-40B4-BE49-F238E27FC236}">
                <a16:creationId xmlns:a16="http://schemas.microsoft.com/office/drawing/2014/main" id="{3C4FC071-C9F6-41EB-9D2C-063F8ABDB1B6}"/>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a:solidFill>
                  <a:schemeClr val="bg1"/>
                </a:solidFill>
              </a:rPr>
              <a:t>Link alt</a:t>
            </a:r>
          </a:p>
        </p:txBody>
      </p:sp>
      <p:sp>
        <p:nvSpPr>
          <p:cNvPr id="437" name="TextBox 436">
            <a:extLst>
              <a:ext uri="{FF2B5EF4-FFF2-40B4-BE49-F238E27FC236}">
                <a16:creationId xmlns:a16="http://schemas.microsoft.com/office/drawing/2014/main" id="{BEAF721F-5FC3-4CC6-8583-4C6AC3963D30}"/>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bg1"/>
                </a:solidFill>
              </a:rPr>
              <a:t>Corporation</a:t>
            </a:r>
          </a:p>
        </p:txBody>
      </p:sp>
      <p:sp>
        <p:nvSpPr>
          <p:cNvPr id="439" name="TextBox 438">
            <a:extLst>
              <a:ext uri="{FF2B5EF4-FFF2-40B4-BE49-F238E27FC236}">
                <a16:creationId xmlns:a16="http://schemas.microsoft.com/office/drawing/2014/main" id="{44533EA0-9DAF-4773-AF82-B9B6C1AC9304}"/>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bg1"/>
                </a:solidFill>
              </a:rPr>
              <a:t>Ecosystem</a:t>
            </a:r>
          </a:p>
        </p:txBody>
      </p:sp>
      <p:sp>
        <p:nvSpPr>
          <p:cNvPr id="441" name="TextBox 440">
            <a:extLst>
              <a:ext uri="{FF2B5EF4-FFF2-40B4-BE49-F238E27FC236}">
                <a16:creationId xmlns:a16="http://schemas.microsoft.com/office/drawing/2014/main" id="{152E9F76-F332-48D5-83D5-B75ED947C883}"/>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bg1"/>
                </a:solidFill>
              </a:rPr>
              <a:t>First-reply-</a:t>
            </a:r>
          </a:p>
          <a:p>
            <a:pPr algn="ctr"/>
            <a:r>
              <a:rPr lang="en-US" sz="800">
                <a:solidFill>
                  <a:schemeClr val="bg1"/>
                </a:solidFill>
              </a:rPr>
              <a:t>by-email</a:t>
            </a:r>
          </a:p>
        </p:txBody>
      </p:sp>
      <p:sp>
        <p:nvSpPr>
          <p:cNvPr id="443" name="TextBox 442">
            <a:extLst>
              <a:ext uri="{FF2B5EF4-FFF2-40B4-BE49-F238E27FC236}">
                <a16:creationId xmlns:a16="http://schemas.microsoft.com/office/drawing/2014/main" id="{F2A3B974-746B-4A03-AFD2-5B8FBA526BF8}"/>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bg1"/>
                </a:solidFill>
              </a:rPr>
              <a:t>Bookmark</a:t>
            </a:r>
          </a:p>
        </p:txBody>
      </p:sp>
      <p:sp>
        <p:nvSpPr>
          <p:cNvPr id="445" name="TextBox 444">
            <a:extLst>
              <a:ext uri="{FF2B5EF4-FFF2-40B4-BE49-F238E27FC236}">
                <a16:creationId xmlns:a16="http://schemas.microsoft.com/office/drawing/2014/main" id="{8D5ECFC4-704C-4A8C-9DF3-942A637E9B12}"/>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bg1"/>
                </a:solidFill>
              </a:rPr>
              <a:t>Anniversary</a:t>
            </a:r>
          </a:p>
        </p:txBody>
      </p:sp>
      <p:sp>
        <p:nvSpPr>
          <p:cNvPr id="447" name="TextBox 446">
            <a:extLst>
              <a:ext uri="{FF2B5EF4-FFF2-40B4-BE49-F238E27FC236}">
                <a16:creationId xmlns:a16="http://schemas.microsoft.com/office/drawing/2014/main" id="{49DCB5EE-583E-463F-AB92-D7BA788107E3}"/>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a:solidFill>
                  <a:schemeClr val="bg1"/>
                </a:solidFill>
              </a:rPr>
              <a:t>Link</a:t>
            </a:r>
          </a:p>
        </p:txBody>
      </p:sp>
      <p:sp>
        <p:nvSpPr>
          <p:cNvPr id="449" name="TextBox 448">
            <a:extLst>
              <a:ext uri="{FF2B5EF4-FFF2-40B4-BE49-F238E27FC236}">
                <a16:creationId xmlns:a16="http://schemas.microsoft.com/office/drawing/2014/main" id="{872A9E9E-223F-41CD-8EB4-BDB4D0F70240}"/>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a:solidFill>
                  <a:schemeClr val="bg1"/>
                </a:solidFill>
              </a:rPr>
              <a:t>Course-advanced</a:t>
            </a:r>
          </a:p>
        </p:txBody>
      </p:sp>
      <p:sp>
        <p:nvSpPr>
          <p:cNvPr id="451" name="TextBox 450">
            <a:extLst>
              <a:ext uri="{FF2B5EF4-FFF2-40B4-BE49-F238E27FC236}">
                <a16:creationId xmlns:a16="http://schemas.microsoft.com/office/drawing/2014/main" id="{9155E6CB-64DE-46B8-A8DB-3D4C72FADCFF}"/>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a:solidFill>
                  <a:schemeClr val="bg1"/>
                </a:solidFill>
              </a:rPr>
              <a:t>Enterprise competency</a:t>
            </a:r>
          </a:p>
        </p:txBody>
      </p:sp>
      <p:sp>
        <p:nvSpPr>
          <p:cNvPr id="453" name="TextBox 452">
            <a:extLst>
              <a:ext uri="{FF2B5EF4-FFF2-40B4-BE49-F238E27FC236}">
                <a16:creationId xmlns:a16="http://schemas.microsoft.com/office/drawing/2014/main" id="{0B4FAC28-771A-4CA8-8DE5-E0230A54992F}"/>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a:solidFill>
                  <a:schemeClr val="bg1"/>
                </a:solidFill>
              </a:rPr>
              <a:t>Group </a:t>
            </a:r>
          </a:p>
          <a:p>
            <a:pPr algn="ctr"/>
            <a:r>
              <a:rPr lang="en-US" sz="800">
                <a:solidFill>
                  <a:schemeClr val="bg1"/>
                </a:solidFill>
              </a:rPr>
              <a:t>of users</a:t>
            </a:r>
          </a:p>
        </p:txBody>
      </p:sp>
      <p:sp>
        <p:nvSpPr>
          <p:cNvPr id="455" name="TextBox 454">
            <a:extLst>
              <a:ext uri="{FF2B5EF4-FFF2-40B4-BE49-F238E27FC236}">
                <a16:creationId xmlns:a16="http://schemas.microsoft.com/office/drawing/2014/main" id="{B7743FBA-C57C-4AD9-8354-59144CB360A0}"/>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a:solidFill>
                  <a:schemeClr val="bg1"/>
                </a:solidFill>
              </a:rPr>
              <a:t>Business partner alt 2</a:t>
            </a:r>
          </a:p>
        </p:txBody>
      </p:sp>
      <p:sp>
        <p:nvSpPr>
          <p:cNvPr id="457" name="TextBox 456">
            <a:extLst>
              <a:ext uri="{FF2B5EF4-FFF2-40B4-BE49-F238E27FC236}">
                <a16:creationId xmlns:a16="http://schemas.microsoft.com/office/drawing/2014/main" id="{F0B55C7F-1169-48C1-B64C-0EEC8FE8E590}"/>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a:solidFill>
                  <a:schemeClr val="bg1"/>
                </a:solidFill>
              </a:rPr>
              <a:t>App-3rd-party  3</a:t>
            </a:r>
          </a:p>
        </p:txBody>
      </p:sp>
      <p:sp>
        <p:nvSpPr>
          <p:cNvPr id="459" name="TextBox 458">
            <a:extLst>
              <a:ext uri="{FF2B5EF4-FFF2-40B4-BE49-F238E27FC236}">
                <a16:creationId xmlns:a16="http://schemas.microsoft.com/office/drawing/2014/main" id="{25DCE611-6B45-49DB-8496-04DC98F8F103}"/>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bg1"/>
                </a:solidFill>
              </a:rPr>
              <a:t>Light bulb</a:t>
            </a:r>
          </a:p>
        </p:txBody>
      </p:sp>
      <p:sp>
        <p:nvSpPr>
          <p:cNvPr id="461" name="TextBox 460">
            <a:extLst>
              <a:ext uri="{FF2B5EF4-FFF2-40B4-BE49-F238E27FC236}">
                <a16:creationId xmlns:a16="http://schemas.microsoft.com/office/drawing/2014/main" id="{4BE5FBF7-CE27-4403-A481-86EC9E22585A}"/>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a:solidFill>
                  <a:schemeClr val="bg1"/>
                </a:solidFill>
              </a:rPr>
              <a:t>Emoji</a:t>
            </a:r>
          </a:p>
        </p:txBody>
      </p:sp>
      <p:sp>
        <p:nvSpPr>
          <p:cNvPr id="463" name="TextBox 462">
            <a:extLst>
              <a:ext uri="{FF2B5EF4-FFF2-40B4-BE49-F238E27FC236}">
                <a16:creationId xmlns:a16="http://schemas.microsoft.com/office/drawing/2014/main" id="{7FCB3897-8EA2-4241-A06D-7E7D1169656F}"/>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 alt</a:t>
            </a:r>
          </a:p>
        </p:txBody>
      </p:sp>
      <p:sp>
        <p:nvSpPr>
          <p:cNvPr id="2" name="Title 1">
            <a:extLst>
              <a:ext uri="{FF2B5EF4-FFF2-40B4-BE49-F238E27FC236}">
                <a16:creationId xmlns:a16="http://schemas.microsoft.com/office/drawing/2014/main" id="{26CE4BE1-6651-4527-A1D9-1648C976CC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41813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Icons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7B0019-D30C-4B94-87CD-554B877C691D}"/>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18" name="TextBox 17">
            <a:extLst>
              <a:ext uri="{FF2B5EF4-FFF2-40B4-BE49-F238E27FC236}">
                <a16:creationId xmlns:a16="http://schemas.microsoft.com/office/drawing/2014/main" id="{90CF7BEC-2ABE-4EF6-A184-360BC0F0353C}"/>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champion</a:t>
            </a:r>
          </a:p>
        </p:txBody>
      </p:sp>
      <p:sp>
        <p:nvSpPr>
          <p:cNvPr id="20" name="TextBox 19">
            <a:extLst>
              <a:ext uri="{FF2B5EF4-FFF2-40B4-BE49-F238E27FC236}">
                <a16:creationId xmlns:a16="http://schemas.microsoft.com/office/drawing/2014/main" id="{39F87A46-2624-4F14-B15B-CF454F756CB1}"/>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solidFill>
                  <a:schemeClr val="bg1"/>
                </a:solidFill>
              </a:rPr>
              <a:t>Question and answer</a:t>
            </a:r>
          </a:p>
        </p:txBody>
      </p:sp>
      <p:sp>
        <p:nvSpPr>
          <p:cNvPr id="22" name="TextBox 21">
            <a:extLst>
              <a:ext uri="{FF2B5EF4-FFF2-40B4-BE49-F238E27FC236}">
                <a16:creationId xmlns:a16="http://schemas.microsoft.com/office/drawing/2014/main" id="{780E9DC0-3B87-4641-BEC8-B6B9077757A8}"/>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solidFill>
                  <a:schemeClr val="bg1"/>
                </a:solidFill>
              </a:rPr>
              <a:t>Question and answer 2</a:t>
            </a:r>
          </a:p>
        </p:txBody>
      </p:sp>
      <p:sp>
        <p:nvSpPr>
          <p:cNvPr id="24" name="TextBox 23">
            <a:extLst>
              <a:ext uri="{FF2B5EF4-FFF2-40B4-BE49-F238E27FC236}">
                <a16:creationId xmlns:a16="http://schemas.microsoft.com/office/drawing/2014/main" id="{763A8086-34B3-44A6-9D68-24F07695DFD1}"/>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solidFill>
                  <a:schemeClr val="bg1"/>
                </a:solidFill>
              </a:rPr>
              <a:t>Ramp up</a:t>
            </a:r>
          </a:p>
        </p:txBody>
      </p:sp>
      <p:sp>
        <p:nvSpPr>
          <p:cNvPr id="25" name="TextBox 24">
            <a:extLst>
              <a:ext uri="{FF2B5EF4-FFF2-40B4-BE49-F238E27FC236}">
                <a16:creationId xmlns:a16="http://schemas.microsoft.com/office/drawing/2014/main" id="{01D88B68-108F-4A1A-A364-E3582FDD14C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solidFill>
                  <a:schemeClr val="bg1"/>
                </a:solidFill>
              </a:rPr>
              <a:t>Ramp up alt</a:t>
            </a:r>
          </a:p>
        </p:txBody>
      </p:sp>
      <p:sp>
        <p:nvSpPr>
          <p:cNvPr id="27" name="TextBox 26">
            <a:extLst>
              <a:ext uri="{FF2B5EF4-FFF2-40B4-BE49-F238E27FC236}">
                <a16:creationId xmlns:a16="http://schemas.microsoft.com/office/drawing/2014/main" id="{A04CD87A-5EA0-4344-90B8-4D8A53FF99FE}"/>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solidFill>
                  <a:schemeClr val="bg1"/>
                </a:solidFill>
              </a:rPr>
              <a:t>Read guidelines</a:t>
            </a:r>
          </a:p>
        </p:txBody>
      </p:sp>
      <p:sp>
        <p:nvSpPr>
          <p:cNvPr id="29" name="TextBox 28">
            <a:extLst>
              <a:ext uri="{FF2B5EF4-FFF2-40B4-BE49-F238E27FC236}">
                <a16:creationId xmlns:a16="http://schemas.microsoft.com/office/drawing/2014/main" id="{9F711ED1-7950-46AE-BD91-DA71677ECB0C}"/>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solidFill>
                  <a:schemeClr val="bg1"/>
                </a:solidFill>
              </a:rPr>
              <a:t>Reply</a:t>
            </a:r>
          </a:p>
        </p:txBody>
      </p:sp>
      <p:sp>
        <p:nvSpPr>
          <p:cNvPr id="31" name="TextBox 30">
            <a:extLst>
              <a:ext uri="{FF2B5EF4-FFF2-40B4-BE49-F238E27FC236}">
                <a16:creationId xmlns:a16="http://schemas.microsoft.com/office/drawing/2014/main" id="{05E03A70-E7B9-4F4E-9B94-59F759BE79B2}"/>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solidFill>
                  <a:schemeClr val="bg1"/>
                </a:solidFill>
              </a:rPr>
              <a:t>Resource</a:t>
            </a:r>
          </a:p>
        </p:txBody>
      </p:sp>
      <p:sp>
        <p:nvSpPr>
          <p:cNvPr id="33" name="TextBox 32">
            <a:extLst>
              <a:ext uri="{FF2B5EF4-FFF2-40B4-BE49-F238E27FC236}">
                <a16:creationId xmlns:a16="http://schemas.microsoft.com/office/drawing/2014/main" id="{AA5B1D6A-D929-44AF-8958-C0D70F8CFA4C}"/>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solidFill>
                  <a:schemeClr val="bg1"/>
                </a:solidFill>
              </a:rPr>
              <a:t>Redesign</a:t>
            </a:r>
          </a:p>
        </p:txBody>
      </p:sp>
      <p:sp>
        <p:nvSpPr>
          <p:cNvPr id="34" name="TextBox 33">
            <a:extLst>
              <a:ext uri="{FF2B5EF4-FFF2-40B4-BE49-F238E27FC236}">
                <a16:creationId xmlns:a16="http://schemas.microsoft.com/office/drawing/2014/main" id="{BB90B05D-3E58-40E3-93DD-6F4A143282D3}"/>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solidFill>
                  <a:schemeClr val="bg1"/>
                </a:solidFill>
              </a:rPr>
              <a:t>Redesign alt</a:t>
            </a:r>
          </a:p>
        </p:txBody>
      </p:sp>
      <p:sp>
        <p:nvSpPr>
          <p:cNvPr id="35" name="TextBox 34">
            <a:extLst>
              <a:ext uri="{FF2B5EF4-FFF2-40B4-BE49-F238E27FC236}">
                <a16:creationId xmlns:a16="http://schemas.microsoft.com/office/drawing/2014/main" id="{C4C194D1-4ABA-4A5E-9DF6-2029CE6306C5}"/>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solidFill>
                  <a:schemeClr val="bg1"/>
                </a:solidFill>
              </a:rPr>
              <a:t>Refresh</a:t>
            </a:r>
          </a:p>
        </p:txBody>
      </p:sp>
      <p:sp>
        <p:nvSpPr>
          <p:cNvPr id="36" name="TextBox 35">
            <a:extLst>
              <a:ext uri="{FF2B5EF4-FFF2-40B4-BE49-F238E27FC236}">
                <a16:creationId xmlns:a16="http://schemas.microsoft.com/office/drawing/2014/main" id="{84916C4D-95A1-43CC-9904-49E2F6A0347E}"/>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solidFill>
                  <a:schemeClr val="bg1"/>
                </a:solidFill>
              </a:rPr>
              <a:t>Refresh 2</a:t>
            </a:r>
          </a:p>
        </p:txBody>
      </p:sp>
      <p:sp>
        <p:nvSpPr>
          <p:cNvPr id="37" name="TextBox 36">
            <a:extLst>
              <a:ext uri="{FF2B5EF4-FFF2-40B4-BE49-F238E27FC236}">
                <a16:creationId xmlns:a16="http://schemas.microsoft.com/office/drawing/2014/main" id="{18939518-D257-4BA9-AE37-437474BA51D1}"/>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solidFill>
                  <a:schemeClr val="bg1"/>
                </a:solidFill>
              </a:rPr>
              <a:t>Remove</a:t>
            </a:r>
          </a:p>
        </p:txBody>
      </p:sp>
      <p:sp>
        <p:nvSpPr>
          <p:cNvPr id="38" name="TextBox 37">
            <a:extLst>
              <a:ext uri="{FF2B5EF4-FFF2-40B4-BE49-F238E27FC236}">
                <a16:creationId xmlns:a16="http://schemas.microsoft.com/office/drawing/2014/main" id="{AE174C2A-BB96-4E19-975A-CC2E6385660C}"/>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solidFill>
                  <a:schemeClr val="bg1"/>
                </a:solidFill>
              </a:rPr>
              <a:t>Remove alt</a:t>
            </a:r>
          </a:p>
        </p:txBody>
      </p:sp>
      <p:sp>
        <p:nvSpPr>
          <p:cNvPr id="39" name="TextBox 38">
            <a:extLst>
              <a:ext uri="{FF2B5EF4-FFF2-40B4-BE49-F238E27FC236}">
                <a16:creationId xmlns:a16="http://schemas.microsoft.com/office/drawing/2014/main" id="{9517A348-5A5C-4D78-BE48-CF2F87D6468D}"/>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solidFill>
                  <a:schemeClr val="bg1"/>
                </a:solidFill>
              </a:rPr>
              <a:t>RPA business analyst</a:t>
            </a:r>
          </a:p>
        </p:txBody>
      </p:sp>
      <p:sp>
        <p:nvSpPr>
          <p:cNvPr id="41" name="TextBox 40">
            <a:extLst>
              <a:ext uri="{FF2B5EF4-FFF2-40B4-BE49-F238E27FC236}">
                <a16:creationId xmlns:a16="http://schemas.microsoft.com/office/drawing/2014/main" id="{5E213064-FE24-4481-923E-87C3CA7815CD}"/>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solidFill>
                  <a:schemeClr val="bg1"/>
                </a:solidFill>
              </a:rPr>
              <a:t>Reader</a:t>
            </a:r>
          </a:p>
        </p:txBody>
      </p:sp>
      <p:sp>
        <p:nvSpPr>
          <p:cNvPr id="43" name="TextBox 42">
            <a:extLst>
              <a:ext uri="{FF2B5EF4-FFF2-40B4-BE49-F238E27FC236}">
                <a16:creationId xmlns:a16="http://schemas.microsoft.com/office/drawing/2014/main" id="{2522F10D-83D1-4480-BC2B-C3FFBD3443A1}"/>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solidFill>
                  <a:schemeClr val="bg1"/>
                </a:solidFill>
              </a:rPr>
              <a:t>Solutions 2</a:t>
            </a:r>
          </a:p>
        </p:txBody>
      </p:sp>
      <p:sp>
        <p:nvSpPr>
          <p:cNvPr id="45" name="TextBox 44">
            <a:extLst>
              <a:ext uri="{FF2B5EF4-FFF2-40B4-BE49-F238E27FC236}">
                <a16:creationId xmlns:a16="http://schemas.microsoft.com/office/drawing/2014/main" id="{92AC8B25-FF1B-43CF-B3BA-9C0D657E17CE}"/>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developer</a:t>
            </a:r>
          </a:p>
        </p:txBody>
      </p:sp>
      <p:sp>
        <p:nvSpPr>
          <p:cNvPr id="47" name="TextBox 46">
            <a:extLst>
              <a:ext uri="{FF2B5EF4-FFF2-40B4-BE49-F238E27FC236}">
                <a16:creationId xmlns:a16="http://schemas.microsoft.com/office/drawing/2014/main" id="{AECEEDDB-2E54-4E30-A9F4-65C37AE1AE23}"/>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solidFill>
                  <a:schemeClr val="bg1"/>
                </a:solidFill>
              </a:rPr>
              <a:t>RPA infrastructure engineer</a:t>
            </a:r>
          </a:p>
        </p:txBody>
      </p:sp>
      <p:sp>
        <p:nvSpPr>
          <p:cNvPr id="49" name="TextBox 48">
            <a:extLst>
              <a:ext uri="{FF2B5EF4-FFF2-40B4-BE49-F238E27FC236}">
                <a16:creationId xmlns:a16="http://schemas.microsoft.com/office/drawing/2014/main" id="{B67306E7-458D-49A6-BBAC-933A18D63A55}"/>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solidFill>
                  <a:schemeClr val="bg1"/>
                </a:solidFill>
              </a:rPr>
              <a:t>RPA service support</a:t>
            </a:r>
          </a:p>
        </p:txBody>
      </p:sp>
      <p:sp>
        <p:nvSpPr>
          <p:cNvPr id="51" name="TextBox 50">
            <a:extLst>
              <a:ext uri="{FF2B5EF4-FFF2-40B4-BE49-F238E27FC236}">
                <a16:creationId xmlns:a16="http://schemas.microsoft.com/office/drawing/2014/main" id="{902D68D5-2AC1-4A82-9602-033F406E69FA}"/>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solidFill>
                  <a:schemeClr val="bg1"/>
                </a:solidFill>
              </a:rPr>
              <a:t>RPA solution architect</a:t>
            </a:r>
          </a:p>
        </p:txBody>
      </p:sp>
      <p:sp>
        <p:nvSpPr>
          <p:cNvPr id="53" name="TextBox 52">
            <a:extLst>
              <a:ext uri="{FF2B5EF4-FFF2-40B4-BE49-F238E27FC236}">
                <a16:creationId xmlns:a16="http://schemas.microsoft.com/office/drawing/2014/main" id="{5C82730C-D3AC-470F-A110-15092B022273}"/>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solidFill>
                  <a:schemeClr val="bg1"/>
                </a:solidFill>
              </a:rPr>
              <a:t>Satellite</a:t>
            </a:r>
          </a:p>
        </p:txBody>
      </p:sp>
      <p:sp>
        <p:nvSpPr>
          <p:cNvPr id="55" name="TextBox 54">
            <a:extLst>
              <a:ext uri="{FF2B5EF4-FFF2-40B4-BE49-F238E27FC236}">
                <a16:creationId xmlns:a16="http://schemas.microsoft.com/office/drawing/2014/main" id="{60C21AB4-BBA4-4650-A765-EA34F568644D}"/>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solidFill>
                  <a:schemeClr val="bg1"/>
                </a:solidFill>
              </a:rPr>
              <a:t>Share alt</a:t>
            </a:r>
          </a:p>
        </p:txBody>
      </p:sp>
      <p:sp>
        <p:nvSpPr>
          <p:cNvPr id="57" name="TextBox 56">
            <a:extLst>
              <a:ext uri="{FF2B5EF4-FFF2-40B4-BE49-F238E27FC236}">
                <a16:creationId xmlns:a16="http://schemas.microsoft.com/office/drawing/2014/main" id="{4C66B8EF-2125-451E-93D3-2428E1A7F8FF}"/>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solidFill>
                  <a:schemeClr val="bg1"/>
                </a:solidFill>
              </a:rPr>
              <a:t>Slideshow</a:t>
            </a:r>
          </a:p>
        </p:txBody>
      </p:sp>
      <p:sp>
        <p:nvSpPr>
          <p:cNvPr id="59" name="TextBox 58">
            <a:extLst>
              <a:ext uri="{FF2B5EF4-FFF2-40B4-BE49-F238E27FC236}">
                <a16:creationId xmlns:a16="http://schemas.microsoft.com/office/drawing/2014/main" id="{A0D34C36-2B96-493B-907C-B046F9B9E221}"/>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solidFill>
                  <a:schemeClr val="bg1"/>
                </a:solidFill>
              </a:rPr>
              <a:t>Seamless integration</a:t>
            </a:r>
          </a:p>
        </p:txBody>
      </p:sp>
      <p:sp>
        <p:nvSpPr>
          <p:cNvPr id="61" name="TextBox 60">
            <a:extLst>
              <a:ext uri="{FF2B5EF4-FFF2-40B4-BE49-F238E27FC236}">
                <a16:creationId xmlns:a16="http://schemas.microsoft.com/office/drawing/2014/main" id="{C4A80DA5-9586-4261-85DB-E9EC4412ABE8}"/>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solidFill>
                  <a:schemeClr val="bg1"/>
                </a:solidFill>
              </a:rPr>
              <a:t>Seamless integration alt</a:t>
            </a:r>
          </a:p>
        </p:txBody>
      </p:sp>
      <p:sp>
        <p:nvSpPr>
          <p:cNvPr id="63" name="TextBox 62">
            <a:extLst>
              <a:ext uri="{FF2B5EF4-FFF2-40B4-BE49-F238E27FC236}">
                <a16:creationId xmlns:a16="http://schemas.microsoft.com/office/drawing/2014/main" id="{4DA54841-3694-4B44-B428-0294041F5CCC}"/>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solidFill>
                  <a:schemeClr val="bg1"/>
                </a:solidFill>
              </a:rPr>
              <a:t>Search</a:t>
            </a:r>
          </a:p>
        </p:txBody>
      </p:sp>
      <p:sp>
        <p:nvSpPr>
          <p:cNvPr id="64" name="TextBox 63">
            <a:extLst>
              <a:ext uri="{FF2B5EF4-FFF2-40B4-BE49-F238E27FC236}">
                <a16:creationId xmlns:a16="http://schemas.microsoft.com/office/drawing/2014/main" id="{A8A21B57-3B9D-44D8-B259-EE052856F6A1}"/>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solidFill>
                  <a:schemeClr val="bg1"/>
                </a:solidFill>
              </a:rPr>
              <a:t>Secure </a:t>
            </a:r>
          </a:p>
          <a:p>
            <a:pPr algn="ctr"/>
            <a:r>
              <a:rPr lang="en-US" sz="800">
                <a:solidFill>
                  <a:schemeClr val="bg1"/>
                </a:solidFill>
              </a:rPr>
              <a:t>team collab</a:t>
            </a:r>
          </a:p>
        </p:txBody>
      </p:sp>
      <p:sp>
        <p:nvSpPr>
          <p:cNvPr id="65" name="TextBox 64">
            <a:extLst>
              <a:ext uri="{FF2B5EF4-FFF2-40B4-BE49-F238E27FC236}">
                <a16:creationId xmlns:a16="http://schemas.microsoft.com/office/drawing/2014/main" id="{46D658C5-DE66-49A9-9D7C-A9F26F42106D}"/>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solidFill>
                  <a:schemeClr val="bg1"/>
                </a:solidFill>
              </a:rPr>
              <a:t>Security</a:t>
            </a:r>
          </a:p>
        </p:txBody>
      </p:sp>
      <p:sp>
        <p:nvSpPr>
          <p:cNvPr id="67" name="TextBox 66">
            <a:extLst>
              <a:ext uri="{FF2B5EF4-FFF2-40B4-BE49-F238E27FC236}">
                <a16:creationId xmlns:a16="http://schemas.microsoft.com/office/drawing/2014/main" id="{01B6F18E-B252-42FE-83DD-4A8621AE8EA1}"/>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solidFill>
                  <a:schemeClr val="bg1"/>
                </a:solidFill>
              </a:rPr>
              <a:t>Share</a:t>
            </a:r>
          </a:p>
        </p:txBody>
      </p:sp>
      <p:sp>
        <p:nvSpPr>
          <p:cNvPr id="69" name="TextBox 68">
            <a:extLst>
              <a:ext uri="{FF2B5EF4-FFF2-40B4-BE49-F238E27FC236}">
                <a16:creationId xmlns:a16="http://schemas.microsoft.com/office/drawing/2014/main" id="{7B8A564C-73A6-4E1B-B0B2-E60A3875B23A}"/>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solidFill>
                  <a:schemeClr val="bg1"/>
                </a:solidFill>
              </a:rPr>
              <a:t>Solutions</a:t>
            </a:r>
          </a:p>
        </p:txBody>
      </p:sp>
      <p:sp>
        <p:nvSpPr>
          <p:cNvPr id="71" name="TextBox 70">
            <a:extLst>
              <a:ext uri="{FF2B5EF4-FFF2-40B4-BE49-F238E27FC236}">
                <a16:creationId xmlns:a16="http://schemas.microsoft.com/office/drawing/2014/main" id="{23322788-B0E8-4810-9F85-099E03294B34}"/>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sponsor</a:t>
            </a:r>
          </a:p>
        </p:txBody>
      </p:sp>
      <p:sp>
        <p:nvSpPr>
          <p:cNvPr id="73" name="TextBox 72">
            <a:extLst>
              <a:ext uri="{FF2B5EF4-FFF2-40B4-BE49-F238E27FC236}">
                <a16:creationId xmlns:a16="http://schemas.microsoft.com/office/drawing/2014/main" id="{D520B1DC-9673-453D-809A-04551CAA7DEB}"/>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solidFill>
                  <a:schemeClr val="bg1"/>
                </a:solidFill>
              </a:rPr>
              <a:t>Thank you</a:t>
            </a:r>
          </a:p>
        </p:txBody>
      </p:sp>
      <p:sp>
        <p:nvSpPr>
          <p:cNvPr id="75" name="TextBox 74">
            <a:extLst>
              <a:ext uri="{FF2B5EF4-FFF2-40B4-BE49-F238E27FC236}">
                <a16:creationId xmlns:a16="http://schemas.microsoft.com/office/drawing/2014/main" id="{560E4F95-46A1-4C63-B40C-8AF6F785075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solidFill>
                  <a:schemeClr val="bg1"/>
                </a:solidFill>
              </a:rPr>
              <a:t>Solutions alt</a:t>
            </a:r>
          </a:p>
        </p:txBody>
      </p:sp>
      <p:sp>
        <p:nvSpPr>
          <p:cNvPr id="77" name="TextBox 76">
            <a:extLst>
              <a:ext uri="{FF2B5EF4-FFF2-40B4-BE49-F238E27FC236}">
                <a16:creationId xmlns:a16="http://schemas.microsoft.com/office/drawing/2014/main" id="{F1584057-2144-400C-A3FB-CFF6BD8D7D8F}"/>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solidFill>
                  <a:schemeClr val="bg1"/>
                </a:solidFill>
              </a:rPr>
              <a:t>Speed</a:t>
            </a:r>
          </a:p>
        </p:txBody>
      </p:sp>
      <p:sp>
        <p:nvSpPr>
          <p:cNvPr id="79" name="TextBox 78">
            <a:extLst>
              <a:ext uri="{FF2B5EF4-FFF2-40B4-BE49-F238E27FC236}">
                <a16:creationId xmlns:a16="http://schemas.microsoft.com/office/drawing/2014/main" id="{7D991B7F-E7B6-4245-8A0B-1A4B6AD8287C}"/>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solidFill>
                  <a:schemeClr val="bg1"/>
                </a:solidFill>
              </a:rPr>
              <a:t>Stopwatch</a:t>
            </a:r>
          </a:p>
        </p:txBody>
      </p:sp>
      <p:sp>
        <p:nvSpPr>
          <p:cNvPr id="81" name="TextBox 80">
            <a:extLst>
              <a:ext uri="{FF2B5EF4-FFF2-40B4-BE49-F238E27FC236}">
                <a16:creationId xmlns:a16="http://schemas.microsoft.com/office/drawing/2014/main" id="{4AB04152-1628-4906-95CB-5201FFDED5AA}"/>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solidFill>
                  <a:schemeClr val="bg1"/>
                </a:solidFill>
              </a:rPr>
              <a:t>Stories</a:t>
            </a:r>
          </a:p>
        </p:txBody>
      </p:sp>
      <p:sp>
        <p:nvSpPr>
          <p:cNvPr id="83" name="TextBox 82">
            <a:extLst>
              <a:ext uri="{FF2B5EF4-FFF2-40B4-BE49-F238E27FC236}">
                <a16:creationId xmlns:a16="http://schemas.microsoft.com/office/drawing/2014/main" id="{3345DEDE-57AC-4564-88E4-728209D4D688}"/>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solidFill>
                  <a:schemeClr val="bg1"/>
                </a:solidFill>
              </a:rPr>
              <a:t>Success</a:t>
            </a:r>
          </a:p>
        </p:txBody>
      </p:sp>
      <p:sp>
        <p:nvSpPr>
          <p:cNvPr id="85" name="TextBox 84">
            <a:extLst>
              <a:ext uri="{FF2B5EF4-FFF2-40B4-BE49-F238E27FC236}">
                <a16:creationId xmlns:a16="http://schemas.microsoft.com/office/drawing/2014/main" id="{F99FC8D3-31C6-4006-BDED-1A10165E69B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2</a:t>
            </a:r>
          </a:p>
        </p:txBody>
      </p:sp>
      <p:sp>
        <p:nvSpPr>
          <p:cNvPr id="87" name="TextBox 86">
            <a:extLst>
              <a:ext uri="{FF2B5EF4-FFF2-40B4-BE49-F238E27FC236}">
                <a16:creationId xmlns:a16="http://schemas.microsoft.com/office/drawing/2014/main" id="{0EB8FC8D-0A79-4319-9261-CD36B4ABB97D}"/>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3</a:t>
            </a:r>
          </a:p>
        </p:txBody>
      </p:sp>
      <p:sp>
        <p:nvSpPr>
          <p:cNvPr id="89" name="TextBox 88">
            <a:extLst>
              <a:ext uri="{FF2B5EF4-FFF2-40B4-BE49-F238E27FC236}">
                <a16:creationId xmlns:a16="http://schemas.microsoft.com/office/drawing/2014/main" id="{16B83C2F-B73D-4004-8DC2-17B0D1C49484}"/>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solidFill>
                  <a:schemeClr val="bg1"/>
                </a:solidFill>
              </a:rPr>
              <a:t>Support</a:t>
            </a:r>
          </a:p>
        </p:txBody>
      </p:sp>
      <p:sp>
        <p:nvSpPr>
          <p:cNvPr id="91" name="TextBox 90">
            <a:extLst>
              <a:ext uri="{FF2B5EF4-FFF2-40B4-BE49-F238E27FC236}">
                <a16:creationId xmlns:a16="http://schemas.microsoft.com/office/drawing/2014/main" id="{30196A34-1DAA-4E1C-BBDB-E2F5837A315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solidFill>
                  <a:schemeClr val="bg1"/>
                </a:solidFill>
              </a:rPr>
              <a:t>Survey</a:t>
            </a:r>
          </a:p>
        </p:txBody>
      </p:sp>
      <p:sp>
        <p:nvSpPr>
          <p:cNvPr id="93" name="TextBox 92">
            <a:extLst>
              <a:ext uri="{FF2B5EF4-FFF2-40B4-BE49-F238E27FC236}">
                <a16:creationId xmlns:a16="http://schemas.microsoft.com/office/drawing/2014/main" id="{0C514B26-407F-4715-BFD2-7CDDED791699}"/>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solidFill>
                  <a:schemeClr val="bg1"/>
                </a:solidFill>
              </a:rPr>
              <a:t>Tap Touch</a:t>
            </a:r>
          </a:p>
        </p:txBody>
      </p:sp>
      <p:sp>
        <p:nvSpPr>
          <p:cNvPr id="95" name="TextBox 94">
            <a:extLst>
              <a:ext uri="{FF2B5EF4-FFF2-40B4-BE49-F238E27FC236}">
                <a16:creationId xmlns:a16="http://schemas.microsoft.com/office/drawing/2014/main" id="{D95D0E53-FB20-4E57-B9AE-D44137D79D2C}"/>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solidFill>
                  <a:schemeClr val="bg1"/>
                </a:solidFill>
              </a:rPr>
              <a:t>Target</a:t>
            </a:r>
          </a:p>
        </p:txBody>
      </p:sp>
      <p:sp>
        <p:nvSpPr>
          <p:cNvPr id="97" name="TextBox 96">
            <a:extLst>
              <a:ext uri="{FF2B5EF4-FFF2-40B4-BE49-F238E27FC236}">
                <a16:creationId xmlns:a16="http://schemas.microsoft.com/office/drawing/2014/main" id="{512526B0-C75B-49BD-A318-2D3A5990D94A}"/>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solidFill>
                  <a:schemeClr val="bg1"/>
                </a:solidFill>
              </a:rPr>
              <a:t>Technology</a:t>
            </a:r>
          </a:p>
        </p:txBody>
      </p:sp>
      <p:sp>
        <p:nvSpPr>
          <p:cNvPr id="132" name="TextBox 131">
            <a:extLst>
              <a:ext uri="{FF2B5EF4-FFF2-40B4-BE49-F238E27FC236}">
                <a16:creationId xmlns:a16="http://schemas.microsoft.com/office/drawing/2014/main" id="{3E6A5E6B-F338-4C46-AF63-8A5DF28B0486}"/>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solidFill>
                  <a:schemeClr val="bg1"/>
                </a:solidFill>
              </a:rPr>
              <a:t>Technology </a:t>
            </a:r>
          </a:p>
          <a:p>
            <a:pPr algn="ctr"/>
            <a:r>
              <a:rPr lang="en-US" sz="800">
                <a:solidFill>
                  <a:schemeClr val="bg1"/>
                </a:solidFill>
              </a:rPr>
              <a:t>alt</a:t>
            </a:r>
          </a:p>
        </p:txBody>
      </p:sp>
      <p:sp>
        <p:nvSpPr>
          <p:cNvPr id="134" name="TextBox 133">
            <a:extLst>
              <a:ext uri="{FF2B5EF4-FFF2-40B4-BE49-F238E27FC236}">
                <a16:creationId xmlns:a16="http://schemas.microsoft.com/office/drawing/2014/main" id="{0DCCDCF5-E8D7-4E41-BEC8-0334D020EFFA}"/>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solidFill>
                  <a:schemeClr val="bg1"/>
                </a:solidFill>
              </a:rPr>
              <a:t>Tent</a:t>
            </a:r>
          </a:p>
        </p:txBody>
      </p:sp>
      <p:sp>
        <p:nvSpPr>
          <p:cNvPr id="136" name="TextBox 135">
            <a:extLst>
              <a:ext uri="{FF2B5EF4-FFF2-40B4-BE49-F238E27FC236}">
                <a16:creationId xmlns:a16="http://schemas.microsoft.com/office/drawing/2014/main" id="{21BFBAFB-C564-42F2-B053-F6DCF22C9194}"/>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solidFill>
                  <a:schemeClr val="bg1"/>
                </a:solidFill>
              </a:rPr>
              <a:t>Student</a:t>
            </a:r>
          </a:p>
        </p:txBody>
      </p:sp>
      <p:sp>
        <p:nvSpPr>
          <p:cNvPr id="138" name="TextBox 137">
            <a:extLst>
              <a:ext uri="{FF2B5EF4-FFF2-40B4-BE49-F238E27FC236}">
                <a16:creationId xmlns:a16="http://schemas.microsoft.com/office/drawing/2014/main" id="{1CBE3880-04C9-47AE-8296-7D814D2476F0}"/>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solidFill>
                  <a:schemeClr val="bg1"/>
                </a:solidFill>
              </a:rPr>
              <a:t>Time saver</a:t>
            </a:r>
          </a:p>
        </p:txBody>
      </p:sp>
      <p:sp>
        <p:nvSpPr>
          <p:cNvPr id="140" name="TextBox 139">
            <a:extLst>
              <a:ext uri="{FF2B5EF4-FFF2-40B4-BE49-F238E27FC236}">
                <a16:creationId xmlns:a16="http://schemas.microsoft.com/office/drawing/2014/main" id="{AEADC09C-0D4F-41A1-938E-4BA5DD932790}"/>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solidFill>
                  <a:schemeClr val="bg1"/>
                </a:solidFill>
              </a:rPr>
              <a:t>User</a:t>
            </a:r>
          </a:p>
        </p:txBody>
      </p:sp>
      <p:sp>
        <p:nvSpPr>
          <p:cNvPr id="142" name="TextBox 141">
            <a:extLst>
              <a:ext uri="{FF2B5EF4-FFF2-40B4-BE49-F238E27FC236}">
                <a16:creationId xmlns:a16="http://schemas.microsoft.com/office/drawing/2014/main" id="{C2BF9C2F-2C11-4BE5-9679-7ED3B905BD95}"/>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solidFill>
                  <a:schemeClr val="bg1"/>
                </a:solidFill>
              </a:rPr>
              <a:t>User-OTM</a:t>
            </a:r>
          </a:p>
        </p:txBody>
      </p:sp>
      <p:sp>
        <p:nvSpPr>
          <p:cNvPr id="144" name="TextBox 143">
            <a:extLst>
              <a:ext uri="{FF2B5EF4-FFF2-40B4-BE49-F238E27FC236}">
                <a16:creationId xmlns:a16="http://schemas.microsoft.com/office/drawing/2014/main" id="{A2CCD9FD-B36B-4E9A-9E86-5FA76D828702}"/>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solidFill>
                  <a:schemeClr val="bg1"/>
                </a:solidFill>
              </a:rPr>
              <a:t>Validate</a:t>
            </a:r>
          </a:p>
        </p:txBody>
      </p:sp>
      <p:sp>
        <p:nvSpPr>
          <p:cNvPr id="146" name="TextBox 145">
            <a:extLst>
              <a:ext uri="{FF2B5EF4-FFF2-40B4-BE49-F238E27FC236}">
                <a16:creationId xmlns:a16="http://schemas.microsoft.com/office/drawing/2014/main" id="{D27B6B10-EB62-41F8-A5E5-2132B65EF807}"/>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solidFill>
                  <a:schemeClr val="bg1"/>
                </a:solidFill>
              </a:rPr>
              <a:t>Vendor</a:t>
            </a:r>
          </a:p>
        </p:txBody>
      </p:sp>
      <p:sp>
        <p:nvSpPr>
          <p:cNvPr id="148" name="TextBox 147">
            <a:extLst>
              <a:ext uri="{FF2B5EF4-FFF2-40B4-BE49-F238E27FC236}">
                <a16:creationId xmlns:a16="http://schemas.microsoft.com/office/drawing/2014/main" id="{47237AC3-0089-46CF-8AB5-24E9AC06306C}"/>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solidFill>
                  <a:schemeClr val="bg1"/>
                </a:solidFill>
              </a:rPr>
              <a:t>Welcome</a:t>
            </a:r>
          </a:p>
        </p:txBody>
      </p:sp>
      <p:sp>
        <p:nvSpPr>
          <p:cNvPr id="150" name="TextBox 149">
            <a:extLst>
              <a:ext uri="{FF2B5EF4-FFF2-40B4-BE49-F238E27FC236}">
                <a16:creationId xmlns:a16="http://schemas.microsoft.com/office/drawing/2014/main" id="{11626867-B4FE-4CC2-B478-8953FA7E0F8F}"/>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solidFill>
                  <a:schemeClr val="bg1"/>
                </a:solidFill>
              </a:rPr>
              <a:t>Zoom in</a:t>
            </a:r>
          </a:p>
        </p:txBody>
      </p:sp>
      <p:sp>
        <p:nvSpPr>
          <p:cNvPr id="152" name="TextBox 151">
            <a:extLst>
              <a:ext uri="{FF2B5EF4-FFF2-40B4-BE49-F238E27FC236}">
                <a16:creationId xmlns:a16="http://schemas.microsoft.com/office/drawing/2014/main" id="{E54DA6C6-2A86-4E90-A670-8F55A2BE8EC3}"/>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solidFill>
                  <a:schemeClr val="bg1"/>
                </a:solidFill>
              </a:rPr>
              <a:t>Visibility off</a:t>
            </a:r>
          </a:p>
        </p:txBody>
      </p:sp>
      <p:sp>
        <p:nvSpPr>
          <p:cNvPr id="154" name="TextBox 153">
            <a:extLst>
              <a:ext uri="{FF2B5EF4-FFF2-40B4-BE49-F238E27FC236}">
                <a16:creationId xmlns:a16="http://schemas.microsoft.com/office/drawing/2014/main" id="{8B5A50D2-643E-444C-91AD-908719D83369}"/>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solidFill>
                  <a:schemeClr val="bg1"/>
                </a:solidFill>
              </a:rPr>
              <a:t>Visibility on</a:t>
            </a:r>
          </a:p>
        </p:txBody>
      </p:sp>
      <p:sp>
        <p:nvSpPr>
          <p:cNvPr id="156" name="TextBox 155">
            <a:extLst>
              <a:ext uri="{FF2B5EF4-FFF2-40B4-BE49-F238E27FC236}">
                <a16:creationId xmlns:a16="http://schemas.microsoft.com/office/drawing/2014/main" id="{B4EF8EA4-DD3B-49C3-BB80-D59E4635EC30}"/>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bg1"/>
                </a:solidFill>
              </a:rPr>
              <a:t>Warning</a:t>
            </a:r>
          </a:p>
        </p:txBody>
      </p:sp>
      <p:sp>
        <p:nvSpPr>
          <p:cNvPr id="158" name="TextBox 157">
            <a:extLst>
              <a:ext uri="{FF2B5EF4-FFF2-40B4-BE49-F238E27FC236}">
                <a16:creationId xmlns:a16="http://schemas.microsoft.com/office/drawing/2014/main" id="{7CC97ABF-8490-46A4-99AD-5DE36CE56F10}"/>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expert</a:t>
            </a:r>
          </a:p>
        </p:txBody>
      </p:sp>
      <p:sp>
        <p:nvSpPr>
          <p:cNvPr id="160" name="TextBox 159">
            <a:extLst>
              <a:ext uri="{FF2B5EF4-FFF2-40B4-BE49-F238E27FC236}">
                <a16:creationId xmlns:a16="http://schemas.microsoft.com/office/drawing/2014/main" id="{3848EC07-2C98-4BFC-8908-633AC4D09790}"/>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scraping</a:t>
            </a:r>
          </a:p>
        </p:txBody>
      </p:sp>
      <p:sp>
        <p:nvSpPr>
          <p:cNvPr id="162" name="TextBox 161">
            <a:extLst>
              <a:ext uri="{FF2B5EF4-FFF2-40B4-BE49-F238E27FC236}">
                <a16:creationId xmlns:a16="http://schemas.microsoft.com/office/drawing/2014/main" id="{1ACEBDC3-AAFD-453A-A449-A30BCDA7D302}"/>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testing</a:t>
            </a:r>
          </a:p>
        </p:txBody>
      </p:sp>
      <p:sp>
        <p:nvSpPr>
          <p:cNvPr id="164" name="TextBox 163">
            <a:extLst>
              <a:ext uri="{FF2B5EF4-FFF2-40B4-BE49-F238E27FC236}">
                <a16:creationId xmlns:a16="http://schemas.microsoft.com/office/drawing/2014/main" id="{4EB718B1-D19F-4956-A99B-00E654FCC9FD}"/>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solidFill>
                  <a:schemeClr val="bg1"/>
                </a:solidFill>
              </a:rPr>
              <a:t>Zoom out</a:t>
            </a:r>
          </a:p>
        </p:txBody>
      </p:sp>
      <p:sp>
        <p:nvSpPr>
          <p:cNvPr id="166" name="TextBox 165">
            <a:extLst>
              <a:ext uri="{FF2B5EF4-FFF2-40B4-BE49-F238E27FC236}">
                <a16:creationId xmlns:a16="http://schemas.microsoft.com/office/drawing/2014/main" id="{003C8875-E82C-44D5-AE45-3DA1CA41D21D}"/>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solidFill>
                  <a:schemeClr val="bg1"/>
                </a:solidFill>
              </a:rPr>
              <a:t>Vector </a:t>
            </a:r>
          </a:p>
          <a:p>
            <a:pPr algn="ctr"/>
            <a:r>
              <a:rPr lang="en-US" sz="800">
                <a:solidFill>
                  <a:schemeClr val="bg1"/>
                </a:solidFill>
              </a:rPr>
              <a:t>anchor</a:t>
            </a:r>
          </a:p>
        </p:txBody>
      </p:sp>
      <p:sp>
        <p:nvSpPr>
          <p:cNvPr id="168" name="TextBox 167">
            <a:extLst>
              <a:ext uri="{FF2B5EF4-FFF2-40B4-BE49-F238E27FC236}">
                <a16:creationId xmlns:a16="http://schemas.microsoft.com/office/drawing/2014/main" id="{7A4B47BD-0D93-4B99-B459-C2B7D07FCD7C}"/>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square</a:t>
            </a:r>
          </a:p>
        </p:txBody>
      </p:sp>
      <p:sp>
        <p:nvSpPr>
          <p:cNvPr id="170" name="TextBox 169">
            <a:extLst>
              <a:ext uri="{FF2B5EF4-FFF2-40B4-BE49-F238E27FC236}">
                <a16:creationId xmlns:a16="http://schemas.microsoft.com/office/drawing/2014/main" id="{DFC15D34-358D-4DEA-8E8D-C48B07C37AB8}"/>
              </a:ext>
            </a:extLst>
          </p:cNvPr>
          <p:cNvSpPr txBox="1"/>
          <p:nvPr userDrawn="1"/>
        </p:nvSpPr>
        <p:spPr>
          <a:xfrm>
            <a:off x="387912" y="1756657"/>
            <a:ext cx="709636" cy="338328"/>
          </a:xfrm>
          <a:prstGeom prst="rect">
            <a:avLst/>
          </a:prstGeom>
          <a:noFill/>
        </p:spPr>
        <p:txBody>
          <a:bodyPr wrap="square" lIns="0" rIns="0">
            <a:noAutofit/>
          </a:bodyPr>
          <a:lstStyle/>
          <a:p>
            <a:pPr algn="ctr"/>
            <a:r>
              <a:rPr lang="en-US" sz="800">
                <a:solidFill>
                  <a:schemeClr val="bg1"/>
                </a:solidFill>
              </a:rPr>
              <a:t>Location </a:t>
            </a:r>
          </a:p>
          <a:p>
            <a:pPr algn="ctr"/>
            <a:r>
              <a:rPr lang="en-US" sz="800">
                <a:solidFill>
                  <a:schemeClr val="bg1"/>
                </a:solidFill>
              </a:rPr>
              <a:t>pin</a:t>
            </a:r>
          </a:p>
        </p:txBody>
      </p:sp>
      <p:sp>
        <p:nvSpPr>
          <p:cNvPr id="172" name="TextBox 171">
            <a:extLst>
              <a:ext uri="{FF2B5EF4-FFF2-40B4-BE49-F238E27FC236}">
                <a16:creationId xmlns:a16="http://schemas.microsoft.com/office/drawing/2014/main" id="{87F72BE3-D534-4284-A70C-3BD278F6C1A4}"/>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solidFill>
                  <a:schemeClr val="bg1"/>
                </a:solidFill>
              </a:rPr>
              <a:t>Lock</a:t>
            </a:r>
          </a:p>
        </p:txBody>
      </p:sp>
      <p:sp>
        <p:nvSpPr>
          <p:cNvPr id="174" name="TextBox 173">
            <a:extLst>
              <a:ext uri="{FF2B5EF4-FFF2-40B4-BE49-F238E27FC236}">
                <a16:creationId xmlns:a16="http://schemas.microsoft.com/office/drawing/2014/main" id="{FEE01BD9-6139-4E0D-B922-67C867A9BDBE}"/>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solidFill>
                  <a:schemeClr val="bg1"/>
                </a:solidFill>
              </a:rPr>
              <a:t>Lock</a:t>
            </a:r>
          </a:p>
          <a:p>
            <a:pPr algn="ctr"/>
            <a:r>
              <a:rPr lang="en-US" sz="800">
                <a:solidFill>
                  <a:schemeClr val="bg1"/>
                </a:solidFill>
              </a:rPr>
              <a:t>open</a:t>
            </a:r>
          </a:p>
        </p:txBody>
      </p:sp>
      <p:sp>
        <p:nvSpPr>
          <p:cNvPr id="176" name="TextBox 175">
            <a:extLst>
              <a:ext uri="{FF2B5EF4-FFF2-40B4-BE49-F238E27FC236}">
                <a16:creationId xmlns:a16="http://schemas.microsoft.com/office/drawing/2014/main" id="{ADBCD4F3-C8FC-43A4-AAFF-D1488F9A259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solidFill>
                  <a:schemeClr val="bg1"/>
                </a:solidFill>
              </a:rPr>
              <a:t>Macro recording</a:t>
            </a:r>
          </a:p>
        </p:txBody>
      </p:sp>
      <p:sp>
        <p:nvSpPr>
          <p:cNvPr id="178" name="TextBox 177">
            <a:extLst>
              <a:ext uri="{FF2B5EF4-FFF2-40B4-BE49-F238E27FC236}">
                <a16:creationId xmlns:a16="http://schemas.microsoft.com/office/drawing/2014/main" id="{6710C5FD-8886-40FE-8C9A-B8D7DA353CA4}"/>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solidFill>
                  <a:schemeClr val="bg1"/>
                </a:solidFill>
              </a:rPr>
              <a:t>Managing</a:t>
            </a:r>
          </a:p>
        </p:txBody>
      </p:sp>
      <p:sp>
        <p:nvSpPr>
          <p:cNvPr id="180" name="TextBox 179">
            <a:extLst>
              <a:ext uri="{FF2B5EF4-FFF2-40B4-BE49-F238E27FC236}">
                <a16:creationId xmlns:a16="http://schemas.microsoft.com/office/drawing/2014/main" id="{07E21B9D-BD01-496C-A9DA-98E8D7B650A0}"/>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solidFill>
                  <a:schemeClr val="bg1"/>
                </a:solidFill>
              </a:rPr>
              <a:t>Mobile</a:t>
            </a:r>
          </a:p>
          <a:p>
            <a:pPr algn="ctr"/>
            <a:r>
              <a:rPr lang="en-US" sz="800">
                <a:solidFill>
                  <a:schemeClr val="bg1"/>
                </a:solidFill>
              </a:rPr>
              <a:t>device</a:t>
            </a:r>
          </a:p>
        </p:txBody>
      </p:sp>
      <p:sp>
        <p:nvSpPr>
          <p:cNvPr id="182" name="TextBox 181">
            <a:extLst>
              <a:ext uri="{FF2B5EF4-FFF2-40B4-BE49-F238E27FC236}">
                <a16:creationId xmlns:a16="http://schemas.microsoft.com/office/drawing/2014/main" id="{2D8B9542-7916-443E-B1A3-250CE6082D41}"/>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solidFill>
                  <a:schemeClr val="bg1"/>
                </a:solidFill>
              </a:rPr>
              <a:t>Money </a:t>
            </a:r>
          </a:p>
        </p:txBody>
      </p:sp>
      <p:sp>
        <p:nvSpPr>
          <p:cNvPr id="184" name="TextBox 183">
            <a:extLst>
              <a:ext uri="{FF2B5EF4-FFF2-40B4-BE49-F238E27FC236}">
                <a16:creationId xmlns:a16="http://schemas.microsoft.com/office/drawing/2014/main" id="{1DA33D66-306C-4341-B511-6EA3533FE605}"/>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solidFill>
                  <a:schemeClr val="bg1"/>
                </a:solidFill>
              </a:rPr>
              <a:t>Managing alt</a:t>
            </a:r>
          </a:p>
        </p:txBody>
      </p:sp>
      <p:sp>
        <p:nvSpPr>
          <p:cNvPr id="186" name="TextBox 185">
            <a:extLst>
              <a:ext uri="{FF2B5EF4-FFF2-40B4-BE49-F238E27FC236}">
                <a16:creationId xmlns:a16="http://schemas.microsoft.com/office/drawing/2014/main" id="{B0898FAB-686C-4280-A6D4-F5D12F028047}"/>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solidFill>
                  <a:schemeClr val="bg1"/>
                </a:solidFill>
              </a:rPr>
              <a:t>Map</a:t>
            </a:r>
          </a:p>
        </p:txBody>
      </p:sp>
      <p:sp>
        <p:nvSpPr>
          <p:cNvPr id="188" name="TextBox 187">
            <a:extLst>
              <a:ext uri="{FF2B5EF4-FFF2-40B4-BE49-F238E27FC236}">
                <a16:creationId xmlns:a16="http://schemas.microsoft.com/office/drawing/2014/main" id="{626A58BC-4A74-4B0B-9BDD-B20225A2AB4E}"/>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solidFill>
                  <a:schemeClr val="bg1"/>
                </a:solidFill>
              </a:rPr>
              <a:t>Map alt</a:t>
            </a:r>
          </a:p>
        </p:txBody>
      </p:sp>
      <p:sp>
        <p:nvSpPr>
          <p:cNvPr id="190" name="TextBox 189">
            <a:extLst>
              <a:ext uri="{FF2B5EF4-FFF2-40B4-BE49-F238E27FC236}">
                <a16:creationId xmlns:a16="http://schemas.microsoft.com/office/drawing/2014/main" id="{B9813E16-B767-4B6B-BE03-EC86A2401856}"/>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solidFill>
                  <a:schemeClr val="bg1"/>
                </a:solidFill>
              </a:rPr>
              <a:t>Map alt 2</a:t>
            </a:r>
          </a:p>
        </p:txBody>
      </p:sp>
      <p:sp>
        <p:nvSpPr>
          <p:cNvPr id="192" name="TextBox 191">
            <a:extLst>
              <a:ext uri="{FF2B5EF4-FFF2-40B4-BE49-F238E27FC236}">
                <a16:creationId xmlns:a16="http://schemas.microsoft.com/office/drawing/2014/main" id="{A6BF823C-A6F1-4E4F-AAA0-58396BB94E70}"/>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solidFill>
                  <a:schemeClr val="bg1"/>
                </a:solidFill>
              </a:rPr>
              <a:t>Media</a:t>
            </a:r>
          </a:p>
        </p:txBody>
      </p:sp>
      <p:sp>
        <p:nvSpPr>
          <p:cNvPr id="194" name="TextBox 193">
            <a:extLst>
              <a:ext uri="{FF2B5EF4-FFF2-40B4-BE49-F238E27FC236}">
                <a16:creationId xmlns:a16="http://schemas.microsoft.com/office/drawing/2014/main" id="{DD510BAC-608B-4F7C-A5A0-054A20957EAC}"/>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solidFill>
                  <a:schemeClr val="bg1"/>
                </a:solidFill>
              </a:rPr>
              <a:t>Mismatch</a:t>
            </a:r>
          </a:p>
        </p:txBody>
      </p:sp>
      <p:sp>
        <p:nvSpPr>
          <p:cNvPr id="196" name="TextBox 195">
            <a:extLst>
              <a:ext uri="{FF2B5EF4-FFF2-40B4-BE49-F238E27FC236}">
                <a16:creationId xmlns:a16="http://schemas.microsoft.com/office/drawing/2014/main" id="{D9E3D3D7-6725-4E37-9635-FC5B09249358}"/>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circle</a:t>
            </a:r>
          </a:p>
        </p:txBody>
      </p:sp>
      <p:sp>
        <p:nvSpPr>
          <p:cNvPr id="280" name="TextBox 279">
            <a:extLst>
              <a:ext uri="{FF2B5EF4-FFF2-40B4-BE49-F238E27FC236}">
                <a16:creationId xmlns:a16="http://schemas.microsoft.com/office/drawing/2014/main" id="{8B12A267-EBFE-40F7-816C-56D9CF3A6A4C}"/>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solidFill>
                  <a:schemeClr val="bg1"/>
                </a:solidFill>
              </a:rPr>
              <a:t>Manage documents</a:t>
            </a:r>
          </a:p>
        </p:txBody>
      </p:sp>
      <p:sp>
        <p:nvSpPr>
          <p:cNvPr id="282" name="TextBox 281">
            <a:extLst>
              <a:ext uri="{FF2B5EF4-FFF2-40B4-BE49-F238E27FC236}">
                <a16:creationId xmlns:a16="http://schemas.microsoft.com/office/drawing/2014/main" id="{8C781E9F-1076-49CA-BB35-8678770FE9E2}"/>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solidFill>
                  <a:schemeClr val="bg1"/>
                </a:solidFill>
              </a:rPr>
              <a:t>QA</a:t>
            </a:r>
          </a:p>
        </p:txBody>
      </p:sp>
      <p:sp>
        <p:nvSpPr>
          <p:cNvPr id="284" name="TextBox 283">
            <a:extLst>
              <a:ext uri="{FF2B5EF4-FFF2-40B4-BE49-F238E27FC236}">
                <a16:creationId xmlns:a16="http://schemas.microsoft.com/office/drawing/2014/main" id="{87AD569D-B8FC-4487-84C9-AE656107FC79}"/>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solidFill>
                  <a:schemeClr val="bg1"/>
                </a:solidFill>
              </a:rPr>
              <a:t>Monitoring</a:t>
            </a:r>
          </a:p>
        </p:txBody>
      </p:sp>
      <p:sp>
        <p:nvSpPr>
          <p:cNvPr id="286" name="TextBox 285">
            <a:extLst>
              <a:ext uri="{FF2B5EF4-FFF2-40B4-BE49-F238E27FC236}">
                <a16:creationId xmlns:a16="http://schemas.microsoft.com/office/drawing/2014/main" id="{BACCC718-E1BB-422E-849F-998C4DE74CEA}"/>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solidFill>
                  <a:schemeClr val="bg1"/>
                </a:solidFill>
              </a:rPr>
              <a:t>Monitoring alt</a:t>
            </a:r>
          </a:p>
        </p:txBody>
      </p:sp>
      <p:sp>
        <p:nvSpPr>
          <p:cNvPr id="288" name="TextBox 287">
            <a:extLst>
              <a:ext uri="{FF2B5EF4-FFF2-40B4-BE49-F238E27FC236}">
                <a16:creationId xmlns:a16="http://schemas.microsoft.com/office/drawing/2014/main" id="{A6FCE92B-D40F-4839-8CB0-E2AC188CC26F}"/>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solidFill>
                  <a:schemeClr val="bg1"/>
                </a:solidFill>
              </a:rPr>
              <a:t>Note</a:t>
            </a:r>
          </a:p>
        </p:txBody>
      </p:sp>
      <p:sp>
        <p:nvSpPr>
          <p:cNvPr id="290" name="TextBox 289">
            <a:extLst>
              <a:ext uri="{FF2B5EF4-FFF2-40B4-BE49-F238E27FC236}">
                <a16:creationId xmlns:a16="http://schemas.microsoft.com/office/drawing/2014/main" id="{A6C222AB-6D20-414D-9842-28E1ABAAD794}"/>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solidFill>
                  <a:schemeClr val="bg1"/>
                </a:solidFill>
              </a:rPr>
              <a:t>OCR</a:t>
            </a:r>
          </a:p>
        </p:txBody>
      </p:sp>
      <p:sp>
        <p:nvSpPr>
          <p:cNvPr id="292" name="TextBox 291">
            <a:extLst>
              <a:ext uri="{FF2B5EF4-FFF2-40B4-BE49-F238E27FC236}">
                <a16:creationId xmlns:a16="http://schemas.microsoft.com/office/drawing/2014/main" id="{F87B50F6-2F12-4815-92CF-AE2F27483131}"/>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solidFill>
                  <a:schemeClr val="bg1"/>
                </a:solidFill>
              </a:rPr>
              <a:t>Phone </a:t>
            </a:r>
          </a:p>
          <a:p>
            <a:pPr algn="ctr"/>
            <a:r>
              <a:rPr lang="en-US" sz="800">
                <a:solidFill>
                  <a:schemeClr val="bg1"/>
                </a:solidFill>
              </a:rPr>
              <a:t>call</a:t>
            </a:r>
          </a:p>
        </p:txBody>
      </p:sp>
      <p:sp>
        <p:nvSpPr>
          <p:cNvPr id="294" name="TextBox 293">
            <a:extLst>
              <a:ext uri="{FF2B5EF4-FFF2-40B4-BE49-F238E27FC236}">
                <a16:creationId xmlns:a16="http://schemas.microsoft.com/office/drawing/2014/main" id="{D1CB2122-73A8-4064-8D09-D7BE6E5D5C9E}"/>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solidFill>
                  <a:schemeClr val="bg1"/>
                </a:solidFill>
              </a:rPr>
              <a:t>Proof of concept</a:t>
            </a:r>
          </a:p>
        </p:txBody>
      </p:sp>
      <p:sp>
        <p:nvSpPr>
          <p:cNvPr id="296" name="TextBox 295">
            <a:extLst>
              <a:ext uri="{FF2B5EF4-FFF2-40B4-BE49-F238E27FC236}">
                <a16:creationId xmlns:a16="http://schemas.microsoft.com/office/drawing/2014/main" id="{A1C428B7-37E2-4CB8-BAB2-A06F67DC831A}"/>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solidFill>
                  <a:schemeClr val="bg1"/>
                </a:solidFill>
              </a:rPr>
              <a:t>Proof of concept 2</a:t>
            </a:r>
          </a:p>
        </p:txBody>
      </p:sp>
      <p:sp>
        <p:nvSpPr>
          <p:cNvPr id="298" name="TextBox 297">
            <a:extLst>
              <a:ext uri="{FF2B5EF4-FFF2-40B4-BE49-F238E27FC236}">
                <a16:creationId xmlns:a16="http://schemas.microsoft.com/office/drawing/2014/main" id="{5F61578E-78C4-4B2D-9AD7-E0AED486CB0F}"/>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solidFill>
                  <a:schemeClr val="bg1"/>
                </a:solidFill>
              </a:rPr>
              <a:t>Pivot</a:t>
            </a:r>
          </a:p>
        </p:txBody>
      </p:sp>
      <p:sp>
        <p:nvSpPr>
          <p:cNvPr id="300" name="TextBox 299">
            <a:extLst>
              <a:ext uri="{FF2B5EF4-FFF2-40B4-BE49-F238E27FC236}">
                <a16:creationId xmlns:a16="http://schemas.microsoft.com/office/drawing/2014/main" id="{62FA26B4-DED1-45C5-AD24-A088DF12A9C2}"/>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solidFill>
                  <a:schemeClr val="bg1"/>
                </a:solidFill>
              </a:rPr>
              <a:t>Plugin</a:t>
            </a:r>
          </a:p>
        </p:txBody>
      </p:sp>
      <p:sp>
        <p:nvSpPr>
          <p:cNvPr id="302" name="TextBox 301">
            <a:extLst>
              <a:ext uri="{FF2B5EF4-FFF2-40B4-BE49-F238E27FC236}">
                <a16:creationId xmlns:a16="http://schemas.microsoft.com/office/drawing/2014/main" id="{59579CF6-371E-4D6D-AEE6-B151B8789EB4}"/>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solidFill>
                  <a:schemeClr val="bg1"/>
                </a:solidFill>
              </a:rPr>
              <a:t>Process identification</a:t>
            </a:r>
          </a:p>
        </p:txBody>
      </p:sp>
      <p:sp>
        <p:nvSpPr>
          <p:cNvPr id="304" name="TextBox 303">
            <a:extLst>
              <a:ext uri="{FF2B5EF4-FFF2-40B4-BE49-F238E27FC236}">
                <a16:creationId xmlns:a16="http://schemas.microsoft.com/office/drawing/2014/main" id="{21CFD8E2-5605-4046-A0EB-ED006A0E0DB1}"/>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solidFill>
                  <a:schemeClr val="bg1"/>
                </a:solidFill>
              </a:rPr>
              <a:t>Process identification 2</a:t>
            </a:r>
          </a:p>
        </p:txBody>
      </p:sp>
      <p:sp>
        <p:nvSpPr>
          <p:cNvPr id="306" name="TextBox 305">
            <a:extLst>
              <a:ext uri="{FF2B5EF4-FFF2-40B4-BE49-F238E27FC236}">
                <a16:creationId xmlns:a16="http://schemas.microsoft.com/office/drawing/2014/main" id="{B1754DEB-2B82-418D-82D8-CB8E0EB41F2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26F11A8C-BB88-412C-B933-23AA36C9F2F7}"/>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solidFill>
                  <a:schemeClr val="bg1"/>
                </a:solidFill>
              </a:rPr>
              <a:t>Promoter bullhorn</a:t>
            </a:r>
          </a:p>
        </p:txBody>
      </p:sp>
      <p:sp>
        <p:nvSpPr>
          <p:cNvPr id="310" name="TextBox 309">
            <a:extLst>
              <a:ext uri="{FF2B5EF4-FFF2-40B4-BE49-F238E27FC236}">
                <a16:creationId xmlns:a16="http://schemas.microsoft.com/office/drawing/2014/main" id="{2D9CC8AD-B318-4429-8371-611D8CAE132B}"/>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solidFill>
                  <a:schemeClr val="bg1"/>
                </a:solidFill>
              </a:rPr>
              <a:t>Public </a:t>
            </a:r>
          </a:p>
          <a:p>
            <a:pPr algn="ctr"/>
            <a:r>
              <a:rPr lang="en-US" sz="800">
                <a:solidFill>
                  <a:schemeClr val="bg1"/>
                </a:solidFill>
              </a:rPr>
              <a:t>sector</a:t>
            </a:r>
          </a:p>
        </p:txBody>
      </p:sp>
      <p:sp>
        <p:nvSpPr>
          <p:cNvPr id="312" name="TextBox 311">
            <a:extLst>
              <a:ext uri="{FF2B5EF4-FFF2-40B4-BE49-F238E27FC236}">
                <a16:creationId xmlns:a16="http://schemas.microsoft.com/office/drawing/2014/main" id="{AE385186-759D-4797-A591-88E53792751C}"/>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solidFill>
                  <a:schemeClr val="bg1"/>
                </a:solidFill>
              </a:rPr>
              <a:t>OCR alt</a:t>
            </a:r>
          </a:p>
        </p:txBody>
      </p:sp>
      <p:sp>
        <p:nvSpPr>
          <p:cNvPr id="2" name="Title 1">
            <a:extLst>
              <a:ext uri="{FF2B5EF4-FFF2-40B4-BE49-F238E27FC236}">
                <a16:creationId xmlns:a16="http://schemas.microsoft.com/office/drawing/2014/main" id="{E2F83E11-7C8E-4BFE-9AF0-BB79D507B2B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5325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Icon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026C5A-1148-4A65-A2E6-87A142686441}"/>
              </a:ext>
            </a:extLst>
          </p:cNvPr>
          <p:cNvSpPr/>
          <p:nvPr userDrawn="1"/>
        </p:nvSpPr>
        <p:spPr>
          <a:xfrm>
            <a:off x="0" y="1143000"/>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 name="TextBox 3">
            <a:extLst>
              <a:ext uri="{FF2B5EF4-FFF2-40B4-BE49-F238E27FC236}">
                <a16:creationId xmlns:a16="http://schemas.microsoft.com/office/drawing/2014/main" id="{34735C1A-1459-487F-B7D7-404BA0480FFE}"/>
              </a:ext>
            </a:extLst>
          </p:cNvPr>
          <p:cNvSpPr txBox="1"/>
          <p:nvPr userDrawn="1"/>
        </p:nvSpPr>
        <p:spPr>
          <a:xfrm>
            <a:off x="440508"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6" name="TextBox 5">
            <a:extLst>
              <a:ext uri="{FF2B5EF4-FFF2-40B4-BE49-F238E27FC236}">
                <a16:creationId xmlns:a16="http://schemas.microsoft.com/office/drawing/2014/main" id="{4EAB2A13-7FE6-48D5-9361-839B1F913D0B}"/>
              </a:ext>
            </a:extLst>
          </p:cNvPr>
          <p:cNvSpPr txBox="1"/>
          <p:nvPr userDrawn="1"/>
        </p:nvSpPr>
        <p:spPr>
          <a:xfrm>
            <a:off x="1147053"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8" name="TextBox 7">
            <a:extLst>
              <a:ext uri="{FF2B5EF4-FFF2-40B4-BE49-F238E27FC236}">
                <a16:creationId xmlns:a16="http://schemas.microsoft.com/office/drawing/2014/main" id="{C241002E-AE5F-438D-9DB5-7BE0D2447496}"/>
              </a:ext>
            </a:extLst>
          </p:cNvPr>
          <p:cNvSpPr txBox="1"/>
          <p:nvPr userDrawn="1"/>
        </p:nvSpPr>
        <p:spPr>
          <a:xfrm>
            <a:off x="1853598"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9" name="TextBox 8">
            <a:extLst>
              <a:ext uri="{FF2B5EF4-FFF2-40B4-BE49-F238E27FC236}">
                <a16:creationId xmlns:a16="http://schemas.microsoft.com/office/drawing/2014/main" id="{366A7C67-43D3-4811-8C64-6740A8C77E72}"/>
              </a:ext>
            </a:extLst>
          </p:cNvPr>
          <p:cNvSpPr txBox="1"/>
          <p:nvPr userDrawn="1"/>
        </p:nvSpPr>
        <p:spPr>
          <a:xfrm>
            <a:off x="2560143"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10" name="TextBox 9">
            <a:extLst>
              <a:ext uri="{FF2B5EF4-FFF2-40B4-BE49-F238E27FC236}">
                <a16:creationId xmlns:a16="http://schemas.microsoft.com/office/drawing/2014/main" id="{8F995122-54A9-4FF5-80BF-827DEA5BD63C}"/>
              </a:ext>
            </a:extLst>
          </p:cNvPr>
          <p:cNvSpPr txBox="1"/>
          <p:nvPr userDrawn="1"/>
        </p:nvSpPr>
        <p:spPr>
          <a:xfrm>
            <a:off x="3266688"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12" name="TextBox 11">
            <a:extLst>
              <a:ext uri="{FF2B5EF4-FFF2-40B4-BE49-F238E27FC236}">
                <a16:creationId xmlns:a16="http://schemas.microsoft.com/office/drawing/2014/main" id="{EF237658-3743-4349-9D3A-F64B49456FFB}"/>
              </a:ext>
            </a:extLst>
          </p:cNvPr>
          <p:cNvSpPr txBox="1"/>
          <p:nvPr userDrawn="1"/>
        </p:nvSpPr>
        <p:spPr>
          <a:xfrm>
            <a:off x="3973233"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14" name="TextBox 13">
            <a:extLst>
              <a:ext uri="{FF2B5EF4-FFF2-40B4-BE49-F238E27FC236}">
                <a16:creationId xmlns:a16="http://schemas.microsoft.com/office/drawing/2014/main" id="{F3D45A5B-0395-453B-A8E3-7CB5154800EA}"/>
              </a:ext>
            </a:extLst>
          </p:cNvPr>
          <p:cNvSpPr txBox="1"/>
          <p:nvPr userDrawn="1"/>
        </p:nvSpPr>
        <p:spPr>
          <a:xfrm>
            <a:off x="4679778"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16" name="TextBox 15">
            <a:extLst>
              <a:ext uri="{FF2B5EF4-FFF2-40B4-BE49-F238E27FC236}">
                <a16:creationId xmlns:a16="http://schemas.microsoft.com/office/drawing/2014/main" id="{3A186D34-FDA7-4E20-807B-28BA06F5FC7D}"/>
              </a:ext>
            </a:extLst>
          </p:cNvPr>
          <p:cNvSpPr txBox="1"/>
          <p:nvPr userDrawn="1"/>
        </p:nvSpPr>
        <p:spPr>
          <a:xfrm>
            <a:off x="5386323"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18" name="TextBox 17">
            <a:extLst>
              <a:ext uri="{FF2B5EF4-FFF2-40B4-BE49-F238E27FC236}">
                <a16:creationId xmlns:a16="http://schemas.microsoft.com/office/drawing/2014/main" id="{BEE869D7-13A9-405D-BC63-717725A7AE66}"/>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0" name="TextBox 19">
            <a:extLst>
              <a:ext uri="{FF2B5EF4-FFF2-40B4-BE49-F238E27FC236}">
                <a16:creationId xmlns:a16="http://schemas.microsoft.com/office/drawing/2014/main" id="{83586A05-EBB5-425E-8FA2-6CDA1AA910BA}"/>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2" name="TextBox 21">
            <a:extLst>
              <a:ext uri="{FF2B5EF4-FFF2-40B4-BE49-F238E27FC236}">
                <a16:creationId xmlns:a16="http://schemas.microsoft.com/office/drawing/2014/main" id="{52D3B3AB-F9AF-4929-844A-F0598940116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 name="TextBox 23">
            <a:extLst>
              <a:ext uri="{FF2B5EF4-FFF2-40B4-BE49-F238E27FC236}">
                <a16:creationId xmlns:a16="http://schemas.microsoft.com/office/drawing/2014/main" id="{65C7AAFE-A53B-4BBE-BEAC-222BF94F9B9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6" name="TextBox 25">
            <a:extLst>
              <a:ext uri="{FF2B5EF4-FFF2-40B4-BE49-F238E27FC236}">
                <a16:creationId xmlns:a16="http://schemas.microsoft.com/office/drawing/2014/main" id="{5D645E55-7C1A-4830-85F9-43E1DBDFC48F}"/>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8" name="TextBox 27">
            <a:extLst>
              <a:ext uri="{FF2B5EF4-FFF2-40B4-BE49-F238E27FC236}">
                <a16:creationId xmlns:a16="http://schemas.microsoft.com/office/drawing/2014/main" id="{1CD59EBB-E444-4C1E-B9D5-971F2D28E120}"/>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30" name="TextBox 29">
            <a:extLst>
              <a:ext uri="{FF2B5EF4-FFF2-40B4-BE49-F238E27FC236}">
                <a16:creationId xmlns:a16="http://schemas.microsoft.com/office/drawing/2014/main" id="{40C6EC6E-4185-4BF7-8559-A4BF42C3F6C7}"/>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32" name="TextBox 31">
            <a:extLst>
              <a:ext uri="{FF2B5EF4-FFF2-40B4-BE49-F238E27FC236}">
                <a16:creationId xmlns:a16="http://schemas.microsoft.com/office/drawing/2014/main" id="{7047B854-7EDD-4D19-A957-8B334E1210D6}"/>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34" name="TextBox 33">
            <a:extLst>
              <a:ext uri="{FF2B5EF4-FFF2-40B4-BE49-F238E27FC236}">
                <a16:creationId xmlns:a16="http://schemas.microsoft.com/office/drawing/2014/main" id="{ADEE8021-E9E5-460F-84B0-5A4B52E44EC9}"/>
              </a:ext>
            </a:extLst>
          </p:cNvPr>
          <p:cNvSpPr txBox="1"/>
          <p:nvPr userDrawn="1"/>
        </p:nvSpPr>
        <p:spPr>
          <a:xfrm>
            <a:off x="440508"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36" name="TextBox 35">
            <a:extLst>
              <a:ext uri="{FF2B5EF4-FFF2-40B4-BE49-F238E27FC236}">
                <a16:creationId xmlns:a16="http://schemas.microsoft.com/office/drawing/2014/main" id="{94BBFC25-4898-440A-A476-B43161B78208}"/>
              </a:ext>
            </a:extLst>
          </p:cNvPr>
          <p:cNvSpPr txBox="1"/>
          <p:nvPr userDrawn="1"/>
        </p:nvSpPr>
        <p:spPr>
          <a:xfrm>
            <a:off x="1147053"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38" name="TextBox 37">
            <a:extLst>
              <a:ext uri="{FF2B5EF4-FFF2-40B4-BE49-F238E27FC236}">
                <a16:creationId xmlns:a16="http://schemas.microsoft.com/office/drawing/2014/main" id="{CA745A70-9984-47FA-AA05-88FFB4303870}"/>
              </a:ext>
            </a:extLst>
          </p:cNvPr>
          <p:cNvSpPr txBox="1"/>
          <p:nvPr userDrawn="1"/>
        </p:nvSpPr>
        <p:spPr>
          <a:xfrm>
            <a:off x="1853598"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40" name="TextBox 39">
            <a:extLst>
              <a:ext uri="{FF2B5EF4-FFF2-40B4-BE49-F238E27FC236}">
                <a16:creationId xmlns:a16="http://schemas.microsoft.com/office/drawing/2014/main" id="{762B05EC-9AC5-4D80-8563-C6D8703F992D}"/>
              </a:ext>
            </a:extLst>
          </p:cNvPr>
          <p:cNvSpPr txBox="1"/>
          <p:nvPr userDrawn="1"/>
        </p:nvSpPr>
        <p:spPr>
          <a:xfrm>
            <a:off x="2560143"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42" name="TextBox 41">
            <a:extLst>
              <a:ext uri="{FF2B5EF4-FFF2-40B4-BE49-F238E27FC236}">
                <a16:creationId xmlns:a16="http://schemas.microsoft.com/office/drawing/2014/main" id="{DA7BFF46-4653-4019-8ED0-8F2D35EE11E0}"/>
              </a:ext>
            </a:extLst>
          </p:cNvPr>
          <p:cNvSpPr txBox="1"/>
          <p:nvPr userDrawn="1"/>
        </p:nvSpPr>
        <p:spPr>
          <a:xfrm>
            <a:off x="3266688"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44" name="TextBox 43">
            <a:extLst>
              <a:ext uri="{FF2B5EF4-FFF2-40B4-BE49-F238E27FC236}">
                <a16:creationId xmlns:a16="http://schemas.microsoft.com/office/drawing/2014/main" id="{4C54EA5B-B3FC-40F8-8EFC-CA9924E13F31}"/>
              </a:ext>
            </a:extLst>
          </p:cNvPr>
          <p:cNvSpPr txBox="1"/>
          <p:nvPr userDrawn="1"/>
        </p:nvSpPr>
        <p:spPr>
          <a:xfrm>
            <a:off x="3973233"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46" name="TextBox 45">
            <a:extLst>
              <a:ext uri="{FF2B5EF4-FFF2-40B4-BE49-F238E27FC236}">
                <a16:creationId xmlns:a16="http://schemas.microsoft.com/office/drawing/2014/main" id="{C16E407F-DC88-4046-826A-AE9A29377D1C}"/>
              </a:ext>
            </a:extLst>
          </p:cNvPr>
          <p:cNvSpPr txBox="1"/>
          <p:nvPr userDrawn="1"/>
        </p:nvSpPr>
        <p:spPr>
          <a:xfrm>
            <a:off x="4679778"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48" name="TextBox 47">
            <a:extLst>
              <a:ext uri="{FF2B5EF4-FFF2-40B4-BE49-F238E27FC236}">
                <a16:creationId xmlns:a16="http://schemas.microsoft.com/office/drawing/2014/main" id="{48A44460-3AAE-4A1E-BB67-82F4C5A83A9A}"/>
              </a:ext>
            </a:extLst>
          </p:cNvPr>
          <p:cNvSpPr txBox="1"/>
          <p:nvPr userDrawn="1"/>
        </p:nvSpPr>
        <p:spPr>
          <a:xfrm>
            <a:off x="5386323"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50" name="TextBox 49">
            <a:extLst>
              <a:ext uri="{FF2B5EF4-FFF2-40B4-BE49-F238E27FC236}">
                <a16:creationId xmlns:a16="http://schemas.microsoft.com/office/drawing/2014/main" id="{3202F53F-7CEB-499D-A223-DC746FE9B184}"/>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52" name="TextBox 51">
            <a:extLst>
              <a:ext uri="{FF2B5EF4-FFF2-40B4-BE49-F238E27FC236}">
                <a16:creationId xmlns:a16="http://schemas.microsoft.com/office/drawing/2014/main" id="{CD2F218A-0F5D-42BF-964F-C454BBDD6490}"/>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54" name="TextBox 53">
            <a:extLst>
              <a:ext uri="{FF2B5EF4-FFF2-40B4-BE49-F238E27FC236}">
                <a16:creationId xmlns:a16="http://schemas.microsoft.com/office/drawing/2014/main" id="{8184C06B-6D8D-4DA8-B0FD-B05EB6D10A1D}"/>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56" name="TextBox 55">
            <a:extLst>
              <a:ext uri="{FF2B5EF4-FFF2-40B4-BE49-F238E27FC236}">
                <a16:creationId xmlns:a16="http://schemas.microsoft.com/office/drawing/2014/main" id="{51D63145-D224-40DE-AA12-96A17DECBE47}"/>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58" name="TextBox 57">
            <a:extLst>
              <a:ext uri="{FF2B5EF4-FFF2-40B4-BE49-F238E27FC236}">
                <a16:creationId xmlns:a16="http://schemas.microsoft.com/office/drawing/2014/main" id="{1C4078FA-C21A-4541-BA24-404A9784CEC0}"/>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60" name="TextBox 59">
            <a:extLst>
              <a:ext uri="{FF2B5EF4-FFF2-40B4-BE49-F238E27FC236}">
                <a16:creationId xmlns:a16="http://schemas.microsoft.com/office/drawing/2014/main" id="{54970EF4-C647-4417-93D1-39AE774E8F6F}"/>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62" name="TextBox 61">
            <a:extLst>
              <a:ext uri="{FF2B5EF4-FFF2-40B4-BE49-F238E27FC236}">
                <a16:creationId xmlns:a16="http://schemas.microsoft.com/office/drawing/2014/main" id="{0A744182-CD7E-46CF-ABB0-A393B3D7AD24}"/>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64" name="TextBox 63">
            <a:extLst>
              <a:ext uri="{FF2B5EF4-FFF2-40B4-BE49-F238E27FC236}">
                <a16:creationId xmlns:a16="http://schemas.microsoft.com/office/drawing/2014/main" id="{64D42C3B-921B-4C83-A94C-4140598236E4}"/>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66" name="TextBox 65">
            <a:extLst>
              <a:ext uri="{FF2B5EF4-FFF2-40B4-BE49-F238E27FC236}">
                <a16:creationId xmlns:a16="http://schemas.microsoft.com/office/drawing/2014/main" id="{3E1DB32B-AF89-4992-8C24-B8EDA0F8AD6F}"/>
              </a:ext>
            </a:extLst>
          </p:cNvPr>
          <p:cNvSpPr txBox="1"/>
          <p:nvPr userDrawn="1"/>
        </p:nvSpPr>
        <p:spPr>
          <a:xfrm>
            <a:off x="440508"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68" name="TextBox 67">
            <a:extLst>
              <a:ext uri="{FF2B5EF4-FFF2-40B4-BE49-F238E27FC236}">
                <a16:creationId xmlns:a16="http://schemas.microsoft.com/office/drawing/2014/main" id="{F48C5EA2-B519-4C71-A507-F6F3AF7FD185}"/>
              </a:ext>
            </a:extLst>
          </p:cNvPr>
          <p:cNvSpPr txBox="1"/>
          <p:nvPr userDrawn="1"/>
        </p:nvSpPr>
        <p:spPr>
          <a:xfrm>
            <a:off x="1147053"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70" name="TextBox 69">
            <a:extLst>
              <a:ext uri="{FF2B5EF4-FFF2-40B4-BE49-F238E27FC236}">
                <a16:creationId xmlns:a16="http://schemas.microsoft.com/office/drawing/2014/main" id="{C859ED8F-B82F-4351-833A-9C9CD4B7F48C}"/>
              </a:ext>
            </a:extLst>
          </p:cNvPr>
          <p:cNvSpPr txBox="1"/>
          <p:nvPr userDrawn="1"/>
        </p:nvSpPr>
        <p:spPr>
          <a:xfrm>
            <a:off x="185359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72" name="TextBox 71">
            <a:extLst>
              <a:ext uri="{FF2B5EF4-FFF2-40B4-BE49-F238E27FC236}">
                <a16:creationId xmlns:a16="http://schemas.microsoft.com/office/drawing/2014/main" id="{D78953F3-F86B-4671-B3FE-F3006D8E2379}"/>
              </a:ext>
            </a:extLst>
          </p:cNvPr>
          <p:cNvSpPr txBox="1"/>
          <p:nvPr userDrawn="1"/>
        </p:nvSpPr>
        <p:spPr>
          <a:xfrm>
            <a:off x="256014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74" name="TextBox 73">
            <a:extLst>
              <a:ext uri="{FF2B5EF4-FFF2-40B4-BE49-F238E27FC236}">
                <a16:creationId xmlns:a16="http://schemas.microsoft.com/office/drawing/2014/main" id="{F66B8559-1994-478B-BB7D-C72A5E8D5EC2}"/>
              </a:ext>
            </a:extLst>
          </p:cNvPr>
          <p:cNvSpPr txBox="1"/>
          <p:nvPr userDrawn="1"/>
        </p:nvSpPr>
        <p:spPr>
          <a:xfrm>
            <a:off x="326668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76" name="TextBox 75">
            <a:extLst>
              <a:ext uri="{FF2B5EF4-FFF2-40B4-BE49-F238E27FC236}">
                <a16:creationId xmlns:a16="http://schemas.microsoft.com/office/drawing/2014/main" id="{09B9ABE2-E67C-4F75-A13E-D4DFABFA5BB2}"/>
              </a:ext>
            </a:extLst>
          </p:cNvPr>
          <p:cNvSpPr txBox="1"/>
          <p:nvPr userDrawn="1"/>
        </p:nvSpPr>
        <p:spPr>
          <a:xfrm>
            <a:off x="397323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78" name="TextBox 77">
            <a:extLst>
              <a:ext uri="{FF2B5EF4-FFF2-40B4-BE49-F238E27FC236}">
                <a16:creationId xmlns:a16="http://schemas.microsoft.com/office/drawing/2014/main" id="{7809A5B7-AFEA-41B2-ADB3-FA9D1C1AA4AE}"/>
              </a:ext>
            </a:extLst>
          </p:cNvPr>
          <p:cNvSpPr txBox="1"/>
          <p:nvPr userDrawn="1"/>
        </p:nvSpPr>
        <p:spPr>
          <a:xfrm>
            <a:off x="4679778"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80" name="TextBox 79">
            <a:extLst>
              <a:ext uri="{FF2B5EF4-FFF2-40B4-BE49-F238E27FC236}">
                <a16:creationId xmlns:a16="http://schemas.microsoft.com/office/drawing/2014/main" id="{C230728C-8679-4A91-AF71-266750C0A7AC}"/>
              </a:ext>
            </a:extLst>
          </p:cNvPr>
          <p:cNvSpPr txBox="1"/>
          <p:nvPr userDrawn="1"/>
        </p:nvSpPr>
        <p:spPr>
          <a:xfrm>
            <a:off x="5386323"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82" name="TextBox 81">
            <a:extLst>
              <a:ext uri="{FF2B5EF4-FFF2-40B4-BE49-F238E27FC236}">
                <a16:creationId xmlns:a16="http://schemas.microsoft.com/office/drawing/2014/main" id="{7A434D91-306E-4111-8D2F-B1FFF18985BB}"/>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84" name="TextBox 83">
            <a:extLst>
              <a:ext uri="{FF2B5EF4-FFF2-40B4-BE49-F238E27FC236}">
                <a16:creationId xmlns:a16="http://schemas.microsoft.com/office/drawing/2014/main" id="{40108284-6465-4E74-8F93-668FD74DD425}"/>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86" name="TextBox 85">
            <a:extLst>
              <a:ext uri="{FF2B5EF4-FFF2-40B4-BE49-F238E27FC236}">
                <a16:creationId xmlns:a16="http://schemas.microsoft.com/office/drawing/2014/main" id="{56A2CD65-7A01-410D-B214-AB1926F18DA6}"/>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88" name="TextBox 87">
            <a:extLst>
              <a:ext uri="{FF2B5EF4-FFF2-40B4-BE49-F238E27FC236}">
                <a16:creationId xmlns:a16="http://schemas.microsoft.com/office/drawing/2014/main" id="{6F79565D-F962-4F84-86D4-26F6BAEA99B8}"/>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90" name="TextBox 89">
            <a:extLst>
              <a:ext uri="{FF2B5EF4-FFF2-40B4-BE49-F238E27FC236}">
                <a16:creationId xmlns:a16="http://schemas.microsoft.com/office/drawing/2014/main" id="{75D03FB3-54F9-4E1F-B18C-DE1FCAFE35E6}"/>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92" name="TextBox 91">
            <a:extLst>
              <a:ext uri="{FF2B5EF4-FFF2-40B4-BE49-F238E27FC236}">
                <a16:creationId xmlns:a16="http://schemas.microsoft.com/office/drawing/2014/main" id="{25571C6F-CA6F-4C96-B0D5-00C9E7A78FF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94" name="TextBox 93">
            <a:extLst>
              <a:ext uri="{FF2B5EF4-FFF2-40B4-BE49-F238E27FC236}">
                <a16:creationId xmlns:a16="http://schemas.microsoft.com/office/drawing/2014/main" id="{2600ADF8-1047-499D-A5EF-183FA0A4E87E}"/>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96" name="TextBox 95">
            <a:extLst>
              <a:ext uri="{FF2B5EF4-FFF2-40B4-BE49-F238E27FC236}">
                <a16:creationId xmlns:a16="http://schemas.microsoft.com/office/drawing/2014/main" id="{645D9247-BE71-4639-8008-A7DA99DF3BBC}"/>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98" name="TextBox 97">
            <a:extLst>
              <a:ext uri="{FF2B5EF4-FFF2-40B4-BE49-F238E27FC236}">
                <a16:creationId xmlns:a16="http://schemas.microsoft.com/office/drawing/2014/main" id="{5B5BFF1C-A8AE-4F6F-9FAD-9885DC3F05B1}"/>
              </a:ext>
            </a:extLst>
          </p:cNvPr>
          <p:cNvSpPr txBox="1"/>
          <p:nvPr userDrawn="1"/>
        </p:nvSpPr>
        <p:spPr>
          <a:xfrm>
            <a:off x="440508"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198" name="TextBox 197">
            <a:extLst>
              <a:ext uri="{FF2B5EF4-FFF2-40B4-BE49-F238E27FC236}">
                <a16:creationId xmlns:a16="http://schemas.microsoft.com/office/drawing/2014/main" id="{BCFB4821-85FB-4659-B55E-18C0B566F3E0}"/>
              </a:ext>
            </a:extLst>
          </p:cNvPr>
          <p:cNvSpPr txBox="1"/>
          <p:nvPr userDrawn="1"/>
        </p:nvSpPr>
        <p:spPr>
          <a:xfrm>
            <a:off x="1147053"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200" name="TextBox 199">
            <a:extLst>
              <a:ext uri="{FF2B5EF4-FFF2-40B4-BE49-F238E27FC236}">
                <a16:creationId xmlns:a16="http://schemas.microsoft.com/office/drawing/2014/main" id="{CF63A17F-E293-4467-9B2D-495B979AD6A7}"/>
              </a:ext>
            </a:extLst>
          </p:cNvPr>
          <p:cNvSpPr txBox="1"/>
          <p:nvPr userDrawn="1"/>
        </p:nvSpPr>
        <p:spPr>
          <a:xfrm>
            <a:off x="1853598"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202" name="TextBox 201">
            <a:extLst>
              <a:ext uri="{FF2B5EF4-FFF2-40B4-BE49-F238E27FC236}">
                <a16:creationId xmlns:a16="http://schemas.microsoft.com/office/drawing/2014/main" id="{8E1BEFD3-8BA4-4CDB-A5F3-E6D381E13E79}"/>
              </a:ext>
            </a:extLst>
          </p:cNvPr>
          <p:cNvSpPr txBox="1"/>
          <p:nvPr userDrawn="1"/>
        </p:nvSpPr>
        <p:spPr>
          <a:xfrm>
            <a:off x="2560143"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204" name="TextBox 203">
            <a:extLst>
              <a:ext uri="{FF2B5EF4-FFF2-40B4-BE49-F238E27FC236}">
                <a16:creationId xmlns:a16="http://schemas.microsoft.com/office/drawing/2014/main" id="{B95B47FC-58B3-42E8-B23D-678AFF1E4AB6}"/>
              </a:ext>
            </a:extLst>
          </p:cNvPr>
          <p:cNvSpPr txBox="1"/>
          <p:nvPr userDrawn="1"/>
        </p:nvSpPr>
        <p:spPr>
          <a:xfrm>
            <a:off x="3266688"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206" name="TextBox 205">
            <a:extLst>
              <a:ext uri="{FF2B5EF4-FFF2-40B4-BE49-F238E27FC236}">
                <a16:creationId xmlns:a16="http://schemas.microsoft.com/office/drawing/2014/main" id="{98997819-EE61-4D13-B298-E073FDD23D6E}"/>
              </a:ext>
            </a:extLst>
          </p:cNvPr>
          <p:cNvSpPr txBox="1"/>
          <p:nvPr userDrawn="1"/>
        </p:nvSpPr>
        <p:spPr>
          <a:xfrm>
            <a:off x="3941377"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208" name="TextBox 207">
            <a:extLst>
              <a:ext uri="{FF2B5EF4-FFF2-40B4-BE49-F238E27FC236}">
                <a16:creationId xmlns:a16="http://schemas.microsoft.com/office/drawing/2014/main" id="{1CDD5422-11D0-4043-AAB6-888DE949676B}"/>
              </a:ext>
            </a:extLst>
          </p:cNvPr>
          <p:cNvSpPr txBox="1"/>
          <p:nvPr userDrawn="1"/>
        </p:nvSpPr>
        <p:spPr>
          <a:xfrm>
            <a:off x="4679778"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210" name="TextBox 209">
            <a:extLst>
              <a:ext uri="{FF2B5EF4-FFF2-40B4-BE49-F238E27FC236}">
                <a16:creationId xmlns:a16="http://schemas.microsoft.com/office/drawing/2014/main" id="{2EE6C031-4A38-4E6E-859D-58161894EDDF}"/>
              </a:ext>
            </a:extLst>
          </p:cNvPr>
          <p:cNvSpPr txBox="1"/>
          <p:nvPr userDrawn="1"/>
        </p:nvSpPr>
        <p:spPr>
          <a:xfrm>
            <a:off x="5386323"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212" name="TextBox 211">
            <a:extLst>
              <a:ext uri="{FF2B5EF4-FFF2-40B4-BE49-F238E27FC236}">
                <a16:creationId xmlns:a16="http://schemas.microsoft.com/office/drawing/2014/main" id="{F82642C0-8812-4C82-B6AE-F5C1B49AF463}"/>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214" name="TextBox 213">
            <a:extLst>
              <a:ext uri="{FF2B5EF4-FFF2-40B4-BE49-F238E27FC236}">
                <a16:creationId xmlns:a16="http://schemas.microsoft.com/office/drawing/2014/main" id="{83246CFA-8D1B-4222-9178-25FBF0482CD2}"/>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216" name="TextBox 215">
            <a:extLst>
              <a:ext uri="{FF2B5EF4-FFF2-40B4-BE49-F238E27FC236}">
                <a16:creationId xmlns:a16="http://schemas.microsoft.com/office/drawing/2014/main" id="{740A0D44-7809-49A1-9A38-0803FBA70458}"/>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218" name="TextBox 217">
            <a:extLst>
              <a:ext uri="{FF2B5EF4-FFF2-40B4-BE49-F238E27FC236}">
                <a16:creationId xmlns:a16="http://schemas.microsoft.com/office/drawing/2014/main" id="{8304B48C-2421-469B-8A1D-F1599025579D}"/>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220" name="TextBox 219">
            <a:extLst>
              <a:ext uri="{FF2B5EF4-FFF2-40B4-BE49-F238E27FC236}">
                <a16:creationId xmlns:a16="http://schemas.microsoft.com/office/drawing/2014/main" id="{1FE09C38-6EDE-4340-BACE-59D2B169979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222" name="TextBox 221">
            <a:extLst>
              <a:ext uri="{FF2B5EF4-FFF2-40B4-BE49-F238E27FC236}">
                <a16:creationId xmlns:a16="http://schemas.microsoft.com/office/drawing/2014/main" id="{1D7EB514-5B33-42C5-859F-E57E91B7010E}"/>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224" name="TextBox 223">
            <a:extLst>
              <a:ext uri="{FF2B5EF4-FFF2-40B4-BE49-F238E27FC236}">
                <a16:creationId xmlns:a16="http://schemas.microsoft.com/office/drawing/2014/main" id="{26FD5748-DC45-40A0-8C47-272C00614B7F}"/>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226" name="TextBox 225">
            <a:extLst>
              <a:ext uri="{FF2B5EF4-FFF2-40B4-BE49-F238E27FC236}">
                <a16:creationId xmlns:a16="http://schemas.microsoft.com/office/drawing/2014/main" id="{80DA9FC6-6CEC-4DAC-AF65-4C37430BC240}"/>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228" name="TextBox 227">
            <a:extLst>
              <a:ext uri="{FF2B5EF4-FFF2-40B4-BE49-F238E27FC236}">
                <a16:creationId xmlns:a16="http://schemas.microsoft.com/office/drawing/2014/main" id="{871895F0-62BA-429F-B560-A37C251D2143}"/>
              </a:ext>
            </a:extLst>
          </p:cNvPr>
          <p:cNvSpPr txBox="1"/>
          <p:nvPr userDrawn="1"/>
        </p:nvSpPr>
        <p:spPr>
          <a:xfrm>
            <a:off x="440508"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230" name="TextBox 229">
            <a:extLst>
              <a:ext uri="{FF2B5EF4-FFF2-40B4-BE49-F238E27FC236}">
                <a16:creationId xmlns:a16="http://schemas.microsoft.com/office/drawing/2014/main" id="{E6E0E300-18C9-4350-8B65-0A4C0DB50655}"/>
              </a:ext>
            </a:extLst>
          </p:cNvPr>
          <p:cNvSpPr txBox="1"/>
          <p:nvPr userDrawn="1"/>
        </p:nvSpPr>
        <p:spPr>
          <a:xfrm>
            <a:off x="1147053"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232" name="TextBox 231">
            <a:extLst>
              <a:ext uri="{FF2B5EF4-FFF2-40B4-BE49-F238E27FC236}">
                <a16:creationId xmlns:a16="http://schemas.microsoft.com/office/drawing/2014/main" id="{34CBF41C-9C51-431C-9983-170FD099272D}"/>
              </a:ext>
            </a:extLst>
          </p:cNvPr>
          <p:cNvSpPr txBox="1"/>
          <p:nvPr userDrawn="1"/>
        </p:nvSpPr>
        <p:spPr>
          <a:xfrm>
            <a:off x="1853598"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234" name="TextBox 233">
            <a:extLst>
              <a:ext uri="{FF2B5EF4-FFF2-40B4-BE49-F238E27FC236}">
                <a16:creationId xmlns:a16="http://schemas.microsoft.com/office/drawing/2014/main" id="{68CAB6FB-1DFE-4103-AB9B-F3C7DE146FB2}"/>
              </a:ext>
            </a:extLst>
          </p:cNvPr>
          <p:cNvSpPr txBox="1"/>
          <p:nvPr userDrawn="1"/>
        </p:nvSpPr>
        <p:spPr>
          <a:xfrm>
            <a:off x="256014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236" name="TextBox 235">
            <a:extLst>
              <a:ext uri="{FF2B5EF4-FFF2-40B4-BE49-F238E27FC236}">
                <a16:creationId xmlns:a16="http://schemas.microsoft.com/office/drawing/2014/main" id="{1D198AB7-3307-40BC-B6AD-160ECCF5FC1F}"/>
              </a:ext>
            </a:extLst>
          </p:cNvPr>
          <p:cNvSpPr txBox="1"/>
          <p:nvPr userDrawn="1"/>
        </p:nvSpPr>
        <p:spPr>
          <a:xfrm>
            <a:off x="3201237"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238" name="TextBox 237">
            <a:extLst>
              <a:ext uri="{FF2B5EF4-FFF2-40B4-BE49-F238E27FC236}">
                <a16:creationId xmlns:a16="http://schemas.microsoft.com/office/drawing/2014/main" id="{D849EC34-9669-4E97-9A37-CA5898B30FB0}"/>
              </a:ext>
            </a:extLst>
          </p:cNvPr>
          <p:cNvSpPr txBox="1"/>
          <p:nvPr userDrawn="1"/>
        </p:nvSpPr>
        <p:spPr>
          <a:xfrm>
            <a:off x="397323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240" name="TextBox 239">
            <a:extLst>
              <a:ext uri="{FF2B5EF4-FFF2-40B4-BE49-F238E27FC236}">
                <a16:creationId xmlns:a16="http://schemas.microsoft.com/office/drawing/2014/main" id="{D09870EA-E114-4B94-AF27-2E8257B35D1E}"/>
              </a:ext>
            </a:extLst>
          </p:cNvPr>
          <p:cNvSpPr txBox="1"/>
          <p:nvPr userDrawn="1"/>
        </p:nvSpPr>
        <p:spPr>
          <a:xfrm>
            <a:off x="4679778"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242" name="TextBox 241">
            <a:extLst>
              <a:ext uri="{FF2B5EF4-FFF2-40B4-BE49-F238E27FC236}">
                <a16:creationId xmlns:a16="http://schemas.microsoft.com/office/drawing/2014/main" id="{32C18630-236B-499B-A8D6-6A459A6DDCC2}"/>
              </a:ext>
            </a:extLst>
          </p:cNvPr>
          <p:cNvSpPr txBox="1"/>
          <p:nvPr userDrawn="1"/>
        </p:nvSpPr>
        <p:spPr>
          <a:xfrm>
            <a:off x="538632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244" name="TextBox 243">
            <a:extLst>
              <a:ext uri="{FF2B5EF4-FFF2-40B4-BE49-F238E27FC236}">
                <a16:creationId xmlns:a16="http://schemas.microsoft.com/office/drawing/2014/main" id="{2678FFA1-843A-487A-B87A-6853078F47C0}"/>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246" name="TextBox 245">
            <a:extLst>
              <a:ext uri="{FF2B5EF4-FFF2-40B4-BE49-F238E27FC236}">
                <a16:creationId xmlns:a16="http://schemas.microsoft.com/office/drawing/2014/main" id="{A961AA5A-BF9B-481B-88F9-9B8CC3B571A6}"/>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248" name="TextBox 247">
            <a:extLst>
              <a:ext uri="{FF2B5EF4-FFF2-40B4-BE49-F238E27FC236}">
                <a16:creationId xmlns:a16="http://schemas.microsoft.com/office/drawing/2014/main" id="{1A0314A5-DC5B-4BEE-A184-77149F49C0B0}"/>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250" name="TextBox 249">
            <a:extLst>
              <a:ext uri="{FF2B5EF4-FFF2-40B4-BE49-F238E27FC236}">
                <a16:creationId xmlns:a16="http://schemas.microsoft.com/office/drawing/2014/main" id="{627533C7-1D71-47D6-AA9C-71B830FD88FC}"/>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252" name="TextBox 251">
            <a:extLst>
              <a:ext uri="{FF2B5EF4-FFF2-40B4-BE49-F238E27FC236}">
                <a16:creationId xmlns:a16="http://schemas.microsoft.com/office/drawing/2014/main" id="{2A20D7AD-5CCE-4234-8AC2-63F719E1FB64}"/>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254" name="TextBox 253">
            <a:extLst>
              <a:ext uri="{FF2B5EF4-FFF2-40B4-BE49-F238E27FC236}">
                <a16:creationId xmlns:a16="http://schemas.microsoft.com/office/drawing/2014/main" id="{5311950C-2490-4477-AEC4-736D9E48C38C}"/>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256" name="TextBox 255">
            <a:extLst>
              <a:ext uri="{FF2B5EF4-FFF2-40B4-BE49-F238E27FC236}">
                <a16:creationId xmlns:a16="http://schemas.microsoft.com/office/drawing/2014/main" id="{2E349008-28F9-401B-8C6A-F32F0B710736}"/>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258" name="TextBox 257">
            <a:extLst>
              <a:ext uri="{FF2B5EF4-FFF2-40B4-BE49-F238E27FC236}">
                <a16:creationId xmlns:a16="http://schemas.microsoft.com/office/drawing/2014/main" id="{62CA415E-A75C-4D03-AFF9-DB3BCDD405DF}"/>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260" name="TextBox 259">
            <a:extLst>
              <a:ext uri="{FF2B5EF4-FFF2-40B4-BE49-F238E27FC236}">
                <a16:creationId xmlns:a16="http://schemas.microsoft.com/office/drawing/2014/main" id="{92CFAC5C-F24D-40B1-8D9F-7E389D46961F}"/>
              </a:ext>
            </a:extLst>
          </p:cNvPr>
          <p:cNvSpPr txBox="1"/>
          <p:nvPr userDrawn="1"/>
        </p:nvSpPr>
        <p:spPr>
          <a:xfrm>
            <a:off x="440508"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262" name="TextBox 261">
            <a:extLst>
              <a:ext uri="{FF2B5EF4-FFF2-40B4-BE49-F238E27FC236}">
                <a16:creationId xmlns:a16="http://schemas.microsoft.com/office/drawing/2014/main" id="{0B71278A-9ABD-451D-8A25-D6537A066D3C}"/>
              </a:ext>
            </a:extLst>
          </p:cNvPr>
          <p:cNvSpPr txBox="1"/>
          <p:nvPr userDrawn="1"/>
        </p:nvSpPr>
        <p:spPr>
          <a:xfrm>
            <a:off x="1147053"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264" name="TextBox 263">
            <a:extLst>
              <a:ext uri="{FF2B5EF4-FFF2-40B4-BE49-F238E27FC236}">
                <a16:creationId xmlns:a16="http://schemas.microsoft.com/office/drawing/2014/main" id="{BC73EE8E-9FAA-432E-80EC-A28BF96CA3C3}"/>
              </a:ext>
            </a:extLst>
          </p:cNvPr>
          <p:cNvSpPr txBox="1"/>
          <p:nvPr userDrawn="1"/>
        </p:nvSpPr>
        <p:spPr>
          <a:xfrm>
            <a:off x="1853598"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266" name="TextBox 265">
            <a:extLst>
              <a:ext uri="{FF2B5EF4-FFF2-40B4-BE49-F238E27FC236}">
                <a16:creationId xmlns:a16="http://schemas.microsoft.com/office/drawing/2014/main" id="{4C7B5761-F19C-427A-9DF0-597FAD1AA4C6}"/>
              </a:ext>
            </a:extLst>
          </p:cNvPr>
          <p:cNvSpPr txBox="1"/>
          <p:nvPr userDrawn="1"/>
        </p:nvSpPr>
        <p:spPr>
          <a:xfrm>
            <a:off x="2560143"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268" name="TextBox 267">
            <a:extLst>
              <a:ext uri="{FF2B5EF4-FFF2-40B4-BE49-F238E27FC236}">
                <a16:creationId xmlns:a16="http://schemas.microsoft.com/office/drawing/2014/main" id="{17648D4F-B521-47FF-8E16-5588B33CF67F}"/>
              </a:ext>
            </a:extLst>
          </p:cNvPr>
          <p:cNvSpPr txBox="1"/>
          <p:nvPr userDrawn="1"/>
        </p:nvSpPr>
        <p:spPr>
          <a:xfrm>
            <a:off x="326668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270" name="TextBox 269">
            <a:extLst>
              <a:ext uri="{FF2B5EF4-FFF2-40B4-BE49-F238E27FC236}">
                <a16:creationId xmlns:a16="http://schemas.microsoft.com/office/drawing/2014/main" id="{B87B9F61-0B8F-402A-B580-96D5EE62DC70}"/>
              </a:ext>
            </a:extLst>
          </p:cNvPr>
          <p:cNvSpPr txBox="1"/>
          <p:nvPr userDrawn="1"/>
        </p:nvSpPr>
        <p:spPr>
          <a:xfrm>
            <a:off x="3973233"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272" name="TextBox 271">
            <a:extLst>
              <a:ext uri="{FF2B5EF4-FFF2-40B4-BE49-F238E27FC236}">
                <a16:creationId xmlns:a16="http://schemas.microsoft.com/office/drawing/2014/main" id="{58F439FC-8441-45FB-A3C2-AC25B8CA23FF}"/>
              </a:ext>
            </a:extLst>
          </p:cNvPr>
          <p:cNvSpPr txBox="1"/>
          <p:nvPr userDrawn="1"/>
        </p:nvSpPr>
        <p:spPr>
          <a:xfrm>
            <a:off x="467977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274" name="TextBox 273">
            <a:extLst>
              <a:ext uri="{FF2B5EF4-FFF2-40B4-BE49-F238E27FC236}">
                <a16:creationId xmlns:a16="http://schemas.microsoft.com/office/drawing/2014/main" id="{44774E2F-1398-4506-8C56-E844ADDADB5B}"/>
              </a:ext>
            </a:extLst>
          </p:cNvPr>
          <p:cNvSpPr txBox="1"/>
          <p:nvPr userDrawn="1"/>
        </p:nvSpPr>
        <p:spPr>
          <a:xfrm>
            <a:off x="5386323"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276" name="TextBox 275">
            <a:extLst>
              <a:ext uri="{FF2B5EF4-FFF2-40B4-BE49-F238E27FC236}">
                <a16:creationId xmlns:a16="http://schemas.microsoft.com/office/drawing/2014/main" id="{EBFBE6C0-E9BE-48ED-B7FC-E2A49FD6BB0D}"/>
              </a:ext>
            </a:extLst>
          </p:cNvPr>
          <p:cNvSpPr txBox="1"/>
          <p:nvPr userDrawn="1"/>
        </p:nvSpPr>
        <p:spPr>
          <a:xfrm>
            <a:off x="6088789"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 name="Rectangle 2">
            <a:extLst>
              <a:ext uri="{FF2B5EF4-FFF2-40B4-BE49-F238E27FC236}">
                <a16:creationId xmlns:a16="http://schemas.microsoft.com/office/drawing/2014/main" id="{E167703B-BA4F-4ED1-9AC4-CBA9A29BC30A}"/>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9B1773EF-27C8-4D24-BE7C-A2EE62DF2B33}"/>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
        <p:nvSpPr>
          <p:cNvPr id="5" name="Title 4">
            <a:extLst>
              <a:ext uri="{FF2B5EF4-FFF2-40B4-BE49-F238E27FC236}">
                <a16:creationId xmlns:a16="http://schemas.microsoft.com/office/drawing/2014/main" id="{521227BE-4537-4DD9-BD9D-FCD8A52B0A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403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F855D337-1AB0-45E3-96B0-607BC4AAB4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13610" y="3225161"/>
            <a:ext cx="1462038" cy="1597025"/>
          </a:xfrm>
          <a:prstGeom prst="rect">
            <a:avLst/>
          </a:prstGeom>
        </p:spPr>
      </p:pic>
    </p:spTree>
    <p:extLst>
      <p:ext uri="{BB962C8B-B14F-4D97-AF65-F5344CB8AC3E}">
        <p14:creationId xmlns:p14="http://schemas.microsoft.com/office/powerpoint/2010/main" val="195730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4.86585E-6 -0.0007 C 0.04468 0.05671 0.28719 0.20879 0.46679 -0.10162 " pathEditMode="relative" rAng="0" ptsTypes="AA">
                                      <p:cBhvr>
                                        <p:cTn id="6" dur="2000" spd="-100000" fill="hold"/>
                                        <p:tgtEl>
                                          <p:spTgt spid="25"/>
                                        </p:tgtEl>
                                        <p:attrNameLst>
                                          <p:attrName>ppt_x</p:attrName>
                                          <p:attrName>ppt_y</p:attrName>
                                        </p:attrNameLst>
                                      </p:cBhvr>
                                      <p:rCtr x="23339" y="-648"/>
                                    </p:animMotion>
                                  </p:childTnLst>
                                </p:cTn>
                              </p:par>
                              <p:par>
                                <p:cTn id="7" presetID="32" presetClass="emph" presetSubtype="0" repeatCount="indefinite" fill="hold" nodeType="withEffect">
                                  <p:stCondLst>
                                    <p:cond delay="0"/>
                                  </p:stCondLst>
                                  <p:childTnLst>
                                    <p:animRot by="120000">
                                      <p:cBhvr>
                                        <p:cTn id="8" dur="500" fill="hold">
                                          <p:stCondLst>
                                            <p:cond delay="0"/>
                                          </p:stCondLst>
                                        </p:cTn>
                                        <p:tgtEl>
                                          <p:spTgt spid="25"/>
                                        </p:tgtEl>
                                        <p:attrNameLst>
                                          <p:attrName>r</p:attrName>
                                        </p:attrNameLst>
                                      </p:cBhvr>
                                    </p:animRot>
                                    <p:animRot by="-240000">
                                      <p:cBhvr>
                                        <p:cTn id="9" dur="1000" fill="hold">
                                          <p:stCondLst>
                                            <p:cond delay="1000"/>
                                          </p:stCondLst>
                                        </p:cTn>
                                        <p:tgtEl>
                                          <p:spTgt spid="25"/>
                                        </p:tgtEl>
                                        <p:attrNameLst>
                                          <p:attrName>r</p:attrName>
                                        </p:attrNameLst>
                                      </p:cBhvr>
                                    </p:animRot>
                                    <p:animRot by="240000">
                                      <p:cBhvr>
                                        <p:cTn id="10" dur="1000" fill="hold">
                                          <p:stCondLst>
                                            <p:cond delay="2000"/>
                                          </p:stCondLst>
                                        </p:cTn>
                                        <p:tgtEl>
                                          <p:spTgt spid="25"/>
                                        </p:tgtEl>
                                        <p:attrNameLst>
                                          <p:attrName>r</p:attrName>
                                        </p:attrNameLst>
                                      </p:cBhvr>
                                    </p:animRot>
                                    <p:animRot by="-240000">
                                      <p:cBhvr>
                                        <p:cTn id="11" dur="1000" fill="hold">
                                          <p:stCondLst>
                                            <p:cond delay="3000"/>
                                          </p:stCondLst>
                                        </p:cTn>
                                        <p:tgtEl>
                                          <p:spTgt spid="25"/>
                                        </p:tgtEl>
                                        <p:attrNameLst>
                                          <p:attrName>r</p:attrName>
                                        </p:attrNameLst>
                                      </p:cBhvr>
                                    </p:animRot>
                                    <p:animRot by="120000">
                                      <p:cBhvr>
                                        <p:cTn id="12" dur="1000" fill="hold">
                                          <p:stCondLst>
                                            <p:cond delay="4000"/>
                                          </p:stCondLst>
                                        </p:cTn>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5" y="1322388"/>
            <a:ext cx="9144000" cy="4895532"/>
          </a:xfrm>
        </p:spPr>
        <p:txBody>
          <a:bodyPr tIns="0"/>
          <a:lstStyle>
            <a:lvl1pPr>
              <a:defRPr sz="2000"/>
            </a:lvl1pPr>
            <a:lvl2pPr>
              <a:buClr>
                <a:schemeClr val="accent1"/>
              </a:buClr>
              <a:defRPr sz="2000" baseline="0"/>
            </a:lvl2pPr>
            <a:lvl3pPr>
              <a:buClr>
                <a:schemeClr val="accent1"/>
              </a:buClr>
              <a:defRPr sz="2000"/>
            </a:lvl3pPr>
            <a:lvl4pPr>
              <a:buClr>
                <a:schemeClr val="accent1"/>
              </a:buClr>
              <a:defRPr sz="2000"/>
            </a:lvl4pPr>
            <a:lvl5pPr>
              <a:buClr>
                <a:schemeClr val="accent1"/>
              </a:buCl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4748290-FEC6-4719-BD03-440855E06F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4388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D3B18E52-BE6F-4331-A4BD-0F4DC9506B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21174091">
            <a:off x="6042409" y="2555084"/>
            <a:ext cx="2833886" cy="1440940"/>
          </a:xfrm>
          <a:prstGeom prst="rect">
            <a:avLst/>
          </a:prstGeom>
        </p:spPr>
      </p:pic>
    </p:spTree>
    <p:extLst>
      <p:ext uri="{BB962C8B-B14F-4D97-AF65-F5344CB8AC3E}">
        <p14:creationId xmlns:p14="http://schemas.microsoft.com/office/powerpoint/2010/main" val="1483179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1.90675E-6 -0.0007 C 0.04467 0.05671 0.28718 0.20879 0.46679 -0.10162 " pathEditMode="relative" rAng="0" ptsTypes="AA">
                                      <p:cBhvr>
                                        <p:cTn id="6" dur="2000" spd="-100000" fill="hold"/>
                                        <p:tgtEl>
                                          <p:spTgt spid="9"/>
                                        </p:tgtEl>
                                        <p:attrNameLst>
                                          <p:attrName>ppt_x</p:attrName>
                                          <p:attrName>ppt_y</p:attrName>
                                        </p:attrNameLst>
                                      </p:cBhvr>
                                      <p:rCtr x="23339" y="-648"/>
                                    </p:animMotion>
                                  </p:childTnLst>
                                </p:cTn>
                              </p:par>
                              <p:par>
                                <p:cTn id="7" presetID="42" presetClass="path" presetSubtype="0" repeatCount="indefinite" accel="16000" decel="19000" autoRev="1" fill="hold" nodeType="withEffect">
                                  <p:stCondLst>
                                    <p:cond delay="2000"/>
                                  </p:stCondLst>
                                  <p:childTnLst>
                                    <p:animMotion origin="layout" path="M 1.90675E-6 3.7037E-6 L 1.90675E-6 0.01458 " pathEditMode="relative" rAng="0" ptsTypes="AA">
                                      <p:cBhvr>
                                        <p:cTn id="8" dur="1500" fill="hold"/>
                                        <p:tgtEl>
                                          <p:spTgt spid="9"/>
                                        </p:tgtEl>
                                        <p:attrNameLst>
                                          <p:attrName>ppt_x</p:attrName>
                                          <p:attrName>ppt_y</p:attrName>
                                        </p:attrNameLst>
                                      </p:cBhvr>
                                      <p:rCtr x="0" y="7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39" name="Picture 38">
            <a:extLst>
              <a:ext uri="{FF2B5EF4-FFF2-40B4-BE49-F238E27FC236}">
                <a16:creationId xmlns:a16="http://schemas.microsoft.com/office/drawing/2014/main" id="{2286E45D-4508-4B51-A50C-0DC6A119E56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7094878" y="6593623"/>
            <a:ext cx="1690770" cy="268511"/>
          </a:xfrm>
          <a:custGeom>
            <a:avLst/>
            <a:gdLst>
              <a:gd name="connsiteX0" fmla="*/ 0 w 2725821"/>
              <a:gd name="connsiteY0" fmla="*/ 0 h 432887"/>
              <a:gd name="connsiteX1" fmla="*/ 1373148 w 2725821"/>
              <a:gd name="connsiteY1" fmla="*/ 0 h 432887"/>
              <a:gd name="connsiteX2" fmla="*/ 1458972 w 2725821"/>
              <a:gd name="connsiteY2" fmla="*/ 46584 h 432887"/>
              <a:gd name="connsiteX3" fmla="*/ 1788945 w 2725821"/>
              <a:gd name="connsiteY3" fmla="*/ 113202 h 432887"/>
              <a:gd name="connsiteX4" fmla="*/ 2118918 w 2725821"/>
              <a:gd name="connsiteY4" fmla="*/ 46584 h 432887"/>
              <a:gd name="connsiteX5" fmla="*/ 2204742 w 2725821"/>
              <a:gd name="connsiteY5" fmla="*/ 0 h 432887"/>
              <a:gd name="connsiteX6" fmla="*/ 2725821 w 2725821"/>
              <a:gd name="connsiteY6" fmla="*/ 0 h 432887"/>
              <a:gd name="connsiteX7" fmla="*/ 2725821 w 2725821"/>
              <a:gd name="connsiteY7" fmla="*/ 432887 h 432887"/>
              <a:gd name="connsiteX8" fmla="*/ 0 w 2725821"/>
              <a:gd name="connsiteY8" fmla="*/ 432887 h 43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432887">
                <a:moveTo>
                  <a:pt x="0" y="0"/>
                </a:moveTo>
                <a:lnTo>
                  <a:pt x="1373148" y="0"/>
                </a:lnTo>
                <a:lnTo>
                  <a:pt x="1458972" y="46584"/>
                </a:lnTo>
                <a:cubicBezTo>
                  <a:pt x="1560392" y="89481"/>
                  <a:pt x="1671898" y="113202"/>
                  <a:pt x="1788945" y="113202"/>
                </a:cubicBezTo>
                <a:cubicBezTo>
                  <a:pt x="1905991" y="113202"/>
                  <a:pt x="2017498" y="89481"/>
                  <a:pt x="2118918" y="46584"/>
                </a:cubicBezTo>
                <a:lnTo>
                  <a:pt x="2204742" y="0"/>
                </a:lnTo>
                <a:lnTo>
                  <a:pt x="2725821" y="0"/>
                </a:lnTo>
                <a:lnTo>
                  <a:pt x="2725821" y="432887"/>
                </a:lnTo>
                <a:lnTo>
                  <a:pt x="0" y="432887"/>
                </a:lnTo>
                <a:close/>
              </a:path>
            </a:pathLst>
          </a:custGeom>
        </p:spPr>
      </p:pic>
      <p:pic>
        <p:nvPicPr>
          <p:cNvPr id="37" name="Picture 36">
            <a:extLst>
              <a:ext uri="{FF2B5EF4-FFF2-40B4-BE49-F238E27FC236}">
                <a16:creationId xmlns:a16="http://schemas.microsoft.com/office/drawing/2014/main" id="{8E2F6B04-524D-4F78-94AD-D897273218E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7091535" y="5591970"/>
            <a:ext cx="1690770" cy="1099586"/>
          </a:xfrm>
          <a:custGeom>
            <a:avLst/>
            <a:gdLst>
              <a:gd name="connsiteX0" fmla="*/ 0 w 2725821"/>
              <a:gd name="connsiteY0" fmla="*/ 0 h 1772727"/>
              <a:gd name="connsiteX1" fmla="*/ 2725821 w 2725821"/>
              <a:gd name="connsiteY1" fmla="*/ 0 h 1772727"/>
              <a:gd name="connsiteX2" fmla="*/ 2725821 w 2725821"/>
              <a:gd name="connsiteY2" fmla="*/ 1659525 h 1772727"/>
              <a:gd name="connsiteX3" fmla="*/ 2204910 w 2725821"/>
              <a:gd name="connsiteY3" fmla="*/ 1659525 h 1772727"/>
              <a:gd name="connsiteX4" fmla="*/ 2119086 w 2725821"/>
              <a:gd name="connsiteY4" fmla="*/ 1706109 h 1772727"/>
              <a:gd name="connsiteX5" fmla="*/ 1789113 w 2725821"/>
              <a:gd name="connsiteY5" fmla="*/ 1772727 h 1772727"/>
              <a:gd name="connsiteX6" fmla="*/ 1459140 w 2725821"/>
              <a:gd name="connsiteY6" fmla="*/ 1706109 h 1772727"/>
              <a:gd name="connsiteX7" fmla="*/ 1373316 w 2725821"/>
              <a:gd name="connsiteY7" fmla="*/ 1659525 h 1772727"/>
              <a:gd name="connsiteX8" fmla="*/ 0 w 2725821"/>
              <a:gd name="connsiteY8" fmla="*/ 1659525 h 177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821" h="1772727">
                <a:moveTo>
                  <a:pt x="0" y="0"/>
                </a:moveTo>
                <a:lnTo>
                  <a:pt x="2725821" y="0"/>
                </a:lnTo>
                <a:lnTo>
                  <a:pt x="2725821" y="1659525"/>
                </a:lnTo>
                <a:lnTo>
                  <a:pt x="2204910" y="1659525"/>
                </a:lnTo>
                <a:lnTo>
                  <a:pt x="2119086" y="1706109"/>
                </a:lnTo>
                <a:cubicBezTo>
                  <a:pt x="2017666" y="1749006"/>
                  <a:pt x="1906159" y="1772727"/>
                  <a:pt x="1789113" y="1772727"/>
                </a:cubicBezTo>
                <a:cubicBezTo>
                  <a:pt x="1672066" y="1772727"/>
                  <a:pt x="1560560" y="1749006"/>
                  <a:pt x="1459140" y="1706109"/>
                </a:cubicBezTo>
                <a:lnTo>
                  <a:pt x="1373316" y="1659525"/>
                </a:lnTo>
                <a:lnTo>
                  <a:pt x="0" y="1659525"/>
                </a:lnTo>
                <a:close/>
              </a:path>
            </a:pathLst>
          </a:custGeom>
        </p:spPr>
      </p:pic>
    </p:spTree>
    <p:extLst>
      <p:ext uri="{BB962C8B-B14F-4D97-AF65-F5344CB8AC3E}">
        <p14:creationId xmlns:p14="http://schemas.microsoft.com/office/powerpoint/2010/main" val="3161218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withEffect">
                                  <p:stCondLst>
                                    <p:cond delay="0"/>
                                  </p:stCondLst>
                                  <p:childTnLst>
                                    <p:animRot by="120000">
                                      <p:cBhvr>
                                        <p:cTn id="6" dur="500" fill="hold">
                                          <p:stCondLst>
                                            <p:cond delay="0"/>
                                          </p:stCondLst>
                                        </p:cTn>
                                        <p:tgtEl>
                                          <p:spTgt spid="37"/>
                                        </p:tgtEl>
                                        <p:attrNameLst>
                                          <p:attrName>r</p:attrName>
                                        </p:attrNameLst>
                                      </p:cBhvr>
                                    </p:animRot>
                                    <p:animRot by="-240000">
                                      <p:cBhvr>
                                        <p:cTn id="7" dur="1000" fill="hold">
                                          <p:stCondLst>
                                            <p:cond delay="1000"/>
                                          </p:stCondLst>
                                        </p:cTn>
                                        <p:tgtEl>
                                          <p:spTgt spid="37"/>
                                        </p:tgtEl>
                                        <p:attrNameLst>
                                          <p:attrName>r</p:attrName>
                                        </p:attrNameLst>
                                      </p:cBhvr>
                                    </p:animRot>
                                    <p:animRot by="240000">
                                      <p:cBhvr>
                                        <p:cTn id="8" dur="1000" fill="hold">
                                          <p:stCondLst>
                                            <p:cond delay="2000"/>
                                          </p:stCondLst>
                                        </p:cTn>
                                        <p:tgtEl>
                                          <p:spTgt spid="37"/>
                                        </p:tgtEl>
                                        <p:attrNameLst>
                                          <p:attrName>r</p:attrName>
                                        </p:attrNameLst>
                                      </p:cBhvr>
                                    </p:animRot>
                                    <p:animRot by="-240000">
                                      <p:cBhvr>
                                        <p:cTn id="9" dur="1000" fill="hold">
                                          <p:stCondLst>
                                            <p:cond delay="3000"/>
                                          </p:stCondLst>
                                        </p:cTn>
                                        <p:tgtEl>
                                          <p:spTgt spid="37"/>
                                        </p:tgtEl>
                                        <p:attrNameLst>
                                          <p:attrName>r</p:attrName>
                                        </p:attrNameLst>
                                      </p:cBhvr>
                                    </p:animRot>
                                    <p:animRot by="120000">
                                      <p:cBhvr>
                                        <p:cTn id="10" dur="1000" fill="hold">
                                          <p:stCondLst>
                                            <p:cond delay="4000"/>
                                          </p:stCondLst>
                                        </p:cTn>
                                        <p:tgtEl>
                                          <p:spTgt spid="3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pic>
        <p:nvPicPr>
          <p:cNvPr id="4" name="Picture 3" descr="A picture containing table, blue, sitting, food&#10;&#10;Description automatically generated">
            <a:extLst>
              <a:ext uri="{FF2B5EF4-FFF2-40B4-BE49-F238E27FC236}">
                <a16:creationId xmlns:a16="http://schemas.microsoft.com/office/drawing/2014/main" id="{02C01C83-697B-411C-AFF7-E38A600F12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7044628" y="5233196"/>
            <a:ext cx="2208772" cy="1624804"/>
          </a:xfrm>
          <a:prstGeom prst="rect">
            <a:avLst/>
          </a:prstGeom>
        </p:spPr>
      </p:pic>
    </p:spTree>
    <p:extLst>
      <p:ext uri="{BB962C8B-B14F-4D97-AF65-F5344CB8AC3E}">
        <p14:creationId xmlns:p14="http://schemas.microsoft.com/office/powerpoint/2010/main" val="645837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750" fill="hold"/>
                                        <p:tgtEl>
                                          <p:spTgt spid="4"/>
                                        </p:tgtEl>
                                        <p:attrNameLst>
                                          <p:attrName>ppt_x</p:attrName>
                                        </p:attrNameLst>
                                      </p:cBhvr>
                                      <p:tavLst>
                                        <p:tav tm="0">
                                          <p:val>
                                            <p:strVal val="1+#ppt_w/2"/>
                                          </p:val>
                                        </p:tav>
                                        <p:tav tm="100000">
                                          <p:val>
                                            <p:strVal val="#ppt_x"/>
                                          </p:val>
                                        </p:tav>
                                      </p:tavLst>
                                    </p:anim>
                                    <p:anim calcmode="lin" valueType="num">
                                      <p:cBhvr additive="base">
                                        <p:cTn id="8" dur="1750" fill="hold"/>
                                        <p:tgtEl>
                                          <p:spTgt spid="4"/>
                                        </p:tgtEl>
                                        <p:attrNameLst>
                                          <p:attrName>ppt_y</p:attrName>
                                        </p:attrNameLst>
                                      </p:cBhvr>
                                      <p:tavLst>
                                        <p:tav tm="0">
                                          <p:val>
                                            <p:strVal val="#ppt_y"/>
                                          </p:val>
                                        </p:tav>
                                        <p:tav tm="100000">
                                          <p:val>
                                            <p:strVal val="#ppt_y"/>
                                          </p:val>
                                        </p:tav>
                                      </p:tavLst>
                                    </p:anim>
                                  </p:childTnLst>
                                </p:cTn>
                              </p:par>
                              <p:par>
                                <p:cTn id="9" presetID="32" presetClass="emph" presetSubtype="0" repeatCount="indefinite" fill="hold" nodeType="withEffect">
                                  <p:stCondLst>
                                    <p:cond delay="2000"/>
                                  </p:stCondLst>
                                  <p:childTnLst>
                                    <p:animRot by="120000">
                                      <p:cBhvr>
                                        <p:cTn id="10" dur="500" fill="hold">
                                          <p:stCondLst>
                                            <p:cond delay="0"/>
                                          </p:stCondLst>
                                        </p:cTn>
                                        <p:tgtEl>
                                          <p:spTgt spid="4"/>
                                        </p:tgtEl>
                                        <p:attrNameLst>
                                          <p:attrName>r</p:attrName>
                                        </p:attrNameLst>
                                      </p:cBhvr>
                                    </p:animRot>
                                    <p:animRot by="-240000">
                                      <p:cBhvr>
                                        <p:cTn id="11" dur="1000" fill="hold">
                                          <p:stCondLst>
                                            <p:cond delay="1000"/>
                                          </p:stCondLst>
                                        </p:cTn>
                                        <p:tgtEl>
                                          <p:spTgt spid="4"/>
                                        </p:tgtEl>
                                        <p:attrNameLst>
                                          <p:attrName>r</p:attrName>
                                        </p:attrNameLst>
                                      </p:cBhvr>
                                    </p:animRot>
                                    <p:animRot by="240000">
                                      <p:cBhvr>
                                        <p:cTn id="12" dur="1000" fill="hold">
                                          <p:stCondLst>
                                            <p:cond delay="2000"/>
                                          </p:stCondLst>
                                        </p:cTn>
                                        <p:tgtEl>
                                          <p:spTgt spid="4"/>
                                        </p:tgtEl>
                                        <p:attrNameLst>
                                          <p:attrName>r</p:attrName>
                                        </p:attrNameLst>
                                      </p:cBhvr>
                                    </p:animRot>
                                    <p:animRot by="-240000">
                                      <p:cBhvr>
                                        <p:cTn id="13" dur="1000" fill="hold">
                                          <p:stCondLst>
                                            <p:cond delay="3000"/>
                                          </p:stCondLst>
                                        </p:cTn>
                                        <p:tgtEl>
                                          <p:spTgt spid="4"/>
                                        </p:tgtEl>
                                        <p:attrNameLst>
                                          <p:attrName>r</p:attrName>
                                        </p:attrNameLst>
                                      </p:cBhvr>
                                    </p:animRot>
                                    <p:animRot by="120000">
                                      <p:cBhvr>
                                        <p:cTn id="14"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383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p:bg>
      <p:bgPr>
        <a:solidFill>
          <a:schemeClr val="bg2"/>
        </a:solidFill>
        <a:effectLst/>
      </p:bgPr>
    </p:bg>
    <p:spTree>
      <p:nvGrpSpPr>
        <p:cNvPr id="1" name=""/>
        <p:cNvGrpSpPr/>
        <p:nvPr/>
      </p:nvGrpSpPr>
      <p:grpSpPr>
        <a:xfrm>
          <a:off x="0" y="0"/>
          <a:ext cx="0" cy="0"/>
          <a:chOff x="0" y="0"/>
          <a:chExt cx="0" cy="0"/>
        </a:xfrm>
      </p:grpSpPr>
      <p:sp>
        <p:nvSpPr>
          <p:cNvPr id="28" name="Text Placeholder 83">
            <a:extLst>
              <a:ext uri="{FF2B5EF4-FFF2-40B4-BE49-F238E27FC236}">
                <a16:creationId xmlns:a16="http://schemas.microsoft.com/office/drawing/2014/main" id="{A76F60B2-0687-4093-9A57-B230E47D03F2}"/>
              </a:ext>
            </a:extLst>
          </p:cNvPr>
          <p:cNvSpPr txBox="1">
            <a:spLocks/>
          </p:cNvSpPr>
          <p:nvPr userDrawn="1"/>
        </p:nvSpPr>
        <p:spPr>
          <a:xfrm rot="10800000" flipV="1">
            <a:off x="0" y="-1"/>
            <a:ext cx="8423904" cy="4211955"/>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7" name="Freeform: Shape 83">
            <a:extLst>
              <a:ext uri="{FF2B5EF4-FFF2-40B4-BE49-F238E27FC236}">
                <a16:creationId xmlns:a16="http://schemas.microsoft.com/office/drawing/2014/main" id="{CA002D9B-3E4A-4A7C-9265-41B72AE6634F}"/>
              </a:ext>
            </a:extLst>
          </p:cNvPr>
          <p:cNvSpPr txBox="1">
            <a:spLocks/>
          </p:cNvSpPr>
          <p:nvPr userDrawn="1"/>
        </p:nvSpPr>
        <p:spPr>
          <a:xfrm>
            <a:off x="6302862" y="4901121"/>
            <a:ext cx="2121043" cy="195688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25" name="Text Placeholder 49">
            <a:extLst>
              <a:ext uri="{FF2B5EF4-FFF2-40B4-BE49-F238E27FC236}">
                <a16:creationId xmlns:a16="http://schemas.microsoft.com/office/drawing/2014/main" id="{F1286419-5447-4BB7-AEE3-097A2929D7B9}"/>
              </a:ext>
            </a:extLst>
          </p:cNvPr>
          <p:cNvSpPr txBox="1">
            <a:spLocks/>
          </p:cNvSpPr>
          <p:nvPr userDrawn="1"/>
        </p:nvSpPr>
        <p:spPr>
          <a:xfrm>
            <a:off x="9159243" y="2105977"/>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12743763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6_Title – Grid Light">
    <p:bg>
      <p:bgPr>
        <a:solidFill>
          <a:schemeClr val="bg2"/>
        </a:solidFill>
        <a:effectLst/>
      </p:bgPr>
    </p:bg>
    <p:spTree>
      <p:nvGrpSpPr>
        <p:cNvPr id="1" name=""/>
        <p:cNvGrpSpPr/>
        <p:nvPr/>
      </p:nvGrpSpPr>
      <p:grpSpPr>
        <a:xfrm>
          <a:off x="0" y="0"/>
          <a:ext cx="0" cy="0"/>
          <a:chOff x="0" y="0"/>
          <a:chExt cx="0" cy="0"/>
        </a:xfrm>
      </p:grpSpPr>
      <p:sp>
        <p:nvSpPr>
          <p:cNvPr id="26" name="Text Placeholder 49">
            <a:extLst>
              <a:ext uri="{FF2B5EF4-FFF2-40B4-BE49-F238E27FC236}">
                <a16:creationId xmlns:a16="http://schemas.microsoft.com/office/drawing/2014/main" id="{73B0CE92-879B-4EA7-9079-D1F8261FC8D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4" name="TextBox 33">
            <a:extLst>
              <a:ext uri="{FF2B5EF4-FFF2-40B4-BE49-F238E27FC236}">
                <a16:creationId xmlns:a16="http://schemas.microsoft.com/office/drawing/2014/main" id="{7E36862B-3B07-4416-9F20-076D4CB58644}"/>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8" name="Freeform: Shape 83">
            <a:extLst>
              <a:ext uri="{FF2B5EF4-FFF2-40B4-BE49-F238E27FC236}">
                <a16:creationId xmlns:a16="http://schemas.microsoft.com/office/drawing/2014/main" id="{0A6A95A8-7693-4E00-A8BA-D2D5D75DE11B}"/>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39426567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Title – Grid Light">
    <p:bg>
      <p:bgPr>
        <a:solidFill>
          <a:schemeClr val="bg1"/>
        </a:solidFill>
        <a:effectLst/>
      </p:bgPr>
    </p:bg>
    <p:spTree>
      <p:nvGrpSpPr>
        <p:cNvPr id="1" name=""/>
        <p:cNvGrpSpPr/>
        <p:nvPr/>
      </p:nvGrpSpPr>
      <p:grpSpPr>
        <a:xfrm>
          <a:off x="0" y="0"/>
          <a:ext cx="0" cy="0"/>
          <a:chOff x="0" y="0"/>
          <a:chExt cx="0" cy="0"/>
        </a:xfrm>
      </p:grpSpPr>
      <p:sp>
        <p:nvSpPr>
          <p:cNvPr id="28" name="Text Placeholder 49">
            <a:extLst>
              <a:ext uri="{FF2B5EF4-FFF2-40B4-BE49-F238E27FC236}">
                <a16:creationId xmlns:a16="http://schemas.microsoft.com/office/drawing/2014/main" id="{1FF5DCBA-0EC1-40C7-BFBE-305DA92326F9}"/>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TextBox 28">
            <a:extLst>
              <a:ext uri="{FF2B5EF4-FFF2-40B4-BE49-F238E27FC236}">
                <a16:creationId xmlns:a16="http://schemas.microsoft.com/office/drawing/2014/main" id="{4670DDD8-6E70-4BBB-8B22-5F4DA9D1423E}"/>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0" name="Freeform: Shape 83">
            <a:extLst>
              <a:ext uri="{FF2B5EF4-FFF2-40B4-BE49-F238E27FC236}">
                <a16:creationId xmlns:a16="http://schemas.microsoft.com/office/drawing/2014/main" id="{75C0BBDE-001A-47A3-A1E1-6A158E1E0273}"/>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tx2"/>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tx2"/>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6718429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8_Title – Grid Light">
    <p:bg>
      <p:bgPr>
        <a:solidFill>
          <a:schemeClr val="accent1"/>
        </a:solidFill>
        <a:effectLst/>
      </p:bgPr>
    </p:bg>
    <p:spTree>
      <p:nvGrpSpPr>
        <p:cNvPr id="1" name=""/>
        <p:cNvGrpSpPr/>
        <p:nvPr/>
      </p:nvGrpSpPr>
      <p:grpSpPr>
        <a:xfrm>
          <a:off x="0" y="0"/>
          <a:ext cx="0" cy="0"/>
          <a:chOff x="0" y="0"/>
          <a:chExt cx="0" cy="0"/>
        </a:xfrm>
      </p:grpSpPr>
      <p:sp>
        <p:nvSpPr>
          <p:cNvPr id="15" name="Text Placeholder 49">
            <a:extLst>
              <a:ext uri="{FF2B5EF4-FFF2-40B4-BE49-F238E27FC236}">
                <a16:creationId xmlns:a16="http://schemas.microsoft.com/office/drawing/2014/main" id="{5FBB86DE-8D78-4D5E-9EA7-C16BA9D026C8}"/>
              </a:ext>
            </a:extLst>
          </p:cNvPr>
          <p:cNvSpPr txBox="1">
            <a:spLocks/>
          </p:cNvSpPr>
          <p:nvPr userDrawn="1"/>
        </p:nvSpPr>
        <p:spPr>
          <a:xfrm>
            <a:off x="3554948"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6" name="TextBox 15">
            <a:extLst>
              <a:ext uri="{FF2B5EF4-FFF2-40B4-BE49-F238E27FC236}">
                <a16:creationId xmlns:a16="http://schemas.microsoft.com/office/drawing/2014/main" id="{59C0930A-14E9-4C7E-9205-7DEBAC879BC5}"/>
              </a:ext>
            </a:extLst>
          </p:cNvPr>
          <p:cNvSpPr txBox="1">
            <a:spLocks/>
          </p:cNvSpPr>
          <p:nvPr userDrawn="1"/>
        </p:nvSpPr>
        <p:spPr>
          <a:xfrm rot="18900000" flipV="1">
            <a:off x="7229808" y="3126446"/>
            <a:ext cx="6166943" cy="3078196"/>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7" name="Freeform: Shape 83">
            <a:extLst>
              <a:ext uri="{FF2B5EF4-FFF2-40B4-BE49-F238E27FC236}">
                <a16:creationId xmlns:a16="http://schemas.microsoft.com/office/drawing/2014/main" id="{6C5D8A50-6C85-4317-B8BC-46A4D7EA59FD}"/>
              </a:ext>
            </a:extLst>
          </p:cNvPr>
          <p:cNvSpPr txBox="1">
            <a:spLocks/>
          </p:cNvSpPr>
          <p:nvPr userDrawn="1"/>
        </p:nvSpPr>
        <p:spPr>
          <a:xfrm>
            <a:off x="5880101" y="-1"/>
            <a:ext cx="2121043" cy="2692401"/>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1">
              <a:alpha val="2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itle 1">
            <a:extLst>
              <a:ext uri="{FF2B5EF4-FFF2-40B4-BE49-F238E27FC236}">
                <a16:creationId xmlns:a16="http://schemas.microsoft.com/office/drawing/2014/main" id="{E2C5D4DA-7E8C-43ED-A21C-F053340146E4}"/>
              </a:ext>
            </a:extLst>
          </p:cNvPr>
          <p:cNvSpPr>
            <a:spLocks noGrp="1"/>
          </p:cNvSpPr>
          <p:nvPr userDrawn="1">
            <p:ph type="ctrTitle"/>
          </p:nvPr>
        </p:nvSpPr>
        <p:spPr>
          <a:xfrm>
            <a:off x="382972" y="1371601"/>
            <a:ext cx="5292030" cy="2157916"/>
          </a:xfrm>
        </p:spPr>
        <p:txBody>
          <a:bodyPr lIns="0" tIns="0" rIns="0" bIns="0" anchor="b" anchorCtr="0">
            <a:noAutofit/>
          </a:bodyPr>
          <a:lstStyle>
            <a:lvl1pPr algn="l">
              <a:lnSpc>
                <a:spcPct val="80000"/>
              </a:lnSpc>
              <a:defRPr sz="4999" b="1" i="0" spc="-100">
                <a:solidFill>
                  <a:schemeClr val="bg1"/>
                </a:solidFill>
                <a:latin typeface="Arial"/>
                <a:cs typeface="Arial"/>
              </a:defRPr>
            </a:lvl1pPr>
          </a:lstStyle>
          <a:p>
            <a:r>
              <a:rPr lang="en-US"/>
              <a:t>Click to edit 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userDrawn="1">
            <p:ph type="subTitle" idx="1" hasCustomPrompt="1"/>
          </p:nvPr>
        </p:nvSpPr>
        <p:spPr>
          <a:xfrm>
            <a:off x="382972" y="3583491"/>
            <a:ext cx="5292030" cy="1752600"/>
          </a:xfrm>
        </p:spPr>
        <p:txBody>
          <a:bodyPr lIns="0" tIns="0" rIns="0" bIns="0" anchor="t" anchorCtr="0">
            <a:normAutofit/>
          </a:bodyPr>
          <a:lstStyle>
            <a:lvl1pPr marL="0" indent="0" algn="l">
              <a:lnSpc>
                <a:spcPct val="85000"/>
              </a:lnSpc>
              <a:spcBef>
                <a:spcPts val="800"/>
              </a:spcBef>
              <a:buNone/>
              <a:defRPr sz="2799" b="1" i="0" spc="-5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Tree>
    <p:extLst>
      <p:ext uri="{BB962C8B-B14F-4D97-AF65-F5344CB8AC3E}">
        <p14:creationId xmlns:p14="http://schemas.microsoft.com/office/powerpoint/2010/main" val="2368346640"/>
      </p:ext>
    </p:extLst>
  </p:cSld>
  <p:clrMapOvr>
    <a:masterClrMapping/>
  </p:clrMapOvr>
  <p:extLst>
    <p:ext uri="{DCECCB84-F9BA-43D5-87BE-67443E8EF086}">
      <p15:sldGuideLst xmlns:p15="http://schemas.microsoft.com/office/powerpoint/2012/main">
        <p15:guide id="1" pos="3838"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65" name="Text Placeholder 49">
            <a:extLst>
              <a:ext uri="{FF2B5EF4-FFF2-40B4-BE49-F238E27FC236}">
                <a16:creationId xmlns:a16="http://schemas.microsoft.com/office/drawing/2014/main" id="{18A4A4F2-9AB2-4B24-87E6-2B75F59E8506}"/>
              </a:ext>
            </a:extLst>
          </p:cNvPr>
          <p:cNvSpPr>
            <a:spLocks noGrp="1"/>
          </p:cNvSpPr>
          <p:nvPr>
            <p:ph type="body" sz="quarter" idx="17" hasCustomPrompt="1"/>
          </p:nvPr>
        </p:nvSpPr>
        <p:spPr>
          <a:xfrm>
            <a:off x="2780505" y="4315834"/>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8" name="Text Placeholder 64">
            <a:extLst>
              <a:ext uri="{FF2B5EF4-FFF2-40B4-BE49-F238E27FC236}">
                <a16:creationId xmlns:a16="http://schemas.microsoft.com/office/drawing/2014/main" id="{59ED8ACD-8533-448B-B246-0F6A58967FE6}"/>
              </a:ext>
            </a:extLst>
          </p:cNvPr>
          <p:cNvSpPr>
            <a:spLocks noGrp="1"/>
          </p:cNvSpPr>
          <p:nvPr>
            <p:ph type="body" sz="quarter" idx="22" hasCustomPrompt="1"/>
          </p:nvPr>
        </p:nvSpPr>
        <p:spPr>
          <a:xfrm rot="5400000">
            <a:off x="5594421" y="285681"/>
            <a:ext cx="2692400" cy="2121043"/>
          </a:xfrm>
          <a:custGeom>
            <a:avLst/>
            <a:gdLst>
              <a:gd name="connsiteX0" fmla="*/ 0 w 1597025"/>
              <a:gd name="connsiteY0" fmla="*/ 0 h 530877"/>
              <a:gd name="connsiteX1" fmla="*/ 1597025 w 1597025"/>
              <a:gd name="connsiteY1" fmla="*/ 0 h 530877"/>
              <a:gd name="connsiteX2" fmla="*/ 1597025 w 1597025"/>
              <a:gd name="connsiteY2" fmla="*/ 530877 h 530877"/>
              <a:gd name="connsiteX3" fmla="*/ 0 w 1597025"/>
              <a:gd name="connsiteY3" fmla="*/ 530877 h 530877"/>
            </a:gdLst>
            <a:ahLst/>
            <a:cxnLst>
              <a:cxn ang="0">
                <a:pos x="connsiteX0" y="connsiteY0"/>
              </a:cxn>
              <a:cxn ang="0">
                <a:pos x="connsiteX1" y="connsiteY1"/>
              </a:cxn>
              <a:cxn ang="0">
                <a:pos x="connsiteX2" y="connsiteY2"/>
              </a:cxn>
              <a:cxn ang="0">
                <a:pos x="connsiteX3" y="connsiteY3"/>
              </a:cxn>
            </a:cxnLst>
            <a:rect l="l" t="t" r="r" b="b"/>
            <a:pathLst>
              <a:path w="1597025" h="530877">
                <a:moveTo>
                  <a:pt x="0" y="0"/>
                </a:moveTo>
                <a:lnTo>
                  <a:pt x="1597025" y="0"/>
                </a:lnTo>
                <a:lnTo>
                  <a:pt x="1597025" y="530877"/>
                </a:lnTo>
                <a:lnTo>
                  <a:pt x="0" y="530877"/>
                </a:ln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2" name="Title 1">
            <a:extLst>
              <a:ext uri="{FF2B5EF4-FFF2-40B4-BE49-F238E27FC236}">
                <a16:creationId xmlns:a16="http://schemas.microsoft.com/office/drawing/2014/main" id="{E2C5D4DA-7E8C-43ED-A21C-F053340146E4}"/>
              </a:ext>
            </a:extLst>
          </p:cNvPr>
          <p:cNvSpPr>
            <a:spLocks noGrp="1"/>
          </p:cNvSpPr>
          <p:nvPr>
            <p:ph type="ctrTitle" hasCustomPrompt="1"/>
          </p:nvPr>
        </p:nvSpPr>
        <p:spPr>
          <a:xfrm>
            <a:off x="382972" y="2743202"/>
            <a:ext cx="5292030" cy="786317"/>
          </a:xfrm>
          <a:solidFill>
            <a:schemeClr val="bg1">
              <a:alpha val="65000"/>
            </a:schemeClr>
          </a:solidFill>
        </p:spPr>
        <p:txBody>
          <a:bodyPr lIns="91440" tIns="91440" rIns="91440" bIns="0" anchor="t" anchorCtr="0">
            <a:noAutofit/>
          </a:bodyPr>
          <a:lstStyle>
            <a:lvl1pPr algn="l">
              <a:lnSpc>
                <a:spcPct val="80000"/>
              </a:lnSpc>
              <a:defRPr sz="4999" b="1" i="0" spc="-100">
                <a:solidFill>
                  <a:schemeClr val="tx1"/>
                </a:solidFill>
                <a:latin typeface="Arial"/>
                <a:cs typeface="Arial"/>
              </a:defRPr>
            </a:lvl1pPr>
          </a:lstStyle>
          <a:p>
            <a:r>
              <a:rPr lang="en-US"/>
              <a:t>Master title style</a:t>
            </a:r>
          </a:p>
        </p:txBody>
      </p:sp>
      <p:sp>
        <p:nvSpPr>
          <p:cNvPr id="23" name="Subtitle 2">
            <a:extLst>
              <a:ext uri="{FF2B5EF4-FFF2-40B4-BE49-F238E27FC236}">
                <a16:creationId xmlns:a16="http://schemas.microsoft.com/office/drawing/2014/main" id="{45BD93E9-63FB-4FCE-BEE5-95D1E68A981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799" b="1" i="0" spc="-5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subtitle style</a:t>
            </a:r>
          </a:p>
        </p:txBody>
      </p:sp>
      <p:sp>
        <p:nvSpPr>
          <p:cNvPr id="30" name="Text Placeholder 29">
            <a:extLst>
              <a:ext uri="{FF2B5EF4-FFF2-40B4-BE49-F238E27FC236}">
                <a16:creationId xmlns:a16="http://schemas.microsoft.com/office/drawing/2014/main" id="{2EED798B-CFA5-40A5-80EA-22AC8E89F137}"/>
              </a:ext>
            </a:extLst>
          </p:cNvPr>
          <p:cNvSpPr>
            <a:spLocks noGrp="1"/>
          </p:cNvSpPr>
          <p:nvPr>
            <p:ph type="body" sz="quarter" idx="32" hasCustomPrompt="1"/>
          </p:nvPr>
        </p:nvSpPr>
        <p:spPr>
          <a:xfrm rot="18900000" flipV="1">
            <a:off x="7240530"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pic>
        <p:nvPicPr>
          <p:cNvPr id="31" name="Picture 30">
            <a:extLst>
              <a:ext uri="{FF2B5EF4-FFF2-40B4-BE49-F238E27FC236}">
                <a16:creationId xmlns:a16="http://schemas.microsoft.com/office/drawing/2014/main" id="{CE57984F-CB83-4B8D-B078-EEEED8C2729D}"/>
              </a:ext>
            </a:extLst>
          </p:cNvPr>
          <p:cNvPicPr>
            <a:picLocks noChangeAspect="1"/>
          </p:cNvPicPr>
          <p:nvPr userDrawn="1"/>
        </p:nvPicPr>
        <p:blipFill>
          <a:blip r:embed="rId2"/>
          <a:srcRect/>
          <a:stretch/>
        </p:blipFill>
        <p:spPr>
          <a:xfrm>
            <a:off x="431876" y="6081014"/>
            <a:ext cx="2444834" cy="560910"/>
          </a:xfrm>
          <a:prstGeom prst="rect">
            <a:avLst/>
          </a:prstGeom>
        </p:spPr>
      </p:pic>
      <p:sp>
        <p:nvSpPr>
          <p:cNvPr id="5" name="Text Placeholder 4">
            <a:extLst>
              <a:ext uri="{FF2B5EF4-FFF2-40B4-BE49-F238E27FC236}">
                <a16:creationId xmlns:a16="http://schemas.microsoft.com/office/drawing/2014/main" id="{85C16F05-F084-48E8-9A69-0A717D07AF30}"/>
              </a:ext>
            </a:extLst>
          </p:cNvPr>
          <p:cNvSpPr>
            <a:spLocks noGrp="1"/>
          </p:cNvSpPr>
          <p:nvPr>
            <p:ph type="body" sz="quarter" idx="33" hasCustomPrompt="1"/>
          </p:nvPr>
        </p:nvSpPr>
        <p:spPr>
          <a:xfrm>
            <a:off x="382588" y="1169559"/>
            <a:ext cx="5292414" cy="786317"/>
          </a:xfrm>
          <a:solidFill>
            <a:schemeClr val="bg1">
              <a:alpha val="65000"/>
            </a:schemeClr>
          </a:solidFill>
        </p:spPr>
        <p:txBody>
          <a:bodyPr lIns="91440" tIns="0" rIns="91440" bIns="91440" anchor="ctr"/>
          <a:lstStyle>
            <a:lvl1pPr>
              <a:spcBef>
                <a:spcPts val="0"/>
              </a:spcBef>
              <a:defRPr sz="4999" b="1"/>
            </a:lvl1pPr>
          </a:lstStyle>
          <a:p>
            <a:pPr lvl="0"/>
            <a:r>
              <a:rPr lang="en-US"/>
              <a:t>(Third line)</a:t>
            </a:r>
          </a:p>
        </p:txBody>
      </p:sp>
      <p:sp>
        <p:nvSpPr>
          <p:cNvPr id="35" name="Text Placeholder 4">
            <a:extLst>
              <a:ext uri="{FF2B5EF4-FFF2-40B4-BE49-F238E27FC236}">
                <a16:creationId xmlns:a16="http://schemas.microsoft.com/office/drawing/2014/main" id="{D2BE8780-B07C-4B86-BF28-36A7371AFC16}"/>
              </a:ext>
            </a:extLst>
          </p:cNvPr>
          <p:cNvSpPr>
            <a:spLocks noGrp="1"/>
          </p:cNvSpPr>
          <p:nvPr>
            <p:ph type="body" sz="quarter" idx="34"/>
          </p:nvPr>
        </p:nvSpPr>
        <p:spPr>
          <a:xfrm>
            <a:off x="382588" y="1956885"/>
            <a:ext cx="5292414" cy="786317"/>
          </a:xfrm>
          <a:solidFill>
            <a:schemeClr val="bg1">
              <a:alpha val="65000"/>
            </a:schemeClr>
          </a:solidFill>
        </p:spPr>
        <p:txBody>
          <a:bodyPr lIns="91440" tIns="0" rIns="91440" bIns="91440" anchor="ctr"/>
          <a:lstStyle>
            <a:lvl1pPr>
              <a:spcBef>
                <a:spcPts val="0"/>
              </a:spcBef>
              <a:defRPr sz="4999" b="1"/>
            </a:lvl1pPr>
          </a:lstStyle>
          <a:p>
            <a:pPr lvl="0"/>
            <a:r>
              <a:rPr lang="en-US"/>
              <a:t>Click to edit</a:t>
            </a:r>
          </a:p>
        </p:txBody>
      </p:sp>
    </p:spTree>
    <p:extLst>
      <p:ext uri="{BB962C8B-B14F-4D97-AF65-F5344CB8AC3E}">
        <p14:creationId xmlns:p14="http://schemas.microsoft.com/office/powerpoint/2010/main" val="17386358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0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2" y="3759200"/>
            <a:ext cx="7648381" cy="1510886"/>
          </a:xfrm>
        </p:spPr>
        <p:txBody>
          <a:bodyPr lIns="0" tIns="0" rIns="0" bIns="0" anchor="t" anchorCtr="0">
            <a:normAutofit/>
          </a:bodyPr>
          <a:lstStyle>
            <a:lvl1pPr marL="0" indent="0" algn="l">
              <a:lnSpc>
                <a:spcPct val="100000"/>
              </a:lnSpc>
              <a:spcBef>
                <a:spcPts val="0"/>
              </a:spcBef>
              <a:buNone/>
              <a:defRPr sz="5998" b="1" i="0" spc="-10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1" y="3078730"/>
            <a:ext cx="7648381" cy="510040"/>
          </a:xfrm>
        </p:spPr>
        <p:txBody>
          <a:bodyPr anchor="ctr" anchorCtr="0"/>
          <a:lstStyle>
            <a:lvl1pPr>
              <a:defRPr sz="5998"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5998" b="1" i="0" spc="-100">
                <a:solidFill>
                  <a:schemeClr val="tx2"/>
                </a:solidFill>
                <a:latin typeface="Arial"/>
                <a:cs typeface="Arial"/>
              </a:defRPr>
            </a:lvl1pPr>
          </a:lstStyle>
          <a:p>
            <a:r>
              <a:rPr lang="en-US"/>
              <a:t>Click to edit </a:t>
            </a:r>
            <a:br>
              <a:rPr lang="en-US"/>
            </a:br>
            <a:r>
              <a:rPr lang="en-US"/>
              <a:t>Master title style</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22682" y="3143727"/>
            <a:ext cx="574904" cy="171583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4"/>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8"/>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23498839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2_Title – Grid Light">
    <p:bg>
      <p:bgPr>
        <a:solidFill>
          <a:schemeClr val="accent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p:ph type="subTitle" idx="1" hasCustomPrompt="1"/>
          </p:nvPr>
        </p:nvSpPr>
        <p:spPr>
          <a:xfrm>
            <a:off x="382972" y="3759200"/>
            <a:ext cx="7648381" cy="1510886"/>
          </a:xfrm>
        </p:spPr>
        <p:txBody>
          <a:bodyPr lIns="0" tIns="0" rIns="0" bIns="0" anchor="t" anchorCtr="0">
            <a:normAutofit/>
          </a:bodyPr>
          <a:lstStyle>
            <a:lvl1pPr marL="0" indent="0" algn="l">
              <a:lnSpc>
                <a:spcPct val="100000"/>
              </a:lnSpc>
              <a:spcBef>
                <a:spcPts val="0"/>
              </a:spcBef>
              <a:buNone/>
              <a:defRPr sz="5998" b="1" i="0" spc="-100">
                <a:solidFill>
                  <a:schemeClr val="bg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p:ph type="body" sz="quarter" idx="12" hasCustomPrompt="1"/>
          </p:nvPr>
        </p:nvSpPr>
        <p:spPr>
          <a:xfrm>
            <a:off x="386021" y="3078730"/>
            <a:ext cx="7648381" cy="510040"/>
          </a:xfrm>
        </p:spPr>
        <p:txBody>
          <a:bodyPr anchor="ctr" anchorCtr="0"/>
          <a:lstStyle>
            <a:lvl1pPr>
              <a:defRPr sz="5998" b="1" spc="-100" baseline="0">
                <a:solidFill>
                  <a:schemeClr val="bg1"/>
                </a:solidFill>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p:ph type="ctrTitle" hasCustomPrompt="1"/>
          </p:nvPr>
        </p:nvSpPr>
        <p:spPr>
          <a:xfrm>
            <a:off x="382971" y="880649"/>
            <a:ext cx="7657943" cy="2027651"/>
          </a:xfrm>
        </p:spPr>
        <p:txBody>
          <a:bodyPr lIns="0" tIns="0" rIns="0" bIns="0" anchor="b" anchorCtr="0">
            <a:noAutofit/>
          </a:bodyPr>
          <a:lstStyle>
            <a:lvl1pPr algn="l">
              <a:lnSpc>
                <a:spcPct val="100000"/>
              </a:lnSpc>
              <a:defRPr sz="5998" b="1" i="0" spc="-100">
                <a:solidFill>
                  <a:schemeClr val="bg1"/>
                </a:solidFill>
                <a:latin typeface="Arial"/>
                <a:cs typeface="Arial"/>
              </a:defRPr>
            </a:lvl1pPr>
          </a:lstStyle>
          <a:p>
            <a:r>
              <a:rPr lang="en-US"/>
              <a:t>Click to edit </a:t>
            </a:r>
            <a:br>
              <a:rPr lang="en-US"/>
            </a:br>
            <a:r>
              <a:rPr lang="en-US"/>
              <a:t>Master title style</a:t>
            </a:r>
          </a:p>
        </p:txBody>
      </p:sp>
      <p:grpSp>
        <p:nvGrpSpPr>
          <p:cNvPr id="6" name="Group 5">
            <a:extLst>
              <a:ext uri="{FF2B5EF4-FFF2-40B4-BE49-F238E27FC236}">
                <a16:creationId xmlns:a16="http://schemas.microsoft.com/office/drawing/2014/main" id="{13C630F6-5777-4826-A8BA-A5E5F67ED8DE}"/>
              </a:ext>
            </a:extLst>
          </p:cNvPr>
          <p:cNvGrpSpPr/>
          <p:nvPr userDrawn="1"/>
        </p:nvGrpSpPr>
        <p:grpSpPr>
          <a:xfrm>
            <a:off x="9346573" y="258374"/>
            <a:ext cx="2592719" cy="6341252"/>
            <a:chOff x="9346573" y="258374"/>
            <a:chExt cx="2592719" cy="6341252"/>
          </a:xfrm>
          <a:solidFill>
            <a:schemeClr val="accent1">
              <a:lumMod val="75000"/>
            </a:schemeClr>
          </a:solidFill>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a:grpFill/>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grp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sz="1799"/>
            </a:p>
          </p:txBody>
        </p:sp>
        <p:sp>
          <p:nvSpPr>
            <p:cNvPr id="30" name="Freeform: Shape 29">
              <a:extLst>
                <a:ext uri="{FF2B5EF4-FFF2-40B4-BE49-F238E27FC236}">
                  <a16:creationId xmlns:a16="http://schemas.microsoft.com/office/drawing/2014/main" id="{01610C87-FCDE-46C3-9E2E-739916D61405}"/>
                </a:ext>
              </a:extLst>
            </p:cNvPr>
            <p:cNvSpPr/>
            <p:nvPr userDrawn="1"/>
          </p:nvSpPr>
          <p:spPr>
            <a:xfrm>
              <a:off x="9346573"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grpFill/>
            <a:ln w="10294" cap="flat">
              <a:noFill/>
              <a:prstDash val="solid"/>
              <a:miter/>
            </a:ln>
          </p:spPr>
          <p:txBody>
            <a:bodyPr wrap="square" rtlCol="0" anchor="ctr">
              <a:noAutofit/>
            </a:bodyPr>
            <a:lstStyle/>
            <a:p>
              <a:endParaRPr lang="en-US" sz="1799"/>
            </a:p>
          </p:txBody>
        </p:sp>
      </p:gr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2700000" flipH="1" flipV="1">
            <a:off x="9044758" y="589461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rot="16200000" flipV="1">
            <a:off x="10498451" y="1143711"/>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rot="16200000">
            <a:off x="9917919" y="3148489"/>
            <a:ext cx="574904" cy="1706308"/>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a:off x="9935038" y="2296384"/>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a:off x="10878327" y="5270088"/>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a:off x="10198402" y="0"/>
            <a:ext cx="574904" cy="851154"/>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accent1">
              <a:lumMod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909620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Subhead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2" y="1781174"/>
            <a:ext cx="9144000"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169974"/>
            <a:ext cx="9144000" cy="491338"/>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1BD8EFAD-5EA3-4F66-9EE6-937B271C1D3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13433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1_Title – Grid Light">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3C630F6-5777-4826-A8BA-A5E5F67ED8DE}"/>
              </a:ext>
            </a:extLst>
          </p:cNvPr>
          <p:cNvGrpSpPr/>
          <p:nvPr userDrawn="1"/>
        </p:nvGrpSpPr>
        <p:grpSpPr>
          <a:xfrm rot="5400000">
            <a:off x="7595289" y="1985141"/>
            <a:ext cx="2032867" cy="6341252"/>
            <a:chOff x="9906425" y="258374"/>
            <a:chExt cx="2032867" cy="6341252"/>
          </a:xfrm>
        </p:grpSpPr>
        <p:grpSp>
          <p:nvGrpSpPr>
            <p:cNvPr id="4" name="Group 3">
              <a:extLst>
                <a:ext uri="{FF2B5EF4-FFF2-40B4-BE49-F238E27FC236}">
                  <a16:creationId xmlns:a16="http://schemas.microsoft.com/office/drawing/2014/main" id="{6D23DED4-46CF-4034-A62B-714FB0F82593}"/>
                </a:ext>
              </a:extLst>
            </p:cNvPr>
            <p:cNvGrpSpPr/>
            <p:nvPr userDrawn="1"/>
          </p:nvGrpSpPr>
          <p:grpSpPr>
            <a:xfrm>
              <a:off x="9906425" y="258374"/>
              <a:ext cx="1451546" cy="6341252"/>
              <a:chOff x="10020609" y="242905"/>
              <a:chExt cx="1346145" cy="5880798"/>
            </a:xfrm>
          </p:grpSpPr>
          <p:sp>
            <p:nvSpPr>
              <p:cNvPr id="18" name="Freeform: Shape 17">
                <a:extLst>
                  <a:ext uri="{FF2B5EF4-FFF2-40B4-BE49-F238E27FC236}">
                    <a16:creationId xmlns:a16="http://schemas.microsoft.com/office/drawing/2014/main" id="{102FE358-5F18-4618-841E-AC396B767858}"/>
                  </a:ext>
                </a:extLst>
              </p:cNvPr>
              <p:cNvSpPr/>
              <p:nvPr userDrawn="1"/>
            </p:nvSpPr>
            <p:spPr>
              <a:xfrm>
                <a:off x="10020609"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14" name="Freeform: Shape 13">
                <a:extLst>
                  <a:ext uri="{FF2B5EF4-FFF2-40B4-BE49-F238E27FC236}">
                    <a16:creationId xmlns:a16="http://schemas.microsoft.com/office/drawing/2014/main" id="{933AAC8F-088F-4C17-BF99-81037FD20C59}"/>
                  </a:ext>
                </a:extLst>
              </p:cNvPr>
              <p:cNvSpPr/>
              <p:nvPr userDrawn="1"/>
            </p:nvSpPr>
            <p:spPr>
              <a:xfrm>
                <a:off x="10805248" y="242905"/>
                <a:ext cx="561506" cy="5880798"/>
              </a:xfrm>
              <a:custGeom>
                <a:avLst/>
                <a:gdLst>
                  <a:gd name="connsiteX0" fmla="*/ 531921 w 561506"/>
                  <a:gd name="connsiteY0" fmla="*/ 5851213 h 5880798"/>
                  <a:gd name="connsiteX1" fmla="*/ 561506 w 561506"/>
                  <a:gd name="connsiteY1" fmla="*/ 5851213 h 5880798"/>
                  <a:gd name="connsiteX2" fmla="*/ 561506 w 561506"/>
                  <a:gd name="connsiteY2" fmla="*/ 5880798 h 5880798"/>
                  <a:gd name="connsiteX3" fmla="*/ 531921 w 561506"/>
                  <a:gd name="connsiteY3" fmla="*/ 5880798 h 5880798"/>
                  <a:gd name="connsiteX4" fmla="*/ 265961 w 561506"/>
                  <a:gd name="connsiteY4" fmla="*/ 5851213 h 5880798"/>
                  <a:gd name="connsiteX5" fmla="*/ 295547 w 561506"/>
                  <a:gd name="connsiteY5" fmla="*/ 5851213 h 5880798"/>
                  <a:gd name="connsiteX6" fmla="*/ 295547 w 561506"/>
                  <a:gd name="connsiteY6" fmla="*/ 5880798 h 5880798"/>
                  <a:gd name="connsiteX7" fmla="*/ 265961 w 561506"/>
                  <a:gd name="connsiteY7" fmla="*/ 5880798 h 5880798"/>
                  <a:gd name="connsiteX8" fmla="*/ 0 w 561506"/>
                  <a:gd name="connsiteY8" fmla="*/ 5851213 h 5880798"/>
                  <a:gd name="connsiteX9" fmla="*/ 29585 w 561506"/>
                  <a:gd name="connsiteY9" fmla="*/ 5851213 h 5880798"/>
                  <a:gd name="connsiteX10" fmla="*/ 29585 w 561506"/>
                  <a:gd name="connsiteY10" fmla="*/ 5880798 h 5880798"/>
                  <a:gd name="connsiteX11" fmla="*/ 0 w 561506"/>
                  <a:gd name="connsiteY11" fmla="*/ 5880798 h 5880798"/>
                  <a:gd name="connsiteX12" fmla="*/ 531921 w 561506"/>
                  <a:gd name="connsiteY12" fmla="*/ 5585253 h 5880798"/>
                  <a:gd name="connsiteX13" fmla="*/ 561506 w 561506"/>
                  <a:gd name="connsiteY13" fmla="*/ 5585253 h 5880798"/>
                  <a:gd name="connsiteX14" fmla="*/ 561506 w 561506"/>
                  <a:gd name="connsiteY14" fmla="*/ 5614838 h 5880798"/>
                  <a:gd name="connsiteX15" fmla="*/ 531921 w 561506"/>
                  <a:gd name="connsiteY15" fmla="*/ 5614838 h 5880798"/>
                  <a:gd name="connsiteX16" fmla="*/ 265961 w 561506"/>
                  <a:gd name="connsiteY16" fmla="*/ 5585253 h 5880798"/>
                  <a:gd name="connsiteX17" fmla="*/ 295547 w 561506"/>
                  <a:gd name="connsiteY17" fmla="*/ 5585253 h 5880798"/>
                  <a:gd name="connsiteX18" fmla="*/ 295547 w 561506"/>
                  <a:gd name="connsiteY18" fmla="*/ 5614838 h 5880798"/>
                  <a:gd name="connsiteX19" fmla="*/ 265961 w 561506"/>
                  <a:gd name="connsiteY19" fmla="*/ 5614838 h 5880798"/>
                  <a:gd name="connsiteX20" fmla="*/ 0 w 561506"/>
                  <a:gd name="connsiteY20" fmla="*/ 5585253 h 5880798"/>
                  <a:gd name="connsiteX21" fmla="*/ 29585 w 561506"/>
                  <a:gd name="connsiteY21" fmla="*/ 5585253 h 5880798"/>
                  <a:gd name="connsiteX22" fmla="*/ 29585 w 561506"/>
                  <a:gd name="connsiteY22" fmla="*/ 5614838 h 5880798"/>
                  <a:gd name="connsiteX23" fmla="*/ 0 w 561506"/>
                  <a:gd name="connsiteY23" fmla="*/ 5614838 h 5880798"/>
                  <a:gd name="connsiteX24" fmla="*/ 531921 w 561506"/>
                  <a:gd name="connsiteY24" fmla="*/ 5319293 h 5880798"/>
                  <a:gd name="connsiteX25" fmla="*/ 561506 w 561506"/>
                  <a:gd name="connsiteY25" fmla="*/ 5319293 h 5880798"/>
                  <a:gd name="connsiteX26" fmla="*/ 561506 w 561506"/>
                  <a:gd name="connsiteY26" fmla="*/ 5348879 h 5880798"/>
                  <a:gd name="connsiteX27" fmla="*/ 531921 w 561506"/>
                  <a:gd name="connsiteY27" fmla="*/ 5348879 h 5880798"/>
                  <a:gd name="connsiteX28" fmla="*/ 265961 w 561506"/>
                  <a:gd name="connsiteY28" fmla="*/ 5319293 h 5880798"/>
                  <a:gd name="connsiteX29" fmla="*/ 295547 w 561506"/>
                  <a:gd name="connsiteY29" fmla="*/ 5319293 h 5880798"/>
                  <a:gd name="connsiteX30" fmla="*/ 295547 w 561506"/>
                  <a:gd name="connsiteY30" fmla="*/ 5348879 h 5880798"/>
                  <a:gd name="connsiteX31" fmla="*/ 265961 w 561506"/>
                  <a:gd name="connsiteY31" fmla="*/ 5348879 h 5880798"/>
                  <a:gd name="connsiteX32" fmla="*/ 0 w 561506"/>
                  <a:gd name="connsiteY32" fmla="*/ 5319293 h 5880798"/>
                  <a:gd name="connsiteX33" fmla="*/ 29585 w 561506"/>
                  <a:gd name="connsiteY33" fmla="*/ 5319293 h 5880798"/>
                  <a:gd name="connsiteX34" fmla="*/ 29585 w 561506"/>
                  <a:gd name="connsiteY34" fmla="*/ 5348879 h 5880798"/>
                  <a:gd name="connsiteX35" fmla="*/ 0 w 561506"/>
                  <a:gd name="connsiteY35" fmla="*/ 5348879 h 5880798"/>
                  <a:gd name="connsiteX36" fmla="*/ 531921 w 561506"/>
                  <a:gd name="connsiteY36" fmla="*/ 5053332 h 5880798"/>
                  <a:gd name="connsiteX37" fmla="*/ 561506 w 561506"/>
                  <a:gd name="connsiteY37" fmla="*/ 5053332 h 5880798"/>
                  <a:gd name="connsiteX38" fmla="*/ 561506 w 561506"/>
                  <a:gd name="connsiteY38" fmla="*/ 5082917 h 5880798"/>
                  <a:gd name="connsiteX39" fmla="*/ 531921 w 561506"/>
                  <a:gd name="connsiteY39" fmla="*/ 5082917 h 5880798"/>
                  <a:gd name="connsiteX40" fmla="*/ 265961 w 561506"/>
                  <a:gd name="connsiteY40" fmla="*/ 5053332 h 5880798"/>
                  <a:gd name="connsiteX41" fmla="*/ 295547 w 561506"/>
                  <a:gd name="connsiteY41" fmla="*/ 5053332 h 5880798"/>
                  <a:gd name="connsiteX42" fmla="*/ 295547 w 561506"/>
                  <a:gd name="connsiteY42" fmla="*/ 5082917 h 5880798"/>
                  <a:gd name="connsiteX43" fmla="*/ 265961 w 561506"/>
                  <a:gd name="connsiteY43" fmla="*/ 5082917 h 5880798"/>
                  <a:gd name="connsiteX44" fmla="*/ 0 w 561506"/>
                  <a:gd name="connsiteY44" fmla="*/ 5053332 h 5880798"/>
                  <a:gd name="connsiteX45" fmla="*/ 29585 w 561506"/>
                  <a:gd name="connsiteY45" fmla="*/ 5053332 h 5880798"/>
                  <a:gd name="connsiteX46" fmla="*/ 29585 w 561506"/>
                  <a:gd name="connsiteY46" fmla="*/ 5082917 h 5880798"/>
                  <a:gd name="connsiteX47" fmla="*/ 0 w 561506"/>
                  <a:gd name="connsiteY47" fmla="*/ 5082917 h 5880798"/>
                  <a:gd name="connsiteX48" fmla="*/ 531921 w 561506"/>
                  <a:gd name="connsiteY48" fmla="*/ 4787372 h 5880798"/>
                  <a:gd name="connsiteX49" fmla="*/ 561506 w 561506"/>
                  <a:gd name="connsiteY49" fmla="*/ 4787372 h 5880798"/>
                  <a:gd name="connsiteX50" fmla="*/ 561506 w 561506"/>
                  <a:gd name="connsiteY50" fmla="*/ 4816958 h 5880798"/>
                  <a:gd name="connsiteX51" fmla="*/ 531921 w 561506"/>
                  <a:gd name="connsiteY51" fmla="*/ 4816958 h 5880798"/>
                  <a:gd name="connsiteX52" fmla="*/ 265961 w 561506"/>
                  <a:gd name="connsiteY52" fmla="*/ 4787372 h 5880798"/>
                  <a:gd name="connsiteX53" fmla="*/ 295547 w 561506"/>
                  <a:gd name="connsiteY53" fmla="*/ 4787372 h 5880798"/>
                  <a:gd name="connsiteX54" fmla="*/ 295547 w 561506"/>
                  <a:gd name="connsiteY54" fmla="*/ 4816958 h 5880798"/>
                  <a:gd name="connsiteX55" fmla="*/ 265961 w 561506"/>
                  <a:gd name="connsiteY55" fmla="*/ 4816958 h 5880798"/>
                  <a:gd name="connsiteX56" fmla="*/ 0 w 561506"/>
                  <a:gd name="connsiteY56" fmla="*/ 4787372 h 5880798"/>
                  <a:gd name="connsiteX57" fmla="*/ 29585 w 561506"/>
                  <a:gd name="connsiteY57" fmla="*/ 4787372 h 5880798"/>
                  <a:gd name="connsiteX58" fmla="*/ 29585 w 561506"/>
                  <a:gd name="connsiteY58" fmla="*/ 4816958 h 5880798"/>
                  <a:gd name="connsiteX59" fmla="*/ 0 w 561506"/>
                  <a:gd name="connsiteY59" fmla="*/ 4816958 h 5880798"/>
                  <a:gd name="connsiteX60" fmla="*/ 531921 w 561506"/>
                  <a:gd name="connsiteY60" fmla="*/ 4521412 h 5880798"/>
                  <a:gd name="connsiteX61" fmla="*/ 561506 w 561506"/>
                  <a:gd name="connsiteY61" fmla="*/ 4521412 h 5880798"/>
                  <a:gd name="connsiteX62" fmla="*/ 561506 w 561506"/>
                  <a:gd name="connsiteY62" fmla="*/ 4550997 h 5880798"/>
                  <a:gd name="connsiteX63" fmla="*/ 531921 w 561506"/>
                  <a:gd name="connsiteY63" fmla="*/ 4550997 h 5880798"/>
                  <a:gd name="connsiteX64" fmla="*/ 265961 w 561506"/>
                  <a:gd name="connsiteY64" fmla="*/ 4521412 h 5880798"/>
                  <a:gd name="connsiteX65" fmla="*/ 295547 w 561506"/>
                  <a:gd name="connsiteY65" fmla="*/ 4521412 h 5880798"/>
                  <a:gd name="connsiteX66" fmla="*/ 295547 w 561506"/>
                  <a:gd name="connsiteY66" fmla="*/ 4550997 h 5880798"/>
                  <a:gd name="connsiteX67" fmla="*/ 265961 w 561506"/>
                  <a:gd name="connsiteY67" fmla="*/ 4550997 h 5880798"/>
                  <a:gd name="connsiteX68" fmla="*/ 0 w 561506"/>
                  <a:gd name="connsiteY68" fmla="*/ 4521412 h 5880798"/>
                  <a:gd name="connsiteX69" fmla="*/ 29585 w 561506"/>
                  <a:gd name="connsiteY69" fmla="*/ 4521412 h 5880798"/>
                  <a:gd name="connsiteX70" fmla="*/ 29585 w 561506"/>
                  <a:gd name="connsiteY70" fmla="*/ 4550997 h 5880798"/>
                  <a:gd name="connsiteX71" fmla="*/ 0 w 561506"/>
                  <a:gd name="connsiteY71" fmla="*/ 4550997 h 5880798"/>
                  <a:gd name="connsiteX72" fmla="*/ 531921 w 561506"/>
                  <a:gd name="connsiteY72" fmla="*/ 4255451 h 5880798"/>
                  <a:gd name="connsiteX73" fmla="*/ 561506 w 561506"/>
                  <a:gd name="connsiteY73" fmla="*/ 4255451 h 5880798"/>
                  <a:gd name="connsiteX74" fmla="*/ 561506 w 561506"/>
                  <a:gd name="connsiteY74" fmla="*/ 4285036 h 5880798"/>
                  <a:gd name="connsiteX75" fmla="*/ 531921 w 561506"/>
                  <a:gd name="connsiteY75" fmla="*/ 4285036 h 5880798"/>
                  <a:gd name="connsiteX76" fmla="*/ 265961 w 561506"/>
                  <a:gd name="connsiteY76" fmla="*/ 4255451 h 5880798"/>
                  <a:gd name="connsiteX77" fmla="*/ 295547 w 561506"/>
                  <a:gd name="connsiteY77" fmla="*/ 4255451 h 5880798"/>
                  <a:gd name="connsiteX78" fmla="*/ 295547 w 561506"/>
                  <a:gd name="connsiteY78" fmla="*/ 4285036 h 5880798"/>
                  <a:gd name="connsiteX79" fmla="*/ 265961 w 561506"/>
                  <a:gd name="connsiteY79" fmla="*/ 4285036 h 5880798"/>
                  <a:gd name="connsiteX80" fmla="*/ 0 w 561506"/>
                  <a:gd name="connsiteY80" fmla="*/ 4255451 h 5880798"/>
                  <a:gd name="connsiteX81" fmla="*/ 29585 w 561506"/>
                  <a:gd name="connsiteY81" fmla="*/ 4255451 h 5880798"/>
                  <a:gd name="connsiteX82" fmla="*/ 29585 w 561506"/>
                  <a:gd name="connsiteY82" fmla="*/ 4285036 h 5880798"/>
                  <a:gd name="connsiteX83" fmla="*/ 0 w 561506"/>
                  <a:gd name="connsiteY83" fmla="*/ 4285036 h 5880798"/>
                  <a:gd name="connsiteX84" fmla="*/ 531921 w 561506"/>
                  <a:gd name="connsiteY84" fmla="*/ 3989491 h 5880798"/>
                  <a:gd name="connsiteX85" fmla="*/ 561506 w 561506"/>
                  <a:gd name="connsiteY85" fmla="*/ 3989491 h 5880798"/>
                  <a:gd name="connsiteX86" fmla="*/ 561506 w 561506"/>
                  <a:gd name="connsiteY86" fmla="*/ 4019077 h 5880798"/>
                  <a:gd name="connsiteX87" fmla="*/ 531921 w 561506"/>
                  <a:gd name="connsiteY87" fmla="*/ 4019077 h 5880798"/>
                  <a:gd name="connsiteX88" fmla="*/ 265961 w 561506"/>
                  <a:gd name="connsiteY88" fmla="*/ 3989491 h 5880798"/>
                  <a:gd name="connsiteX89" fmla="*/ 295547 w 561506"/>
                  <a:gd name="connsiteY89" fmla="*/ 3989491 h 5880798"/>
                  <a:gd name="connsiteX90" fmla="*/ 295547 w 561506"/>
                  <a:gd name="connsiteY90" fmla="*/ 4019077 h 5880798"/>
                  <a:gd name="connsiteX91" fmla="*/ 265961 w 561506"/>
                  <a:gd name="connsiteY91" fmla="*/ 4019077 h 5880798"/>
                  <a:gd name="connsiteX92" fmla="*/ 0 w 561506"/>
                  <a:gd name="connsiteY92" fmla="*/ 3989491 h 5880798"/>
                  <a:gd name="connsiteX93" fmla="*/ 29585 w 561506"/>
                  <a:gd name="connsiteY93" fmla="*/ 3989491 h 5880798"/>
                  <a:gd name="connsiteX94" fmla="*/ 29585 w 561506"/>
                  <a:gd name="connsiteY94" fmla="*/ 4019077 h 5880798"/>
                  <a:gd name="connsiteX95" fmla="*/ 0 w 561506"/>
                  <a:gd name="connsiteY95" fmla="*/ 4019077 h 5880798"/>
                  <a:gd name="connsiteX96" fmla="*/ 531921 w 561506"/>
                  <a:gd name="connsiteY96" fmla="*/ 3723530 h 5880798"/>
                  <a:gd name="connsiteX97" fmla="*/ 561506 w 561506"/>
                  <a:gd name="connsiteY97" fmla="*/ 3723530 h 5880798"/>
                  <a:gd name="connsiteX98" fmla="*/ 561506 w 561506"/>
                  <a:gd name="connsiteY98" fmla="*/ 3753115 h 5880798"/>
                  <a:gd name="connsiteX99" fmla="*/ 531921 w 561506"/>
                  <a:gd name="connsiteY99" fmla="*/ 3753115 h 5880798"/>
                  <a:gd name="connsiteX100" fmla="*/ 265961 w 561506"/>
                  <a:gd name="connsiteY100" fmla="*/ 3723530 h 5880798"/>
                  <a:gd name="connsiteX101" fmla="*/ 295547 w 561506"/>
                  <a:gd name="connsiteY101" fmla="*/ 3723530 h 5880798"/>
                  <a:gd name="connsiteX102" fmla="*/ 295547 w 561506"/>
                  <a:gd name="connsiteY102" fmla="*/ 3753115 h 5880798"/>
                  <a:gd name="connsiteX103" fmla="*/ 265961 w 561506"/>
                  <a:gd name="connsiteY103" fmla="*/ 3753115 h 5880798"/>
                  <a:gd name="connsiteX104" fmla="*/ 0 w 561506"/>
                  <a:gd name="connsiteY104" fmla="*/ 3723530 h 5880798"/>
                  <a:gd name="connsiteX105" fmla="*/ 29585 w 561506"/>
                  <a:gd name="connsiteY105" fmla="*/ 3723530 h 5880798"/>
                  <a:gd name="connsiteX106" fmla="*/ 29585 w 561506"/>
                  <a:gd name="connsiteY106" fmla="*/ 3753115 h 5880798"/>
                  <a:gd name="connsiteX107" fmla="*/ 0 w 561506"/>
                  <a:gd name="connsiteY107" fmla="*/ 3753115 h 5880798"/>
                  <a:gd name="connsiteX108" fmla="*/ 531921 w 561506"/>
                  <a:gd name="connsiteY108" fmla="*/ 3457570 h 5880798"/>
                  <a:gd name="connsiteX109" fmla="*/ 561506 w 561506"/>
                  <a:gd name="connsiteY109" fmla="*/ 3457570 h 5880798"/>
                  <a:gd name="connsiteX110" fmla="*/ 561506 w 561506"/>
                  <a:gd name="connsiteY110" fmla="*/ 3487156 h 5880798"/>
                  <a:gd name="connsiteX111" fmla="*/ 531921 w 561506"/>
                  <a:gd name="connsiteY111" fmla="*/ 3487156 h 5880798"/>
                  <a:gd name="connsiteX112" fmla="*/ 265961 w 561506"/>
                  <a:gd name="connsiteY112" fmla="*/ 3457570 h 5880798"/>
                  <a:gd name="connsiteX113" fmla="*/ 295547 w 561506"/>
                  <a:gd name="connsiteY113" fmla="*/ 3457570 h 5880798"/>
                  <a:gd name="connsiteX114" fmla="*/ 295547 w 561506"/>
                  <a:gd name="connsiteY114" fmla="*/ 3487156 h 5880798"/>
                  <a:gd name="connsiteX115" fmla="*/ 265961 w 561506"/>
                  <a:gd name="connsiteY115" fmla="*/ 3487156 h 5880798"/>
                  <a:gd name="connsiteX116" fmla="*/ 0 w 561506"/>
                  <a:gd name="connsiteY116" fmla="*/ 3457570 h 5880798"/>
                  <a:gd name="connsiteX117" fmla="*/ 29585 w 561506"/>
                  <a:gd name="connsiteY117" fmla="*/ 3457570 h 5880798"/>
                  <a:gd name="connsiteX118" fmla="*/ 29585 w 561506"/>
                  <a:gd name="connsiteY118" fmla="*/ 3487156 h 5880798"/>
                  <a:gd name="connsiteX119" fmla="*/ 0 w 561506"/>
                  <a:gd name="connsiteY119" fmla="*/ 3487156 h 5880798"/>
                  <a:gd name="connsiteX120" fmla="*/ 531921 w 561506"/>
                  <a:gd name="connsiteY120" fmla="*/ 3191618 h 5880798"/>
                  <a:gd name="connsiteX121" fmla="*/ 561506 w 561506"/>
                  <a:gd name="connsiteY121" fmla="*/ 3191618 h 5880798"/>
                  <a:gd name="connsiteX122" fmla="*/ 561506 w 561506"/>
                  <a:gd name="connsiteY122" fmla="*/ 3221195 h 5880798"/>
                  <a:gd name="connsiteX123" fmla="*/ 531921 w 561506"/>
                  <a:gd name="connsiteY123" fmla="*/ 3221195 h 5880798"/>
                  <a:gd name="connsiteX124" fmla="*/ 265961 w 561506"/>
                  <a:gd name="connsiteY124" fmla="*/ 3191618 h 5880798"/>
                  <a:gd name="connsiteX125" fmla="*/ 295547 w 561506"/>
                  <a:gd name="connsiteY125" fmla="*/ 3191618 h 5880798"/>
                  <a:gd name="connsiteX126" fmla="*/ 295547 w 561506"/>
                  <a:gd name="connsiteY126" fmla="*/ 3221195 h 5880798"/>
                  <a:gd name="connsiteX127" fmla="*/ 265961 w 561506"/>
                  <a:gd name="connsiteY127" fmla="*/ 3221195 h 5880798"/>
                  <a:gd name="connsiteX128" fmla="*/ 0 w 561506"/>
                  <a:gd name="connsiteY128" fmla="*/ 3191617 h 5880798"/>
                  <a:gd name="connsiteX129" fmla="*/ 29585 w 561506"/>
                  <a:gd name="connsiteY129" fmla="*/ 3191617 h 5880798"/>
                  <a:gd name="connsiteX130" fmla="*/ 29585 w 561506"/>
                  <a:gd name="connsiteY130" fmla="*/ 3221195 h 5880798"/>
                  <a:gd name="connsiteX131" fmla="*/ 0 w 561506"/>
                  <a:gd name="connsiteY131" fmla="*/ 3221195 h 5880798"/>
                  <a:gd name="connsiteX132" fmla="*/ 531921 w 561506"/>
                  <a:gd name="connsiteY132" fmla="*/ 2925660 h 5880798"/>
                  <a:gd name="connsiteX133" fmla="*/ 561506 w 561506"/>
                  <a:gd name="connsiteY133" fmla="*/ 2925660 h 5880798"/>
                  <a:gd name="connsiteX134" fmla="*/ 561506 w 561506"/>
                  <a:gd name="connsiteY134" fmla="*/ 2955246 h 5880798"/>
                  <a:gd name="connsiteX135" fmla="*/ 531921 w 561506"/>
                  <a:gd name="connsiteY135" fmla="*/ 2955246 h 5880798"/>
                  <a:gd name="connsiteX136" fmla="*/ 265961 w 561506"/>
                  <a:gd name="connsiteY136" fmla="*/ 2925659 h 5880798"/>
                  <a:gd name="connsiteX137" fmla="*/ 295547 w 561506"/>
                  <a:gd name="connsiteY137" fmla="*/ 2925659 h 5880798"/>
                  <a:gd name="connsiteX138" fmla="*/ 295547 w 561506"/>
                  <a:gd name="connsiteY138" fmla="*/ 2955245 h 5880798"/>
                  <a:gd name="connsiteX139" fmla="*/ 265961 w 561506"/>
                  <a:gd name="connsiteY139" fmla="*/ 2955245 h 5880798"/>
                  <a:gd name="connsiteX140" fmla="*/ 0 w 561506"/>
                  <a:gd name="connsiteY140" fmla="*/ 2925658 h 5880798"/>
                  <a:gd name="connsiteX141" fmla="*/ 29585 w 561506"/>
                  <a:gd name="connsiteY141" fmla="*/ 2925658 h 5880798"/>
                  <a:gd name="connsiteX142" fmla="*/ 29585 w 561506"/>
                  <a:gd name="connsiteY142" fmla="*/ 2955244 h 5880798"/>
                  <a:gd name="connsiteX143" fmla="*/ 0 w 561506"/>
                  <a:gd name="connsiteY143" fmla="*/ 2955244 h 5880798"/>
                  <a:gd name="connsiteX144" fmla="*/ 531921 w 561506"/>
                  <a:gd name="connsiteY144" fmla="*/ 2659620 h 5880798"/>
                  <a:gd name="connsiteX145" fmla="*/ 561506 w 561506"/>
                  <a:gd name="connsiteY145" fmla="*/ 2659620 h 5880798"/>
                  <a:gd name="connsiteX146" fmla="*/ 561506 w 561506"/>
                  <a:gd name="connsiteY146" fmla="*/ 2689204 h 5880798"/>
                  <a:gd name="connsiteX147" fmla="*/ 531921 w 561506"/>
                  <a:gd name="connsiteY147" fmla="*/ 2689204 h 5880798"/>
                  <a:gd name="connsiteX148" fmla="*/ 265961 w 561506"/>
                  <a:gd name="connsiteY148" fmla="*/ 2659616 h 5880798"/>
                  <a:gd name="connsiteX149" fmla="*/ 295547 w 561506"/>
                  <a:gd name="connsiteY149" fmla="*/ 2659616 h 5880798"/>
                  <a:gd name="connsiteX150" fmla="*/ 295547 w 561506"/>
                  <a:gd name="connsiteY150" fmla="*/ 2689201 h 5880798"/>
                  <a:gd name="connsiteX151" fmla="*/ 265961 w 561506"/>
                  <a:gd name="connsiteY151" fmla="*/ 2689201 h 5880798"/>
                  <a:gd name="connsiteX152" fmla="*/ 0 w 561506"/>
                  <a:gd name="connsiteY152" fmla="*/ 2659613 h 5880798"/>
                  <a:gd name="connsiteX153" fmla="*/ 29585 w 561506"/>
                  <a:gd name="connsiteY153" fmla="*/ 2659613 h 5880798"/>
                  <a:gd name="connsiteX154" fmla="*/ 29585 w 561506"/>
                  <a:gd name="connsiteY154" fmla="*/ 2689198 h 5880798"/>
                  <a:gd name="connsiteX155" fmla="*/ 0 w 561506"/>
                  <a:gd name="connsiteY155" fmla="*/ 2689198 h 5880798"/>
                  <a:gd name="connsiteX156" fmla="*/ 531921 w 561506"/>
                  <a:gd name="connsiteY156" fmla="*/ 2393661 h 5880798"/>
                  <a:gd name="connsiteX157" fmla="*/ 561506 w 561506"/>
                  <a:gd name="connsiteY157" fmla="*/ 2393661 h 5880798"/>
                  <a:gd name="connsiteX158" fmla="*/ 561506 w 561506"/>
                  <a:gd name="connsiteY158" fmla="*/ 2423260 h 5880798"/>
                  <a:gd name="connsiteX159" fmla="*/ 531921 w 561506"/>
                  <a:gd name="connsiteY159" fmla="*/ 2423260 h 5880798"/>
                  <a:gd name="connsiteX160" fmla="*/ 265961 w 561506"/>
                  <a:gd name="connsiteY160" fmla="*/ 2393658 h 5880798"/>
                  <a:gd name="connsiteX161" fmla="*/ 295547 w 561506"/>
                  <a:gd name="connsiteY161" fmla="*/ 2393658 h 5880798"/>
                  <a:gd name="connsiteX162" fmla="*/ 295547 w 561506"/>
                  <a:gd name="connsiteY162" fmla="*/ 2423257 h 5880798"/>
                  <a:gd name="connsiteX163" fmla="*/ 265961 w 561506"/>
                  <a:gd name="connsiteY163" fmla="*/ 2423257 h 5880798"/>
                  <a:gd name="connsiteX164" fmla="*/ 0 w 561506"/>
                  <a:gd name="connsiteY164" fmla="*/ 2393655 h 5880798"/>
                  <a:gd name="connsiteX165" fmla="*/ 29585 w 561506"/>
                  <a:gd name="connsiteY165" fmla="*/ 2393655 h 5880798"/>
                  <a:gd name="connsiteX166" fmla="*/ 29585 w 561506"/>
                  <a:gd name="connsiteY166" fmla="*/ 2423251 h 5880798"/>
                  <a:gd name="connsiteX167" fmla="*/ 0 w 561506"/>
                  <a:gd name="connsiteY167" fmla="*/ 2423251 h 5880798"/>
                  <a:gd name="connsiteX168" fmla="*/ 531921 w 561506"/>
                  <a:gd name="connsiteY168" fmla="*/ 2127694 h 5880798"/>
                  <a:gd name="connsiteX169" fmla="*/ 561506 w 561506"/>
                  <a:gd name="connsiteY169" fmla="*/ 2127694 h 5880798"/>
                  <a:gd name="connsiteX170" fmla="*/ 561506 w 561506"/>
                  <a:gd name="connsiteY170" fmla="*/ 2157283 h 5880798"/>
                  <a:gd name="connsiteX171" fmla="*/ 531921 w 561506"/>
                  <a:gd name="connsiteY171" fmla="*/ 2157283 h 5880798"/>
                  <a:gd name="connsiteX172" fmla="*/ 265961 w 561506"/>
                  <a:gd name="connsiteY172" fmla="*/ 2127693 h 5880798"/>
                  <a:gd name="connsiteX173" fmla="*/ 295547 w 561506"/>
                  <a:gd name="connsiteY173" fmla="*/ 2127693 h 5880798"/>
                  <a:gd name="connsiteX174" fmla="*/ 295547 w 561506"/>
                  <a:gd name="connsiteY174" fmla="*/ 2157282 h 5880798"/>
                  <a:gd name="connsiteX175" fmla="*/ 265961 w 561506"/>
                  <a:gd name="connsiteY175" fmla="*/ 2157282 h 5880798"/>
                  <a:gd name="connsiteX176" fmla="*/ 0 w 561506"/>
                  <a:gd name="connsiteY176" fmla="*/ 2127689 h 5880798"/>
                  <a:gd name="connsiteX177" fmla="*/ 29585 w 561506"/>
                  <a:gd name="connsiteY177" fmla="*/ 2127689 h 5880798"/>
                  <a:gd name="connsiteX178" fmla="*/ 29585 w 561506"/>
                  <a:gd name="connsiteY178" fmla="*/ 2157278 h 5880798"/>
                  <a:gd name="connsiteX179" fmla="*/ 0 w 561506"/>
                  <a:gd name="connsiteY179" fmla="*/ 2157278 h 5880798"/>
                  <a:gd name="connsiteX180" fmla="*/ 531921 w 561506"/>
                  <a:gd name="connsiteY180" fmla="*/ 1861731 h 5880798"/>
                  <a:gd name="connsiteX181" fmla="*/ 561506 w 561506"/>
                  <a:gd name="connsiteY181" fmla="*/ 1861731 h 5880798"/>
                  <a:gd name="connsiteX182" fmla="*/ 561506 w 561506"/>
                  <a:gd name="connsiteY182" fmla="*/ 1891308 h 5880798"/>
                  <a:gd name="connsiteX183" fmla="*/ 531921 w 561506"/>
                  <a:gd name="connsiteY183" fmla="*/ 1891308 h 5880798"/>
                  <a:gd name="connsiteX184" fmla="*/ 265961 w 561506"/>
                  <a:gd name="connsiteY184" fmla="*/ 1861728 h 5880798"/>
                  <a:gd name="connsiteX185" fmla="*/ 295547 w 561506"/>
                  <a:gd name="connsiteY185" fmla="*/ 1861728 h 5880798"/>
                  <a:gd name="connsiteX186" fmla="*/ 295547 w 561506"/>
                  <a:gd name="connsiteY186" fmla="*/ 1891306 h 5880798"/>
                  <a:gd name="connsiteX187" fmla="*/ 265961 w 561506"/>
                  <a:gd name="connsiteY187" fmla="*/ 1891306 h 5880798"/>
                  <a:gd name="connsiteX188" fmla="*/ 0 w 561506"/>
                  <a:gd name="connsiteY188" fmla="*/ 1861726 h 5880798"/>
                  <a:gd name="connsiteX189" fmla="*/ 29585 w 561506"/>
                  <a:gd name="connsiteY189" fmla="*/ 1861726 h 5880798"/>
                  <a:gd name="connsiteX190" fmla="*/ 29585 w 561506"/>
                  <a:gd name="connsiteY190" fmla="*/ 1891304 h 5880798"/>
                  <a:gd name="connsiteX191" fmla="*/ 0 w 561506"/>
                  <a:gd name="connsiteY191" fmla="*/ 1891304 h 5880798"/>
                  <a:gd name="connsiteX192" fmla="*/ 531921 w 561506"/>
                  <a:gd name="connsiteY192" fmla="*/ 1595769 h 5880798"/>
                  <a:gd name="connsiteX193" fmla="*/ 561506 w 561506"/>
                  <a:gd name="connsiteY193" fmla="*/ 1595769 h 5880798"/>
                  <a:gd name="connsiteX194" fmla="*/ 561506 w 561506"/>
                  <a:gd name="connsiteY194" fmla="*/ 1625355 h 5880798"/>
                  <a:gd name="connsiteX195" fmla="*/ 531921 w 561506"/>
                  <a:gd name="connsiteY195" fmla="*/ 1625355 h 5880798"/>
                  <a:gd name="connsiteX196" fmla="*/ 265961 w 561506"/>
                  <a:gd name="connsiteY196" fmla="*/ 1595766 h 5880798"/>
                  <a:gd name="connsiteX197" fmla="*/ 295547 w 561506"/>
                  <a:gd name="connsiteY197" fmla="*/ 1595766 h 5880798"/>
                  <a:gd name="connsiteX198" fmla="*/ 295547 w 561506"/>
                  <a:gd name="connsiteY198" fmla="*/ 1625352 h 5880798"/>
                  <a:gd name="connsiteX199" fmla="*/ 265961 w 561506"/>
                  <a:gd name="connsiteY199" fmla="*/ 1625352 h 5880798"/>
                  <a:gd name="connsiteX200" fmla="*/ 0 w 561506"/>
                  <a:gd name="connsiteY200" fmla="*/ 1595764 h 5880798"/>
                  <a:gd name="connsiteX201" fmla="*/ 29585 w 561506"/>
                  <a:gd name="connsiteY201" fmla="*/ 1595764 h 5880798"/>
                  <a:gd name="connsiteX202" fmla="*/ 29585 w 561506"/>
                  <a:gd name="connsiteY202" fmla="*/ 1625350 h 5880798"/>
                  <a:gd name="connsiteX203" fmla="*/ 0 w 561506"/>
                  <a:gd name="connsiteY203" fmla="*/ 1625350 h 5880798"/>
                  <a:gd name="connsiteX204" fmla="*/ 531921 w 561506"/>
                  <a:gd name="connsiteY204" fmla="*/ 1329811 h 5880798"/>
                  <a:gd name="connsiteX205" fmla="*/ 561506 w 561506"/>
                  <a:gd name="connsiteY205" fmla="*/ 1329811 h 5880798"/>
                  <a:gd name="connsiteX206" fmla="*/ 561506 w 561506"/>
                  <a:gd name="connsiteY206" fmla="*/ 1359396 h 5880798"/>
                  <a:gd name="connsiteX207" fmla="*/ 531921 w 561506"/>
                  <a:gd name="connsiteY207" fmla="*/ 1359396 h 5880798"/>
                  <a:gd name="connsiteX208" fmla="*/ 265961 w 561506"/>
                  <a:gd name="connsiteY208" fmla="*/ 1329809 h 5880798"/>
                  <a:gd name="connsiteX209" fmla="*/ 295547 w 561506"/>
                  <a:gd name="connsiteY209" fmla="*/ 1329809 h 5880798"/>
                  <a:gd name="connsiteX210" fmla="*/ 295547 w 561506"/>
                  <a:gd name="connsiteY210" fmla="*/ 1359393 h 5880798"/>
                  <a:gd name="connsiteX211" fmla="*/ 265961 w 561506"/>
                  <a:gd name="connsiteY211" fmla="*/ 1359393 h 5880798"/>
                  <a:gd name="connsiteX212" fmla="*/ 0 w 561506"/>
                  <a:gd name="connsiteY212" fmla="*/ 1329806 h 5880798"/>
                  <a:gd name="connsiteX213" fmla="*/ 29585 w 561506"/>
                  <a:gd name="connsiteY213" fmla="*/ 1329806 h 5880798"/>
                  <a:gd name="connsiteX214" fmla="*/ 29585 w 561506"/>
                  <a:gd name="connsiteY214" fmla="*/ 1359391 h 5880798"/>
                  <a:gd name="connsiteX215" fmla="*/ 0 w 561506"/>
                  <a:gd name="connsiteY215" fmla="*/ 1359391 h 5880798"/>
                  <a:gd name="connsiteX216" fmla="*/ 531921 w 561506"/>
                  <a:gd name="connsiteY216" fmla="*/ 1063855 h 5880798"/>
                  <a:gd name="connsiteX217" fmla="*/ 561506 w 561506"/>
                  <a:gd name="connsiteY217" fmla="*/ 1063855 h 5880798"/>
                  <a:gd name="connsiteX218" fmla="*/ 561506 w 561506"/>
                  <a:gd name="connsiteY218" fmla="*/ 1093441 h 5880798"/>
                  <a:gd name="connsiteX219" fmla="*/ 531921 w 561506"/>
                  <a:gd name="connsiteY219" fmla="*/ 1093441 h 5880798"/>
                  <a:gd name="connsiteX220" fmla="*/ 265961 w 561506"/>
                  <a:gd name="connsiteY220" fmla="*/ 1063852 h 5880798"/>
                  <a:gd name="connsiteX221" fmla="*/ 295547 w 561506"/>
                  <a:gd name="connsiteY221" fmla="*/ 1063852 h 5880798"/>
                  <a:gd name="connsiteX222" fmla="*/ 295547 w 561506"/>
                  <a:gd name="connsiteY222" fmla="*/ 1093438 h 5880798"/>
                  <a:gd name="connsiteX223" fmla="*/ 265961 w 561506"/>
                  <a:gd name="connsiteY223" fmla="*/ 1093438 h 5880798"/>
                  <a:gd name="connsiteX224" fmla="*/ 0 w 561506"/>
                  <a:gd name="connsiteY224" fmla="*/ 1063849 h 5880798"/>
                  <a:gd name="connsiteX225" fmla="*/ 29585 w 561506"/>
                  <a:gd name="connsiteY225" fmla="*/ 1063849 h 5880798"/>
                  <a:gd name="connsiteX226" fmla="*/ 29585 w 561506"/>
                  <a:gd name="connsiteY226" fmla="*/ 1093435 h 5880798"/>
                  <a:gd name="connsiteX227" fmla="*/ 0 w 561506"/>
                  <a:gd name="connsiteY227" fmla="*/ 1093435 h 5880798"/>
                  <a:gd name="connsiteX228" fmla="*/ 531921 w 561506"/>
                  <a:gd name="connsiteY228" fmla="*/ 797884 h 5880798"/>
                  <a:gd name="connsiteX229" fmla="*/ 561506 w 561506"/>
                  <a:gd name="connsiteY229" fmla="*/ 797884 h 5880798"/>
                  <a:gd name="connsiteX230" fmla="*/ 561506 w 561506"/>
                  <a:gd name="connsiteY230" fmla="*/ 827470 h 5880798"/>
                  <a:gd name="connsiteX231" fmla="*/ 531921 w 561506"/>
                  <a:gd name="connsiteY231" fmla="*/ 827470 h 5880798"/>
                  <a:gd name="connsiteX232" fmla="*/ 265961 w 561506"/>
                  <a:gd name="connsiteY232" fmla="*/ 797882 h 5880798"/>
                  <a:gd name="connsiteX233" fmla="*/ 295547 w 561506"/>
                  <a:gd name="connsiteY233" fmla="*/ 797882 h 5880798"/>
                  <a:gd name="connsiteX234" fmla="*/ 295547 w 561506"/>
                  <a:gd name="connsiteY234" fmla="*/ 827468 h 5880798"/>
                  <a:gd name="connsiteX235" fmla="*/ 265961 w 561506"/>
                  <a:gd name="connsiteY235" fmla="*/ 827468 h 5880798"/>
                  <a:gd name="connsiteX236" fmla="*/ 0 w 561506"/>
                  <a:gd name="connsiteY236" fmla="*/ 797879 h 5880798"/>
                  <a:gd name="connsiteX237" fmla="*/ 29585 w 561506"/>
                  <a:gd name="connsiteY237" fmla="*/ 797879 h 5880798"/>
                  <a:gd name="connsiteX238" fmla="*/ 29585 w 561506"/>
                  <a:gd name="connsiteY238" fmla="*/ 827465 h 5880798"/>
                  <a:gd name="connsiteX239" fmla="*/ 0 w 561506"/>
                  <a:gd name="connsiteY239" fmla="*/ 827465 h 5880798"/>
                  <a:gd name="connsiteX240" fmla="*/ 531921 w 561506"/>
                  <a:gd name="connsiteY240" fmla="*/ 531924 h 5880798"/>
                  <a:gd name="connsiteX241" fmla="*/ 561506 w 561506"/>
                  <a:gd name="connsiteY241" fmla="*/ 531924 h 5880798"/>
                  <a:gd name="connsiteX242" fmla="*/ 561506 w 561506"/>
                  <a:gd name="connsiteY242" fmla="*/ 561509 h 5880798"/>
                  <a:gd name="connsiteX243" fmla="*/ 531921 w 561506"/>
                  <a:gd name="connsiteY243" fmla="*/ 561509 h 5880798"/>
                  <a:gd name="connsiteX244" fmla="*/ 265961 w 561506"/>
                  <a:gd name="connsiteY244" fmla="*/ 531922 h 5880798"/>
                  <a:gd name="connsiteX245" fmla="*/ 295547 w 561506"/>
                  <a:gd name="connsiteY245" fmla="*/ 531922 h 5880798"/>
                  <a:gd name="connsiteX246" fmla="*/ 295547 w 561506"/>
                  <a:gd name="connsiteY246" fmla="*/ 561507 h 5880798"/>
                  <a:gd name="connsiteX247" fmla="*/ 265961 w 561506"/>
                  <a:gd name="connsiteY247" fmla="*/ 561507 h 5880798"/>
                  <a:gd name="connsiteX248" fmla="*/ 0 w 561506"/>
                  <a:gd name="connsiteY248" fmla="*/ 531920 h 5880798"/>
                  <a:gd name="connsiteX249" fmla="*/ 29585 w 561506"/>
                  <a:gd name="connsiteY249" fmla="*/ 531920 h 5880798"/>
                  <a:gd name="connsiteX250" fmla="*/ 29585 w 561506"/>
                  <a:gd name="connsiteY250" fmla="*/ 561505 h 5880798"/>
                  <a:gd name="connsiteX251" fmla="*/ 0 w 561506"/>
                  <a:gd name="connsiteY251" fmla="*/ 561505 h 5880798"/>
                  <a:gd name="connsiteX252" fmla="*/ 531921 w 561506"/>
                  <a:gd name="connsiteY252" fmla="*/ 265964 h 5880798"/>
                  <a:gd name="connsiteX253" fmla="*/ 561506 w 561506"/>
                  <a:gd name="connsiteY253" fmla="*/ 265964 h 5880798"/>
                  <a:gd name="connsiteX254" fmla="*/ 561506 w 561506"/>
                  <a:gd name="connsiteY254" fmla="*/ 295550 h 5880798"/>
                  <a:gd name="connsiteX255" fmla="*/ 531921 w 561506"/>
                  <a:gd name="connsiteY255" fmla="*/ 295550 h 5880798"/>
                  <a:gd name="connsiteX256" fmla="*/ 265961 w 561506"/>
                  <a:gd name="connsiteY256" fmla="*/ 265962 h 5880798"/>
                  <a:gd name="connsiteX257" fmla="*/ 295547 w 561506"/>
                  <a:gd name="connsiteY257" fmla="*/ 265962 h 5880798"/>
                  <a:gd name="connsiteX258" fmla="*/ 295547 w 561506"/>
                  <a:gd name="connsiteY258" fmla="*/ 295548 h 5880798"/>
                  <a:gd name="connsiteX259" fmla="*/ 265961 w 561506"/>
                  <a:gd name="connsiteY259" fmla="*/ 295548 h 5880798"/>
                  <a:gd name="connsiteX260" fmla="*/ 0 w 561506"/>
                  <a:gd name="connsiteY260" fmla="*/ 265960 h 5880798"/>
                  <a:gd name="connsiteX261" fmla="*/ 29585 w 561506"/>
                  <a:gd name="connsiteY261" fmla="*/ 265960 h 5880798"/>
                  <a:gd name="connsiteX262" fmla="*/ 29585 w 561506"/>
                  <a:gd name="connsiteY262" fmla="*/ 295546 h 5880798"/>
                  <a:gd name="connsiteX263" fmla="*/ 0 w 561506"/>
                  <a:gd name="connsiteY263" fmla="*/ 295546 h 5880798"/>
                  <a:gd name="connsiteX264" fmla="*/ 531921 w 561506"/>
                  <a:gd name="connsiteY264" fmla="*/ 5 h 5880798"/>
                  <a:gd name="connsiteX265" fmla="*/ 561506 w 561506"/>
                  <a:gd name="connsiteY265" fmla="*/ 5 h 5880798"/>
                  <a:gd name="connsiteX266" fmla="*/ 561506 w 561506"/>
                  <a:gd name="connsiteY266" fmla="*/ 29591 h 5880798"/>
                  <a:gd name="connsiteX267" fmla="*/ 531921 w 561506"/>
                  <a:gd name="connsiteY267" fmla="*/ 29591 h 5880798"/>
                  <a:gd name="connsiteX268" fmla="*/ 265961 w 561506"/>
                  <a:gd name="connsiteY268" fmla="*/ 3 h 5880798"/>
                  <a:gd name="connsiteX269" fmla="*/ 295547 w 561506"/>
                  <a:gd name="connsiteY269" fmla="*/ 3 h 5880798"/>
                  <a:gd name="connsiteX270" fmla="*/ 295547 w 561506"/>
                  <a:gd name="connsiteY270" fmla="*/ 29589 h 5880798"/>
                  <a:gd name="connsiteX271" fmla="*/ 265961 w 561506"/>
                  <a:gd name="connsiteY271" fmla="*/ 29589 h 5880798"/>
                  <a:gd name="connsiteX272" fmla="*/ 0 w 561506"/>
                  <a:gd name="connsiteY272" fmla="*/ 0 h 5880798"/>
                  <a:gd name="connsiteX273" fmla="*/ 29585 w 561506"/>
                  <a:gd name="connsiteY273" fmla="*/ 0 h 5880798"/>
                  <a:gd name="connsiteX274" fmla="*/ 29585 w 561506"/>
                  <a:gd name="connsiteY274" fmla="*/ 29586 h 5880798"/>
                  <a:gd name="connsiteX275" fmla="*/ 0 w 561506"/>
                  <a:gd name="connsiteY275" fmla="*/ 29586 h 588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561506" h="5880798">
                    <a:moveTo>
                      <a:pt x="531921" y="5851213"/>
                    </a:moveTo>
                    <a:lnTo>
                      <a:pt x="561506" y="5851213"/>
                    </a:lnTo>
                    <a:lnTo>
                      <a:pt x="561506" y="5880798"/>
                    </a:lnTo>
                    <a:lnTo>
                      <a:pt x="531921" y="5880798"/>
                    </a:lnTo>
                    <a:close/>
                    <a:moveTo>
                      <a:pt x="265961" y="5851213"/>
                    </a:moveTo>
                    <a:lnTo>
                      <a:pt x="295547" y="5851213"/>
                    </a:lnTo>
                    <a:lnTo>
                      <a:pt x="295547" y="5880798"/>
                    </a:lnTo>
                    <a:lnTo>
                      <a:pt x="265961" y="5880798"/>
                    </a:lnTo>
                    <a:close/>
                    <a:moveTo>
                      <a:pt x="0" y="5851213"/>
                    </a:moveTo>
                    <a:lnTo>
                      <a:pt x="29585" y="5851213"/>
                    </a:lnTo>
                    <a:lnTo>
                      <a:pt x="29585" y="5880798"/>
                    </a:lnTo>
                    <a:lnTo>
                      <a:pt x="0" y="5880798"/>
                    </a:lnTo>
                    <a:close/>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
          <p:nvSpPr>
            <p:cNvPr id="27" name="Freeform: Shape 26">
              <a:extLst>
                <a:ext uri="{FF2B5EF4-FFF2-40B4-BE49-F238E27FC236}">
                  <a16:creationId xmlns:a16="http://schemas.microsoft.com/office/drawing/2014/main" id="{E617A4DF-071D-428E-8CFC-46648A6F0207}"/>
                </a:ext>
              </a:extLst>
            </p:cNvPr>
            <p:cNvSpPr/>
            <p:nvPr userDrawn="1"/>
          </p:nvSpPr>
          <p:spPr>
            <a:xfrm>
              <a:off x="11620604" y="258374"/>
              <a:ext cx="318688" cy="6341252"/>
            </a:xfrm>
            <a:custGeom>
              <a:avLst/>
              <a:gdLst>
                <a:gd name="connsiteX0" fmla="*/ 286785 w 318688"/>
                <a:gd name="connsiteY0" fmla="*/ 6309351 h 6341252"/>
                <a:gd name="connsiteX1" fmla="*/ 318688 w 318688"/>
                <a:gd name="connsiteY1" fmla="*/ 6309351 h 6341252"/>
                <a:gd name="connsiteX2" fmla="*/ 318688 w 318688"/>
                <a:gd name="connsiteY2" fmla="*/ 6341252 h 6341252"/>
                <a:gd name="connsiteX3" fmla="*/ 286785 w 318688"/>
                <a:gd name="connsiteY3" fmla="*/ 6341252 h 6341252"/>
                <a:gd name="connsiteX4" fmla="*/ 0 w 318688"/>
                <a:gd name="connsiteY4" fmla="*/ 6309351 h 6341252"/>
                <a:gd name="connsiteX5" fmla="*/ 31901 w 318688"/>
                <a:gd name="connsiteY5" fmla="*/ 6309351 h 6341252"/>
                <a:gd name="connsiteX6" fmla="*/ 31901 w 318688"/>
                <a:gd name="connsiteY6" fmla="*/ 6341252 h 6341252"/>
                <a:gd name="connsiteX7" fmla="*/ 0 w 318688"/>
                <a:gd name="connsiteY7" fmla="*/ 6341252 h 6341252"/>
                <a:gd name="connsiteX8" fmla="*/ 286785 w 318688"/>
                <a:gd name="connsiteY8" fmla="*/ 6022567 h 6341252"/>
                <a:gd name="connsiteX9" fmla="*/ 318688 w 318688"/>
                <a:gd name="connsiteY9" fmla="*/ 6022567 h 6341252"/>
                <a:gd name="connsiteX10" fmla="*/ 318688 w 318688"/>
                <a:gd name="connsiteY10" fmla="*/ 6054468 h 6341252"/>
                <a:gd name="connsiteX11" fmla="*/ 286785 w 318688"/>
                <a:gd name="connsiteY11" fmla="*/ 6054468 h 6341252"/>
                <a:gd name="connsiteX12" fmla="*/ 0 w 318688"/>
                <a:gd name="connsiteY12" fmla="*/ 6022567 h 6341252"/>
                <a:gd name="connsiteX13" fmla="*/ 31901 w 318688"/>
                <a:gd name="connsiteY13" fmla="*/ 6022567 h 6341252"/>
                <a:gd name="connsiteX14" fmla="*/ 31901 w 318688"/>
                <a:gd name="connsiteY14" fmla="*/ 6054468 h 6341252"/>
                <a:gd name="connsiteX15" fmla="*/ 0 w 318688"/>
                <a:gd name="connsiteY15" fmla="*/ 6054468 h 6341252"/>
                <a:gd name="connsiteX16" fmla="*/ 286785 w 318688"/>
                <a:gd name="connsiteY16" fmla="*/ 5735783 h 6341252"/>
                <a:gd name="connsiteX17" fmla="*/ 318688 w 318688"/>
                <a:gd name="connsiteY17" fmla="*/ 5735783 h 6341252"/>
                <a:gd name="connsiteX18" fmla="*/ 318688 w 318688"/>
                <a:gd name="connsiteY18" fmla="*/ 5767685 h 6341252"/>
                <a:gd name="connsiteX19" fmla="*/ 286785 w 318688"/>
                <a:gd name="connsiteY19" fmla="*/ 5767685 h 6341252"/>
                <a:gd name="connsiteX20" fmla="*/ 0 w 318688"/>
                <a:gd name="connsiteY20" fmla="*/ 5735783 h 6341252"/>
                <a:gd name="connsiteX21" fmla="*/ 31901 w 318688"/>
                <a:gd name="connsiteY21" fmla="*/ 5735783 h 6341252"/>
                <a:gd name="connsiteX22" fmla="*/ 31901 w 318688"/>
                <a:gd name="connsiteY22" fmla="*/ 5767685 h 6341252"/>
                <a:gd name="connsiteX23" fmla="*/ 0 w 318688"/>
                <a:gd name="connsiteY23" fmla="*/ 5767685 h 6341252"/>
                <a:gd name="connsiteX24" fmla="*/ 286785 w 318688"/>
                <a:gd name="connsiteY24" fmla="*/ 5448997 h 6341252"/>
                <a:gd name="connsiteX25" fmla="*/ 318688 w 318688"/>
                <a:gd name="connsiteY25" fmla="*/ 5448997 h 6341252"/>
                <a:gd name="connsiteX26" fmla="*/ 318688 w 318688"/>
                <a:gd name="connsiteY26" fmla="*/ 5480899 h 6341252"/>
                <a:gd name="connsiteX27" fmla="*/ 286785 w 318688"/>
                <a:gd name="connsiteY27" fmla="*/ 5480899 h 6341252"/>
                <a:gd name="connsiteX28" fmla="*/ 0 w 318688"/>
                <a:gd name="connsiteY28" fmla="*/ 5448997 h 6341252"/>
                <a:gd name="connsiteX29" fmla="*/ 31901 w 318688"/>
                <a:gd name="connsiteY29" fmla="*/ 5448997 h 6341252"/>
                <a:gd name="connsiteX30" fmla="*/ 31901 w 318688"/>
                <a:gd name="connsiteY30" fmla="*/ 5480899 h 6341252"/>
                <a:gd name="connsiteX31" fmla="*/ 0 w 318688"/>
                <a:gd name="connsiteY31" fmla="*/ 5480899 h 6341252"/>
                <a:gd name="connsiteX32" fmla="*/ 286785 w 318688"/>
                <a:gd name="connsiteY32" fmla="*/ 5162213 h 6341252"/>
                <a:gd name="connsiteX33" fmla="*/ 318688 w 318688"/>
                <a:gd name="connsiteY33" fmla="*/ 5162213 h 6341252"/>
                <a:gd name="connsiteX34" fmla="*/ 318688 w 318688"/>
                <a:gd name="connsiteY34" fmla="*/ 5194116 h 6341252"/>
                <a:gd name="connsiteX35" fmla="*/ 286785 w 318688"/>
                <a:gd name="connsiteY35" fmla="*/ 5194116 h 6341252"/>
                <a:gd name="connsiteX36" fmla="*/ 0 w 318688"/>
                <a:gd name="connsiteY36" fmla="*/ 5162213 h 6341252"/>
                <a:gd name="connsiteX37" fmla="*/ 31901 w 318688"/>
                <a:gd name="connsiteY37" fmla="*/ 5162213 h 6341252"/>
                <a:gd name="connsiteX38" fmla="*/ 31901 w 318688"/>
                <a:gd name="connsiteY38" fmla="*/ 5194116 h 6341252"/>
                <a:gd name="connsiteX39" fmla="*/ 0 w 318688"/>
                <a:gd name="connsiteY39" fmla="*/ 5194116 h 6341252"/>
                <a:gd name="connsiteX40" fmla="*/ 286785 w 318688"/>
                <a:gd name="connsiteY40" fmla="*/ 4875429 h 6341252"/>
                <a:gd name="connsiteX41" fmla="*/ 318688 w 318688"/>
                <a:gd name="connsiteY41" fmla="*/ 4875429 h 6341252"/>
                <a:gd name="connsiteX42" fmla="*/ 318688 w 318688"/>
                <a:gd name="connsiteY42" fmla="*/ 4907331 h 6341252"/>
                <a:gd name="connsiteX43" fmla="*/ 286785 w 318688"/>
                <a:gd name="connsiteY43" fmla="*/ 4907331 h 6341252"/>
                <a:gd name="connsiteX44" fmla="*/ 0 w 318688"/>
                <a:gd name="connsiteY44" fmla="*/ 4875429 h 6341252"/>
                <a:gd name="connsiteX45" fmla="*/ 31901 w 318688"/>
                <a:gd name="connsiteY45" fmla="*/ 4875429 h 6341252"/>
                <a:gd name="connsiteX46" fmla="*/ 31901 w 318688"/>
                <a:gd name="connsiteY46" fmla="*/ 4907331 h 6341252"/>
                <a:gd name="connsiteX47" fmla="*/ 0 w 318688"/>
                <a:gd name="connsiteY47" fmla="*/ 4907331 h 6341252"/>
                <a:gd name="connsiteX48" fmla="*/ 286785 w 318688"/>
                <a:gd name="connsiteY48" fmla="*/ 4588644 h 6341252"/>
                <a:gd name="connsiteX49" fmla="*/ 318688 w 318688"/>
                <a:gd name="connsiteY49" fmla="*/ 4588644 h 6341252"/>
                <a:gd name="connsiteX50" fmla="*/ 318688 w 318688"/>
                <a:gd name="connsiteY50" fmla="*/ 4620545 h 6341252"/>
                <a:gd name="connsiteX51" fmla="*/ 286785 w 318688"/>
                <a:gd name="connsiteY51" fmla="*/ 4620545 h 6341252"/>
                <a:gd name="connsiteX52" fmla="*/ 0 w 318688"/>
                <a:gd name="connsiteY52" fmla="*/ 4588644 h 6341252"/>
                <a:gd name="connsiteX53" fmla="*/ 31901 w 318688"/>
                <a:gd name="connsiteY53" fmla="*/ 4588644 h 6341252"/>
                <a:gd name="connsiteX54" fmla="*/ 31901 w 318688"/>
                <a:gd name="connsiteY54" fmla="*/ 4620545 h 6341252"/>
                <a:gd name="connsiteX55" fmla="*/ 0 w 318688"/>
                <a:gd name="connsiteY55" fmla="*/ 4620545 h 6341252"/>
                <a:gd name="connsiteX56" fmla="*/ 286785 w 318688"/>
                <a:gd name="connsiteY56" fmla="*/ 4301860 h 6341252"/>
                <a:gd name="connsiteX57" fmla="*/ 318688 w 318688"/>
                <a:gd name="connsiteY57" fmla="*/ 4301860 h 6341252"/>
                <a:gd name="connsiteX58" fmla="*/ 318688 w 318688"/>
                <a:gd name="connsiteY58" fmla="*/ 4333762 h 6341252"/>
                <a:gd name="connsiteX59" fmla="*/ 286785 w 318688"/>
                <a:gd name="connsiteY59" fmla="*/ 4333762 h 6341252"/>
                <a:gd name="connsiteX60" fmla="*/ 0 w 318688"/>
                <a:gd name="connsiteY60" fmla="*/ 4301860 h 6341252"/>
                <a:gd name="connsiteX61" fmla="*/ 31901 w 318688"/>
                <a:gd name="connsiteY61" fmla="*/ 4301860 h 6341252"/>
                <a:gd name="connsiteX62" fmla="*/ 31901 w 318688"/>
                <a:gd name="connsiteY62" fmla="*/ 4333762 h 6341252"/>
                <a:gd name="connsiteX63" fmla="*/ 0 w 318688"/>
                <a:gd name="connsiteY63" fmla="*/ 4333762 h 6341252"/>
                <a:gd name="connsiteX64" fmla="*/ 286785 w 318688"/>
                <a:gd name="connsiteY64" fmla="*/ 4015075 h 6341252"/>
                <a:gd name="connsiteX65" fmla="*/ 318688 w 318688"/>
                <a:gd name="connsiteY65" fmla="*/ 4015075 h 6341252"/>
                <a:gd name="connsiteX66" fmla="*/ 318688 w 318688"/>
                <a:gd name="connsiteY66" fmla="*/ 4046976 h 6341252"/>
                <a:gd name="connsiteX67" fmla="*/ 286785 w 318688"/>
                <a:gd name="connsiteY67" fmla="*/ 4046976 h 6341252"/>
                <a:gd name="connsiteX68" fmla="*/ 0 w 318688"/>
                <a:gd name="connsiteY68" fmla="*/ 4015075 h 6341252"/>
                <a:gd name="connsiteX69" fmla="*/ 31901 w 318688"/>
                <a:gd name="connsiteY69" fmla="*/ 4015075 h 6341252"/>
                <a:gd name="connsiteX70" fmla="*/ 31901 w 318688"/>
                <a:gd name="connsiteY70" fmla="*/ 4046976 h 6341252"/>
                <a:gd name="connsiteX71" fmla="*/ 0 w 318688"/>
                <a:gd name="connsiteY71" fmla="*/ 4046976 h 6341252"/>
                <a:gd name="connsiteX72" fmla="*/ 286785 w 318688"/>
                <a:gd name="connsiteY72" fmla="*/ 3728291 h 6341252"/>
                <a:gd name="connsiteX73" fmla="*/ 318688 w 318688"/>
                <a:gd name="connsiteY73" fmla="*/ 3728291 h 6341252"/>
                <a:gd name="connsiteX74" fmla="*/ 318688 w 318688"/>
                <a:gd name="connsiteY74" fmla="*/ 3760193 h 6341252"/>
                <a:gd name="connsiteX75" fmla="*/ 286785 w 318688"/>
                <a:gd name="connsiteY75" fmla="*/ 3760193 h 6341252"/>
                <a:gd name="connsiteX76" fmla="*/ 0 w 318688"/>
                <a:gd name="connsiteY76" fmla="*/ 3728291 h 6341252"/>
                <a:gd name="connsiteX77" fmla="*/ 31901 w 318688"/>
                <a:gd name="connsiteY77" fmla="*/ 3728291 h 6341252"/>
                <a:gd name="connsiteX78" fmla="*/ 31901 w 318688"/>
                <a:gd name="connsiteY78" fmla="*/ 3760193 h 6341252"/>
                <a:gd name="connsiteX79" fmla="*/ 0 w 318688"/>
                <a:gd name="connsiteY79" fmla="*/ 3760193 h 6341252"/>
                <a:gd name="connsiteX80" fmla="*/ 286785 w 318688"/>
                <a:gd name="connsiteY80" fmla="*/ 3441515 h 6341252"/>
                <a:gd name="connsiteX81" fmla="*/ 318688 w 318688"/>
                <a:gd name="connsiteY81" fmla="*/ 3441515 h 6341252"/>
                <a:gd name="connsiteX82" fmla="*/ 318688 w 318688"/>
                <a:gd name="connsiteY82" fmla="*/ 3473408 h 6341252"/>
                <a:gd name="connsiteX83" fmla="*/ 286785 w 318688"/>
                <a:gd name="connsiteY83" fmla="*/ 3473408 h 6341252"/>
                <a:gd name="connsiteX84" fmla="*/ 0 w 318688"/>
                <a:gd name="connsiteY84" fmla="*/ 3441514 h 6341252"/>
                <a:gd name="connsiteX85" fmla="*/ 31901 w 318688"/>
                <a:gd name="connsiteY85" fmla="*/ 3441514 h 6341252"/>
                <a:gd name="connsiteX86" fmla="*/ 31901 w 318688"/>
                <a:gd name="connsiteY86" fmla="*/ 3473408 h 6341252"/>
                <a:gd name="connsiteX87" fmla="*/ 0 w 318688"/>
                <a:gd name="connsiteY87" fmla="*/ 3473408 h 6341252"/>
                <a:gd name="connsiteX88" fmla="*/ 286785 w 318688"/>
                <a:gd name="connsiteY88" fmla="*/ 3154732 h 6341252"/>
                <a:gd name="connsiteX89" fmla="*/ 318688 w 318688"/>
                <a:gd name="connsiteY89" fmla="*/ 3154732 h 6341252"/>
                <a:gd name="connsiteX90" fmla="*/ 318688 w 318688"/>
                <a:gd name="connsiteY90" fmla="*/ 3186635 h 6341252"/>
                <a:gd name="connsiteX91" fmla="*/ 286785 w 318688"/>
                <a:gd name="connsiteY91" fmla="*/ 3186635 h 6341252"/>
                <a:gd name="connsiteX92" fmla="*/ 0 w 318688"/>
                <a:gd name="connsiteY92" fmla="*/ 3154731 h 6341252"/>
                <a:gd name="connsiteX93" fmla="*/ 31901 w 318688"/>
                <a:gd name="connsiteY93" fmla="*/ 3154731 h 6341252"/>
                <a:gd name="connsiteX94" fmla="*/ 31901 w 318688"/>
                <a:gd name="connsiteY94" fmla="*/ 3186634 h 6341252"/>
                <a:gd name="connsiteX95" fmla="*/ 0 w 318688"/>
                <a:gd name="connsiteY95" fmla="*/ 3186634 h 6341252"/>
                <a:gd name="connsiteX96" fmla="*/ 286785 w 318688"/>
                <a:gd name="connsiteY96" fmla="*/ 2867859 h 6341252"/>
                <a:gd name="connsiteX97" fmla="*/ 318688 w 318688"/>
                <a:gd name="connsiteY97" fmla="*/ 2867859 h 6341252"/>
                <a:gd name="connsiteX98" fmla="*/ 318688 w 318688"/>
                <a:gd name="connsiteY98" fmla="*/ 2899760 h 6341252"/>
                <a:gd name="connsiteX99" fmla="*/ 286785 w 318688"/>
                <a:gd name="connsiteY99" fmla="*/ 2899760 h 6341252"/>
                <a:gd name="connsiteX100" fmla="*/ 0 w 318688"/>
                <a:gd name="connsiteY100" fmla="*/ 2867855 h 6341252"/>
                <a:gd name="connsiteX101" fmla="*/ 31901 w 318688"/>
                <a:gd name="connsiteY101" fmla="*/ 2867855 h 6341252"/>
                <a:gd name="connsiteX102" fmla="*/ 31901 w 318688"/>
                <a:gd name="connsiteY102" fmla="*/ 2899757 h 6341252"/>
                <a:gd name="connsiteX103" fmla="*/ 0 w 318688"/>
                <a:gd name="connsiteY103" fmla="*/ 2899757 h 6341252"/>
                <a:gd name="connsiteX104" fmla="*/ 286785 w 318688"/>
                <a:gd name="connsiteY104" fmla="*/ 2581076 h 6341252"/>
                <a:gd name="connsiteX105" fmla="*/ 318688 w 318688"/>
                <a:gd name="connsiteY105" fmla="*/ 2581076 h 6341252"/>
                <a:gd name="connsiteX106" fmla="*/ 318688 w 318688"/>
                <a:gd name="connsiteY106" fmla="*/ 2612993 h 6341252"/>
                <a:gd name="connsiteX107" fmla="*/ 286785 w 318688"/>
                <a:gd name="connsiteY107" fmla="*/ 2612993 h 6341252"/>
                <a:gd name="connsiteX108" fmla="*/ 0 w 318688"/>
                <a:gd name="connsiteY108" fmla="*/ 2581073 h 6341252"/>
                <a:gd name="connsiteX109" fmla="*/ 31901 w 318688"/>
                <a:gd name="connsiteY109" fmla="*/ 2581073 h 6341252"/>
                <a:gd name="connsiteX110" fmla="*/ 31901 w 318688"/>
                <a:gd name="connsiteY110" fmla="*/ 2612987 h 6341252"/>
                <a:gd name="connsiteX111" fmla="*/ 0 w 318688"/>
                <a:gd name="connsiteY111" fmla="*/ 2612987 h 6341252"/>
                <a:gd name="connsiteX112" fmla="*/ 286785 w 318688"/>
                <a:gd name="connsiteY112" fmla="*/ 2294287 h 6341252"/>
                <a:gd name="connsiteX113" fmla="*/ 318688 w 318688"/>
                <a:gd name="connsiteY113" fmla="*/ 2294287 h 6341252"/>
                <a:gd name="connsiteX114" fmla="*/ 318688 w 318688"/>
                <a:gd name="connsiteY114" fmla="*/ 2326193 h 6341252"/>
                <a:gd name="connsiteX115" fmla="*/ 286785 w 318688"/>
                <a:gd name="connsiteY115" fmla="*/ 2326193 h 6341252"/>
                <a:gd name="connsiteX116" fmla="*/ 0 w 318688"/>
                <a:gd name="connsiteY116" fmla="*/ 2294283 h 6341252"/>
                <a:gd name="connsiteX117" fmla="*/ 31901 w 318688"/>
                <a:gd name="connsiteY117" fmla="*/ 2294283 h 6341252"/>
                <a:gd name="connsiteX118" fmla="*/ 31901 w 318688"/>
                <a:gd name="connsiteY118" fmla="*/ 2326188 h 6341252"/>
                <a:gd name="connsiteX119" fmla="*/ 0 w 318688"/>
                <a:gd name="connsiteY119" fmla="*/ 2326188 h 6341252"/>
                <a:gd name="connsiteX120" fmla="*/ 286785 w 318688"/>
                <a:gd name="connsiteY120" fmla="*/ 2007498 h 6341252"/>
                <a:gd name="connsiteX121" fmla="*/ 318688 w 318688"/>
                <a:gd name="connsiteY121" fmla="*/ 2007498 h 6341252"/>
                <a:gd name="connsiteX122" fmla="*/ 318688 w 318688"/>
                <a:gd name="connsiteY122" fmla="*/ 2039391 h 6341252"/>
                <a:gd name="connsiteX123" fmla="*/ 286785 w 318688"/>
                <a:gd name="connsiteY123" fmla="*/ 2039391 h 6341252"/>
                <a:gd name="connsiteX124" fmla="*/ 0 w 318688"/>
                <a:gd name="connsiteY124" fmla="*/ 2007496 h 6341252"/>
                <a:gd name="connsiteX125" fmla="*/ 31901 w 318688"/>
                <a:gd name="connsiteY125" fmla="*/ 2007496 h 6341252"/>
                <a:gd name="connsiteX126" fmla="*/ 31901 w 318688"/>
                <a:gd name="connsiteY126" fmla="*/ 2039389 h 6341252"/>
                <a:gd name="connsiteX127" fmla="*/ 0 w 318688"/>
                <a:gd name="connsiteY127" fmla="*/ 2039389 h 6341252"/>
                <a:gd name="connsiteX128" fmla="*/ 286785 w 318688"/>
                <a:gd name="connsiteY128" fmla="*/ 1720711 h 6341252"/>
                <a:gd name="connsiteX129" fmla="*/ 318688 w 318688"/>
                <a:gd name="connsiteY129" fmla="*/ 1720711 h 6341252"/>
                <a:gd name="connsiteX130" fmla="*/ 318688 w 318688"/>
                <a:gd name="connsiteY130" fmla="*/ 1752614 h 6341252"/>
                <a:gd name="connsiteX131" fmla="*/ 286785 w 318688"/>
                <a:gd name="connsiteY131" fmla="*/ 1752614 h 6341252"/>
                <a:gd name="connsiteX132" fmla="*/ 0 w 318688"/>
                <a:gd name="connsiteY132" fmla="*/ 1720709 h 6341252"/>
                <a:gd name="connsiteX133" fmla="*/ 31901 w 318688"/>
                <a:gd name="connsiteY133" fmla="*/ 1720709 h 6341252"/>
                <a:gd name="connsiteX134" fmla="*/ 31901 w 318688"/>
                <a:gd name="connsiteY134" fmla="*/ 1752612 h 6341252"/>
                <a:gd name="connsiteX135" fmla="*/ 0 w 318688"/>
                <a:gd name="connsiteY135" fmla="*/ 1752612 h 6341252"/>
                <a:gd name="connsiteX136" fmla="*/ 286785 w 318688"/>
                <a:gd name="connsiteY136" fmla="*/ 1433930 h 6341252"/>
                <a:gd name="connsiteX137" fmla="*/ 318688 w 318688"/>
                <a:gd name="connsiteY137" fmla="*/ 1433930 h 6341252"/>
                <a:gd name="connsiteX138" fmla="*/ 318688 w 318688"/>
                <a:gd name="connsiteY138" fmla="*/ 1465831 h 6341252"/>
                <a:gd name="connsiteX139" fmla="*/ 286785 w 318688"/>
                <a:gd name="connsiteY139" fmla="*/ 1465831 h 6341252"/>
                <a:gd name="connsiteX140" fmla="*/ 0 w 318688"/>
                <a:gd name="connsiteY140" fmla="*/ 1433927 h 6341252"/>
                <a:gd name="connsiteX141" fmla="*/ 31901 w 318688"/>
                <a:gd name="connsiteY141" fmla="*/ 1433927 h 6341252"/>
                <a:gd name="connsiteX142" fmla="*/ 31901 w 318688"/>
                <a:gd name="connsiteY142" fmla="*/ 1465828 h 6341252"/>
                <a:gd name="connsiteX143" fmla="*/ 0 w 318688"/>
                <a:gd name="connsiteY143" fmla="*/ 1465828 h 6341252"/>
                <a:gd name="connsiteX144" fmla="*/ 286785 w 318688"/>
                <a:gd name="connsiteY144" fmla="*/ 1147150 h 6341252"/>
                <a:gd name="connsiteX145" fmla="*/ 318688 w 318688"/>
                <a:gd name="connsiteY145" fmla="*/ 1147150 h 6341252"/>
                <a:gd name="connsiteX146" fmla="*/ 318688 w 318688"/>
                <a:gd name="connsiteY146" fmla="*/ 1179052 h 6341252"/>
                <a:gd name="connsiteX147" fmla="*/ 286785 w 318688"/>
                <a:gd name="connsiteY147" fmla="*/ 1179052 h 6341252"/>
                <a:gd name="connsiteX148" fmla="*/ 0 w 318688"/>
                <a:gd name="connsiteY148" fmla="*/ 1147146 h 6341252"/>
                <a:gd name="connsiteX149" fmla="*/ 31901 w 318688"/>
                <a:gd name="connsiteY149" fmla="*/ 1147146 h 6341252"/>
                <a:gd name="connsiteX150" fmla="*/ 31901 w 318688"/>
                <a:gd name="connsiteY150" fmla="*/ 1179049 h 6341252"/>
                <a:gd name="connsiteX151" fmla="*/ 0 w 318688"/>
                <a:gd name="connsiteY151" fmla="*/ 1179049 h 6341252"/>
                <a:gd name="connsiteX152" fmla="*/ 286785 w 318688"/>
                <a:gd name="connsiteY152" fmla="*/ 860355 h 6341252"/>
                <a:gd name="connsiteX153" fmla="*/ 318688 w 318688"/>
                <a:gd name="connsiteY153" fmla="*/ 860355 h 6341252"/>
                <a:gd name="connsiteX154" fmla="*/ 318688 w 318688"/>
                <a:gd name="connsiteY154" fmla="*/ 892257 h 6341252"/>
                <a:gd name="connsiteX155" fmla="*/ 286785 w 318688"/>
                <a:gd name="connsiteY155" fmla="*/ 892257 h 6341252"/>
                <a:gd name="connsiteX156" fmla="*/ 0 w 318688"/>
                <a:gd name="connsiteY156" fmla="*/ 860351 h 6341252"/>
                <a:gd name="connsiteX157" fmla="*/ 31901 w 318688"/>
                <a:gd name="connsiteY157" fmla="*/ 860351 h 6341252"/>
                <a:gd name="connsiteX158" fmla="*/ 31901 w 318688"/>
                <a:gd name="connsiteY158" fmla="*/ 892254 h 6341252"/>
                <a:gd name="connsiteX159" fmla="*/ 0 w 318688"/>
                <a:gd name="connsiteY159" fmla="*/ 892254 h 6341252"/>
                <a:gd name="connsiteX160" fmla="*/ 286785 w 318688"/>
                <a:gd name="connsiteY160" fmla="*/ 573571 h 6341252"/>
                <a:gd name="connsiteX161" fmla="*/ 318688 w 318688"/>
                <a:gd name="connsiteY161" fmla="*/ 573571 h 6341252"/>
                <a:gd name="connsiteX162" fmla="*/ 318688 w 318688"/>
                <a:gd name="connsiteY162" fmla="*/ 605472 h 6341252"/>
                <a:gd name="connsiteX163" fmla="*/ 286785 w 318688"/>
                <a:gd name="connsiteY163" fmla="*/ 605472 h 6341252"/>
                <a:gd name="connsiteX164" fmla="*/ 0 w 318688"/>
                <a:gd name="connsiteY164" fmla="*/ 573568 h 6341252"/>
                <a:gd name="connsiteX165" fmla="*/ 31901 w 318688"/>
                <a:gd name="connsiteY165" fmla="*/ 573568 h 6341252"/>
                <a:gd name="connsiteX166" fmla="*/ 31901 w 318688"/>
                <a:gd name="connsiteY166" fmla="*/ 605470 h 6341252"/>
                <a:gd name="connsiteX167" fmla="*/ 0 w 318688"/>
                <a:gd name="connsiteY167" fmla="*/ 605470 h 6341252"/>
                <a:gd name="connsiteX168" fmla="*/ 286785 w 318688"/>
                <a:gd name="connsiteY168" fmla="*/ 286786 h 6341252"/>
                <a:gd name="connsiteX169" fmla="*/ 318688 w 318688"/>
                <a:gd name="connsiteY169" fmla="*/ 286786 h 6341252"/>
                <a:gd name="connsiteX170" fmla="*/ 318688 w 318688"/>
                <a:gd name="connsiteY170" fmla="*/ 318689 h 6341252"/>
                <a:gd name="connsiteX171" fmla="*/ 286785 w 318688"/>
                <a:gd name="connsiteY171" fmla="*/ 318689 h 6341252"/>
                <a:gd name="connsiteX172" fmla="*/ 0 w 318688"/>
                <a:gd name="connsiteY172" fmla="*/ 286784 h 6341252"/>
                <a:gd name="connsiteX173" fmla="*/ 31901 w 318688"/>
                <a:gd name="connsiteY173" fmla="*/ 286784 h 6341252"/>
                <a:gd name="connsiteX174" fmla="*/ 31901 w 318688"/>
                <a:gd name="connsiteY174" fmla="*/ 318687 h 6341252"/>
                <a:gd name="connsiteX175" fmla="*/ 0 w 318688"/>
                <a:gd name="connsiteY175" fmla="*/ 318687 h 6341252"/>
                <a:gd name="connsiteX176" fmla="*/ 286785 w 318688"/>
                <a:gd name="connsiteY176" fmla="*/ 3 h 6341252"/>
                <a:gd name="connsiteX177" fmla="*/ 318688 w 318688"/>
                <a:gd name="connsiteY177" fmla="*/ 3 h 6341252"/>
                <a:gd name="connsiteX178" fmla="*/ 318688 w 318688"/>
                <a:gd name="connsiteY178" fmla="*/ 31906 h 6341252"/>
                <a:gd name="connsiteX179" fmla="*/ 286785 w 318688"/>
                <a:gd name="connsiteY179" fmla="*/ 31906 h 6341252"/>
                <a:gd name="connsiteX180" fmla="*/ 0 w 318688"/>
                <a:gd name="connsiteY180" fmla="*/ 0 h 6341252"/>
                <a:gd name="connsiteX181" fmla="*/ 31901 w 318688"/>
                <a:gd name="connsiteY181" fmla="*/ 0 h 6341252"/>
                <a:gd name="connsiteX182" fmla="*/ 31901 w 318688"/>
                <a:gd name="connsiteY182" fmla="*/ 31903 h 6341252"/>
                <a:gd name="connsiteX183" fmla="*/ 0 w 318688"/>
                <a:gd name="connsiteY183" fmla="*/ 31903 h 634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18688" h="6341252">
                  <a:moveTo>
                    <a:pt x="286785" y="6309351"/>
                  </a:moveTo>
                  <a:lnTo>
                    <a:pt x="318688" y="6309351"/>
                  </a:lnTo>
                  <a:lnTo>
                    <a:pt x="318688" y="6341252"/>
                  </a:lnTo>
                  <a:lnTo>
                    <a:pt x="286785" y="6341252"/>
                  </a:lnTo>
                  <a:close/>
                  <a:moveTo>
                    <a:pt x="0" y="6309351"/>
                  </a:moveTo>
                  <a:lnTo>
                    <a:pt x="31901" y="6309351"/>
                  </a:lnTo>
                  <a:lnTo>
                    <a:pt x="31901" y="6341252"/>
                  </a:lnTo>
                  <a:lnTo>
                    <a:pt x="0" y="6341252"/>
                  </a:lnTo>
                  <a:close/>
                  <a:moveTo>
                    <a:pt x="286785" y="6022567"/>
                  </a:moveTo>
                  <a:lnTo>
                    <a:pt x="318688" y="6022567"/>
                  </a:lnTo>
                  <a:lnTo>
                    <a:pt x="318688" y="6054468"/>
                  </a:lnTo>
                  <a:lnTo>
                    <a:pt x="286785" y="6054468"/>
                  </a:lnTo>
                  <a:close/>
                  <a:moveTo>
                    <a:pt x="0" y="6022567"/>
                  </a:moveTo>
                  <a:lnTo>
                    <a:pt x="31901" y="6022567"/>
                  </a:lnTo>
                  <a:lnTo>
                    <a:pt x="31901" y="6054468"/>
                  </a:lnTo>
                  <a:lnTo>
                    <a:pt x="0" y="6054468"/>
                  </a:lnTo>
                  <a:close/>
                  <a:moveTo>
                    <a:pt x="286785" y="5735783"/>
                  </a:moveTo>
                  <a:lnTo>
                    <a:pt x="318688" y="5735783"/>
                  </a:lnTo>
                  <a:lnTo>
                    <a:pt x="318688" y="5767685"/>
                  </a:lnTo>
                  <a:lnTo>
                    <a:pt x="286785" y="5767685"/>
                  </a:lnTo>
                  <a:close/>
                  <a:moveTo>
                    <a:pt x="0" y="5735783"/>
                  </a:moveTo>
                  <a:lnTo>
                    <a:pt x="31901" y="5735783"/>
                  </a:lnTo>
                  <a:lnTo>
                    <a:pt x="31901" y="5767685"/>
                  </a:lnTo>
                  <a:lnTo>
                    <a:pt x="0" y="5767685"/>
                  </a:lnTo>
                  <a:close/>
                  <a:moveTo>
                    <a:pt x="286785" y="5448997"/>
                  </a:moveTo>
                  <a:lnTo>
                    <a:pt x="318688" y="5448997"/>
                  </a:lnTo>
                  <a:lnTo>
                    <a:pt x="318688" y="5480899"/>
                  </a:lnTo>
                  <a:lnTo>
                    <a:pt x="286785" y="5480899"/>
                  </a:lnTo>
                  <a:close/>
                  <a:moveTo>
                    <a:pt x="0" y="5448997"/>
                  </a:moveTo>
                  <a:lnTo>
                    <a:pt x="31901" y="5448997"/>
                  </a:lnTo>
                  <a:lnTo>
                    <a:pt x="31901" y="5480899"/>
                  </a:lnTo>
                  <a:lnTo>
                    <a:pt x="0" y="5480899"/>
                  </a:lnTo>
                  <a:close/>
                  <a:moveTo>
                    <a:pt x="286785" y="5162213"/>
                  </a:moveTo>
                  <a:lnTo>
                    <a:pt x="318688" y="5162213"/>
                  </a:lnTo>
                  <a:lnTo>
                    <a:pt x="318688" y="5194116"/>
                  </a:lnTo>
                  <a:lnTo>
                    <a:pt x="286785" y="5194116"/>
                  </a:lnTo>
                  <a:close/>
                  <a:moveTo>
                    <a:pt x="0" y="5162213"/>
                  </a:moveTo>
                  <a:lnTo>
                    <a:pt x="31901" y="5162213"/>
                  </a:lnTo>
                  <a:lnTo>
                    <a:pt x="31901" y="5194116"/>
                  </a:lnTo>
                  <a:lnTo>
                    <a:pt x="0" y="5194116"/>
                  </a:lnTo>
                  <a:close/>
                  <a:moveTo>
                    <a:pt x="286785" y="4875429"/>
                  </a:moveTo>
                  <a:lnTo>
                    <a:pt x="318688" y="4875429"/>
                  </a:lnTo>
                  <a:lnTo>
                    <a:pt x="318688" y="4907331"/>
                  </a:lnTo>
                  <a:lnTo>
                    <a:pt x="286785" y="4907331"/>
                  </a:lnTo>
                  <a:close/>
                  <a:moveTo>
                    <a:pt x="0" y="4875429"/>
                  </a:moveTo>
                  <a:lnTo>
                    <a:pt x="31901" y="4875429"/>
                  </a:lnTo>
                  <a:lnTo>
                    <a:pt x="31901" y="4907331"/>
                  </a:lnTo>
                  <a:lnTo>
                    <a:pt x="0" y="4907331"/>
                  </a:lnTo>
                  <a:close/>
                  <a:moveTo>
                    <a:pt x="286785" y="4588644"/>
                  </a:moveTo>
                  <a:lnTo>
                    <a:pt x="318688" y="4588644"/>
                  </a:lnTo>
                  <a:lnTo>
                    <a:pt x="318688" y="4620545"/>
                  </a:lnTo>
                  <a:lnTo>
                    <a:pt x="286785" y="4620545"/>
                  </a:lnTo>
                  <a:close/>
                  <a:moveTo>
                    <a:pt x="0" y="4588644"/>
                  </a:moveTo>
                  <a:lnTo>
                    <a:pt x="31901" y="4588644"/>
                  </a:lnTo>
                  <a:lnTo>
                    <a:pt x="31901" y="4620545"/>
                  </a:lnTo>
                  <a:lnTo>
                    <a:pt x="0" y="4620545"/>
                  </a:lnTo>
                  <a:close/>
                  <a:moveTo>
                    <a:pt x="286785" y="4301860"/>
                  </a:moveTo>
                  <a:lnTo>
                    <a:pt x="318688" y="4301860"/>
                  </a:lnTo>
                  <a:lnTo>
                    <a:pt x="318688" y="4333762"/>
                  </a:lnTo>
                  <a:lnTo>
                    <a:pt x="286785" y="4333762"/>
                  </a:lnTo>
                  <a:close/>
                  <a:moveTo>
                    <a:pt x="0" y="4301860"/>
                  </a:moveTo>
                  <a:lnTo>
                    <a:pt x="31901" y="4301860"/>
                  </a:lnTo>
                  <a:lnTo>
                    <a:pt x="31901" y="4333762"/>
                  </a:lnTo>
                  <a:lnTo>
                    <a:pt x="0" y="4333762"/>
                  </a:lnTo>
                  <a:close/>
                  <a:moveTo>
                    <a:pt x="286785" y="4015075"/>
                  </a:moveTo>
                  <a:lnTo>
                    <a:pt x="318688" y="4015075"/>
                  </a:lnTo>
                  <a:lnTo>
                    <a:pt x="318688" y="4046976"/>
                  </a:lnTo>
                  <a:lnTo>
                    <a:pt x="286785" y="4046976"/>
                  </a:lnTo>
                  <a:close/>
                  <a:moveTo>
                    <a:pt x="0" y="4015075"/>
                  </a:moveTo>
                  <a:lnTo>
                    <a:pt x="31901" y="4015075"/>
                  </a:lnTo>
                  <a:lnTo>
                    <a:pt x="31901" y="4046976"/>
                  </a:lnTo>
                  <a:lnTo>
                    <a:pt x="0" y="4046976"/>
                  </a:lnTo>
                  <a:close/>
                  <a:moveTo>
                    <a:pt x="286785" y="3728291"/>
                  </a:moveTo>
                  <a:lnTo>
                    <a:pt x="318688" y="3728291"/>
                  </a:lnTo>
                  <a:lnTo>
                    <a:pt x="318688" y="3760193"/>
                  </a:lnTo>
                  <a:lnTo>
                    <a:pt x="286785" y="3760193"/>
                  </a:lnTo>
                  <a:close/>
                  <a:moveTo>
                    <a:pt x="0" y="3728291"/>
                  </a:moveTo>
                  <a:lnTo>
                    <a:pt x="31901" y="3728291"/>
                  </a:lnTo>
                  <a:lnTo>
                    <a:pt x="31901" y="3760193"/>
                  </a:lnTo>
                  <a:lnTo>
                    <a:pt x="0" y="3760193"/>
                  </a:lnTo>
                  <a:close/>
                  <a:moveTo>
                    <a:pt x="286785" y="3441515"/>
                  </a:moveTo>
                  <a:lnTo>
                    <a:pt x="318688" y="3441515"/>
                  </a:lnTo>
                  <a:lnTo>
                    <a:pt x="318688" y="3473408"/>
                  </a:lnTo>
                  <a:lnTo>
                    <a:pt x="286785" y="3473408"/>
                  </a:lnTo>
                  <a:close/>
                  <a:moveTo>
                    <a:pt x="0" y="3441514"/>
                  </a:moveTo>
                  <a:lnTo>
                    <a:pt x="31901" y="3441514"/>
                  </a:lnTo>
                  <a:lnTo>
                    <a:pt x="31901" y="3473408"/>
                  </a:lnTo>
                  <a:lnTo>
                    <a:pt x="0" y="3473408"/>
                  </a:lnTo>
                  <a:close/>
                  <a:moveTo>
                    <a:pt x="286785" y="3154732"/>
                  </a:moveTo>
                  <a:lnTo>
                    <a:pt x="318688" y="3154732"/>
                  </a:lnTo>
                  <a:lnTo>
                    <a:pt x="318688" y="3186635"/>
                  </a:lnTo>
                  <a:lnTo>
                    <a:pt x="286785" y="3186635"/>
                  </a:lnTo>
                  <a:close/>
                  <a:moveTo>
                    <a:pt x="0" y="3154731"/>
                  </a:moveTo>
                  <a:lnTo>
                    <a:pt x="31901" y="3154731"/>
                  </a:lnTo>
                  <a:lnTo>
                    <a:pt x="31901" y="3186634"/>
                  </a:lnTo>
                  <a:lnTo>
                    <a:pt x="0" y="3186634"/>
                  </a:lnTo>
                  <a:close/>
                  <a:moveTo>
                    <a:pt x="286785" y="2867859"/>
                  </a:moveTo>
                  <a:lnTo>
                    <a:pt x="318688" y="2867859"/>
                  </a:lnTo>
                  <a:lnTo>
                    <a:pt x="318688" y="2899760"/>
                  </a:lnTo>
                  <a:lnTo>
                    <a:pt x="286785" y="2899760"/>
                  </a:lnTo>
                  <a:close/>
                  <a:moveTo>
                    <a:pt x="0" y="2867855"/>
                  </a:moveTo>
                  <a:lnTo>
                    <a:pt x="31901" y="2867855"/>
                  </a:lnTo>
                  <a:lnTo>
                    <a:pt x="31901" y="2899757"/>
                  </a:lnTo>
                  <a:lnTo>
                    <a:pt x="0" y="2899757"/>
                  </a:lnTo>
                  <a:close/>
                  <a:moveTo>
                    <a:pt x="286785" y="2581076"/>
                  </a:moveTo>
                  <a:lnTo>
                    <a:pt x="318688" y="2581076"/>
                  </a:lnTo>
                  <a:lnTo>
                    <a:pt x="318688" y="2612993"/>
                  </a:lnTo>
                  <a:lnTo>
                    <a:pt x="286785" y="2612993"/>
                  </a:lnTo>
                  <a:close/>
                  <a:moveTo>
                    <a:pt x="0" y="2581073"/>
                  </a:moveTo>
                  <a:lnTo>
                    <a:pt x="31901" y="2581073"/>
                  </a:lnTo>
                  <a:lnTo>
                    <a:pt x="31901" y="2612987"/>
                  </a:lnTo>
                  <a:lnTo>
                    <a:pt x="0" y="2612987"/>
                  </a:lnTo>
                  <a:close/>
                  <a:moveTo>
                    <a:pt x="286785" y="2294287"/>
                  </a:moveTo>
                  <a:lnTo>
                    <a:pt x="318688" y="2294287"/>
                  </a:lnTo>
                  <a:lnTo>
                    <a:pt x="318688" y="2326193"/>
                  </a:lnTo>
                  <a:lnTo>
                    <a:pt x="286785" y="2326193"/>
                  </a:lnTo>
                  <a:close/>
                  <a:moveTo>
                    <a:pt x="0" y="2294283"/>
                  </a:moveTo>
                  <a:lnTo>
                    <a:pt x="31901" y="2294283"/>
                  </a:lnTo>
                  <a:lnTo>
                    <a:pt x="31901" y="2326188"/>
                  </a:lnTo>
                  <a:lnTo>
                    <a:pt x="0" y="2326188"/>
                  </a:lnTo>
                  <a:close/>
                  <a:moveTo>
                    <a:pt x="286785" y="2007498"/>
                  </a:moveTo>
                  <a:lnTo>
                    <a:pt x="318688" y="2007498"/>
                  </a:lnTo>
                  <a:lnTo>
                    <a:pt x="318688" y="2039391"/>
                  </a:lnTo>
                  <a:lnTo>
                    <a:pt x="286785" y="2039391"/>
                  </a:lnTo>
                  <a:close/>
                  <a:moveTo>
                    <a:pt x="0" y="2007496"/>
                  </a:moveTo>
                  <a:lnTo>
                    <a:pt x="31901" y="2007496"/>
                  </a:lnTo>
                  <a:lnTo>
                    <a:pt x="31901" y="2039389"/>
                  </a:lnTo>
                  <a:lnTo>
                    <a:pt x="0" y="2039389"/>
                  </a:lnTo>
                  <a:close/>
                  <a:moveTo>
                    <a:pt x="286785" y="1720711"/>
                  </a:moveTo>
                  <a:lnTo>
                    <a:pt x="318688" y="1720711"/>
                  </a:lnTo>
                  <a:lnTo>
                    <a:pt x="318688" y="1752614"/>
                  </a:lnTo>
                  <a:lnTo>
                    <a:pt x="286785" y="1752614"/>
                  </a:lnTo>
                  <a:close/>
                  <a:moveTo>
                    <a:pt x="0" y="1720709"/>
                  </a:moveTo>
                  <a:lnTo>
                    <a:pt x="31901" y="1720709"/>
                  </a:lnTo>
                  <a:lnTo>
                    <a:pt x="31901" y="1752612"/>
                  </a:lnTo>
                  <a:lnTo>
                    <a:pt x="0" y="1752612"/>
                  </a:lnTo>
                  <a:close/>
                  <a:moveTo>
                    <a:pt x="286785" y="1433930"/>
                  </a:moveTo>
                  <a:lnTo>
                    <a:pt x="318688" y="1433930"/>
                  </a:lnTo>
                  <a:lnTo>
                    <a:pt x="318688" y="1465831"/>
                  </a:lnTo>
                  <a:lnTo>
                    <a:pt x="286785" y="1465831"/>
                  </a:lnTo>
                  <a:close/>
                  <a:moveTo>
                    <a:pt x="0" y="1433927"/>
                  </a:moveTo>
                  <a:lnTo>
                    <a:pt x="31901" y="1433927"/>
                  </a:lnTo>
                  <a:lnTo>
                    <a:pt x="31901" y="1465828"/>
                  </a:lnTo>
                  <a:lnTo>
                    <a:pt x="0" y="1465828"/>
                  </a:lnTo>
                  <a:close/>
                  <a:moveTo>
                    <a:pt x="286785" y="1147150"/>
                  </a:moveTo>
                  <a:lnTo>
                    <a:pt x="318688" y="1147150"/>
                  </a:lnTo>
                  <a:lnTo>
                    <a:pt x="318688" y="1179052"/>
                  </a:lnTo>
                  <a:lnTo>
                    <a:pt x="286785" y="1179052"/>
                  </a:lnTo>
                  <a:close/>
                  <a:moveTo>
                    <a:pt x="0" y="1147146"/>
                  </a:moveTo>
                  <a:lnTo>
                    <a:pt x="31901" y="1147146"/>
                  </a:lnTo>
                  <a:lnTo>
                    <a:pt x="31901" y="1179049"/>
                  </a:lnTo>
                  <a:lnTo>
                    <a:pt x="0" y="1179049"/>
                  </a:lnTo>
                  <a:close/>
                  <a:moveTo>
                    <a:pt x="286785" y="860355"/>
                  </a:moveTo>
                  <a:lnTo>
                    <a:pt x="318688" y="860355"/>
                  </a:lnTo>
                  <a:lnTo>
                    <a:pt x="318688" y="892257"/>
                  </a:lnTo>
                  <a:lnTo>
                    <a:pt x="286785" y="892257"/>
                  </a:lnTo>
                  <a:close/>
                  <a:moveTo>
                    <a:pt x="0" y="860351"/>
                  </a:moveTo>
                  <a:lnTo>
                    <a:pt x="31901" y="860351"/>
                  </a:lnTo>
                  <a:lnTo>
                    <a:pt x="31901" y="892254"/>
                  </a:lnTo>
                  <a:lnTo>
                    <a:pt x="0" y="892254"/>
                  </a:lnTo>
                  <a:close/>
                  <a:moveTo>
                    <a:pt x="286785" y="573571"/>
                  </a:moveTo>
                  <a:lnTo>
                    <a:pt x="318688" y="573571"/>
                  </a:lnTo>
                  <a:lnTo>
                    <a:pt x="318688" y="605472"/>
                  </a:lnTo>
                  <a:lnTo>
                    <a:pt x="286785" y="605472"/>
                  </a:lnTo>
                  <a:close/>
                  <a:moveTo>
                    <a:pt x="0" y="573568"/>
                  </a:moveTo>
                  <a:lnTo>
                    <a:pt x="31901" y="573568"/>
                  </a:lnTo>
                  <a:lnTo>
                    <a:pt x="31901" y="605470"/>
                  </a:lnTo>
                  <a:lnTo>
                    <a:pt x="0" y="605470"/>
                  </a:lnTo>
                  <a:close/>
                  <a:moveTo>
                    <a:pt x="286785" y="286786"/>
                  </a:moveTo>
                  <a:lnTo>
                    <a:pt x="318688" y="286786"/>
                  </a:lnTo>
                  <a:lnTo>
                    <a:pt x="318688" y="318689"/>
                  </a:lnTo>
                  <a:lnTo>
                    <a:pt x="286785" y="318689"/>
                  </a:lnTo>
                  <a:close/>
                  <a:moveTo>
                    <a:pt x="0" y="286784"/>
                  </a:moveTo>
                  <a:lnTo>
                    <a:pt x="31901" y="286784"/>
                  </a:lnTo>
                  <a:lnTo>
                    <a:pt x="31901" y="318687"/>
                  </a:lnTo>
                  <a:lnTo>
                    <a:pt x="0" y="318687"/>
                  </a:lnTo>
                  <a:close/>
                  <a:moveTo>
                    <a:pt x="286785" y="3"/>
                  </a:moveTo>
                  <a:lnTo>
                    <a:pt x="318688" y="3"/>
                  </a:lnTo>
                  <a:lnTo>
                    <a:pt x="318688" y="31906"/>
                  </a:lnTo>
                  <a:lnTo>
                    <a:pt x="286785" y="31906"/>
                  </a:lnTo>
                  <a:close/>
                  <a:moveTo>
                    <a:pt x="0" y="0"/>
                  </a:moveTo>
                  <a:lnTo>
                    <a:pt x="31901" y="0"/>
                  </a:lnTo>
                  <a:lnTo>
                    <a:pt x="31901" y="31903"/>
                  </a:lnTo>
                  <a:lnTo>
                    <a:pt x="0" y="31903"/>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pic>
        <p:nvPicPr>
          <p:cNvPr id="43" name="Picture 42">
            <a:extLst>
              <a:ext uri="{FF2B5EF4-FFF2-40B4-BE49-F238E27FC236}">
                <a16:creationId xmlns:a16="http://schemas.microsoft.com/office/drawing/2014/main" id="{F9271E5E-DB33-4CAF-8A70-DD6F64B87667}"/>
              </a:ext>
            </a:extLst>
          </p:cNvPr>
          <p:cNvPicPr>
            <a:picLocks noChangeAspect="1"/>
          </p:cNvPicPr>
          <p:nvPr userDrawn="1"/>
        </p:nvPicPr>
        <p:blipFill>
          <a:blip r:embed="rId2"/>
          <a:srcRect/>
          <a:stretch/>
        </p:blipFill>
        <p:spPr>
          <a:xfrm>
            <a:off x="431878" y="6081017"/>
            <a:ext cx="2444830" cy="560909"/>
          </a:xfrm>
          <a:prstGeom prst="rect">
            <a:avLst/>
          </a:prstGeom>
        </p:spPr>
      </p:pic>
      <p:sp>
        <p:nvSpPr>
          <p:cNvPr id="9" name="Subtitle 2">
            <a:extLst>
              <a:ext uri="{FF2B5EF4-FFF2-40B4-BE49-F238E27FC236}">
                <a16:creationId xmlns:a16="http://schemas.microsoft.com/office/drawing/2014/main" id="{1D10F107-20C2-48E3-8C9A-AB0E6DD442F1}"/>
              </a:ext>
            </a:extLst>
          </p:cNvPr>
          <p:cNvSpPr>
            <a:spLocks noGrp="1"/>
          </p:cNvSpPr>
          <p:nvPr userDrawn="1">
            <p:ph type="subTitle" idx="1" hasCustomPrompt="1"/>
          </p:nvPr>
        </p:nvSpPr>
        <p:spPr>
          <a:xfrm>
            <a:off x="382972" y="2540122"/>
            <a:ext cx="7648381" cy="1510886"/>
          </a:xfrm>
        </p:spPr>
        <p:txBody>
          <a:bodyPr lIns="0" tIns="0" rIns="0" bIns="0" anchor="t" anchorCtr="0">
            <a:noAutofit/>
          </a:bodyPr>
          <a:lstStyle>
            <a:lvl1pPr marL="0" indent="0" algn="l">
              <a:lnSpc>
                <a:spcPct val="100000"/>
              </a:lnSpc>
              <a:spcBef>
                <a:spcPts val="0"/>
              </a:spcBef>
              <a:buNone/>
              <a:defRPr sz="4399" b="1" i="0" spc="-100">
                <a:solidFill>
                  <a:schemeClr val="accent1"/>
                </a:solidFill>
                <a:latin typeface="Arial"/>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a:t>
            </a:r>
            <a:br>
              <a:rPr lang="en-US"/>
            </a:br>
            <a:r>
              <a:rPr lang="en-US"/>
              <a:t>subtitle style</a:t>
            </a:r>
          </a:p>
        </p:txBody>
      </p:sp>
      <p:sp>
        <p:nvSpPr>
          <p:cNvPr id="10" name="Text Placeholder 4">
            <a:extLst>
              <a:ext uri="{FF2B5EF4-FFF2-40B4-BE49-F238E27FC236}">
                <a16:creationId xmlns:a16="http://schemas.microsoft.com/office/drawing/2014/main" id="{63DA92BA-61CE-4443-9F3F-21C22E266D3A}"/>
              </a:ext>
            </a:extLst>
          </p:cNvPr>
          <p:cNvSpPr>
            <a:spLocks noGrp="1"/>
          </p:cNvSpPr>
          <p:nvPr userDrawn="1">
            <p:ph type="body" sz="quarter" idx="12" hasCustomPrompt="1"/>
          </p:nvPr>
        </p:nvSpPr>
        <p:spPr>
          <a:xfrm>
            <a:off x="386021" y="1859652"/>
            <a:ext cx="7648381" cy="510040"/>
          </a:xfrm>
        </p:spPr>
        <p:txBody>
          <a:bodyPr anchor="ctr" anchorCtr="0"/>
          <a:lstStyle>
            <a:lvl1pPr>
              <a:defRPr sz="4399" b="1" spc="-100" baseline="0">
                <a:latin typeface="+mj-lt"/>
              </a:defRPr>
            </a:lvl1pPr>
            <a:lvl2pPr marL="0" indent="0">
              <a:buNone/>
              <a:defRPr/>
            </a:lvl2pPr>
          </a:lstStyle>
          <a:p>
            <a:pPr lvl="0"/>
            <a:r>
              <a:rPr lang="en-US"/>
              <a:t>Insert Section #</a:t>
            </a:r>
          </a:p>
        </p:txBody>
      </p:sp>
      <p:sp>
        <p:nvSpPr>
          <p:cNvPr id="11" name="Title 1">
            <a:extLst>
              <a:ext uri="{FF2B5EF4-FFF2-40B4-BE49-F238E27FC236}">
                <a16:creationId xmlns:a16="http://schemas.microsoft.com/office/drawing/2014/main" id="{A33EBDBD-EE0D-4A4D-9B38-7F857B2C1E66}"/>
              </a:ext>
            </a:extLst>
          </p:cNvPr>
          <p:cNvSpPr>
            <a:spLocks noGrp="1"/>
          </p:cNvSpPr>
          <p:nvPr userDrawn="1">
            <p:ph type="ctrTitle" hasCustomPrompt="1"/>
          </p:nvPr>
        </p:nvSpPr>
        <p:spPr>
          <a:xfrm>
            <a:off x="382971" y="359270"/>
            <a:ext cx="7657943" cy="1329953"/>
          </a:xfrm>
        </p:spPr>
        <p:txBody>
          <a:bodyPr lIns="0" tIns="0" rIns="0" bIns="0" anchor="b" anchorCtr="0">
            <a:noAutofit/>
          </a:bodyPr>
          <a:lstStyle>
            <a:lvl1pPr algn="l">
              <a:lnSpc>
                <a:spcPct val="100000"/>
              </a:lnSpc>
              <a:defRPr sz="4399" b="1" i="0" spc="-100">
                <a:solidFill>
                  <a:schemeClr val="tx2"/>
                </a:solidFill>
                <a:latin typeface="Arial"/>
                <a:cs typeface="Arial"/>
              </a:defRPr>
            </a:lvl1pPr>
          </a:lstStyle>
          <a:p>
            <a:r>
              <a:rPr lang="en-US"/>
              <a:t>Click to edit </a:t>
            </a:r>
            <a:br>
              <a:rPr lang="en-US"/>
            </a:br>
            <a:r>
              <a:rPr lang="en-US"/>
              <a:t>Master title style</a:t>
            </a:r>
          </a:p>
        </p:txBody>
      </p:sp>
      <p:sp>
        <p:nvSpPr>
          <p:cNvPr id="20" name="Freeform: Shape 83">
            <a:extLst>
              <a:ext uri="{FF2B5EF4-FFF2-40B4-BE49-F238E27FC236}">
                <a16:creationId xmlns:a16="http://schemas.microsoft.com/office/drawing/2014/main" id="{F05596E1-7FE6-4BB0-BB11-FC47E5FF65BF}"/>
              </a:ext>
            </a:extLst>
          </p:cNvPr>
          <p:cNvSpPr txBox="1">
            <a:spLocks/>
          </p:cNvSpPr>
          <p:nvPr userDrawn="1"/>
        </p:nvSpPr>
        <p:spPr>
          <a:xfrm>
            <a:off x="7749245" y="4156012"/>
            <a:ext cx="574904" cy="1714179"/>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2" name="Text Placeholder 49">
            <a:extLst>
              <a:ext uri="{FF2B5EF4-FFF2-40B4-BE49-F238E27FC236}">
                <a16:creationId xmlns:a16="http://schemas.microsoft.com/office/drawing/2014/main" id="{C876EBD3-018B-46D6-8C3B-B7B3FA122BE1}"/>
              </a:ext>
            </a:extLst>
          </p:cNvPr>
          <p:cNvSpPr txBox="1">
            <a:spLocks/>
          </p:cNvSpPr>
          <p:nvPr userDrawn="1"/>
        </p:nvSpPr>
        <p:spPr>
          <a:xfrm rot="5400000">
            <a:off x="6616655" y="5596107"/>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9" name="Freeform: Shape 83">
            <a:extLst>
              <a:ext uri="{FF2B5EF4-FFF2-40B4-BE49-F238E27FC236}">
                <a16:creationId xmlns:a16="http://schemas.microsoft.com/office/drawing/2014/main" id="{746EFE52-6B31-424B-954D-38ECEE5E8891}"/>
              </a:ext>
            </a:extLst>
          </p:cNvPr>
          <p:cNvSpPr txBox="1">
            <a:spLocks/>
          </p:cNvSpPr>
          <p:nvPr userDrawn="1"/>
        </p:nvSpPr>
        <p:spPr>
          <a:xfrm rot="5400000">
            <a:off x="11336871" y="4289438"/>
            <a:ext cx="574904" cy="300173"/>
          </a:xfrm>
          <a:custGeom>
            <a:avLst/>
            <a:gdLst>
              <a:gd name="connsiteX0" fmla="*/ 0 w 530877"/>
              <a:gd name="connsiteY0" fmla="*/ 0 h 1012276"/>
              <a:gd name="connsiteX1" fmla="*/ 530877 w 530877"/>
              <a:gd name="connsiteY1" fmla="*/ 0 h 1012276"/>
              <a:gd name="connsiteX2" fmla="*/ 530877 w 530877"/>
              <a:gd name="connsiteY2" fmla="*/ 1012276 h 1012276"/>
              <a:gd name="connsiteX3" fmla="*/ 0 w 530877"/>
              <a:gd name="connsiteY3" fmla="*/ 1012276 h 1012276"/>
            </a:gdLst>
            <a:ahLst/>
            <a:cxnLst>
              <a:cxn ang="0">
                <a:pos x="connsiteX0" y="connsiteY0"/>
              </a:cxn>
              <a:cxn ang="0">
                <a:pos x="connsiteX1" y="connsiteY1"/>
              </a:cxn>
              <a:cxn ang="0">
                <a:pos x="connsiteX2" y="connsiteY2"/>
              </a:cxn>
              <a:cxn ang="0">
                <a:pos x="connsiteX3" y="connsiteY3"/>
              </a:cxn>
            </a:cxnLst>
            <a:rect l="l" t="t" r="r" b="b"/>
            <a:pathLst>
              <a:path w="530877" h="1012276">
                <a:moveTo>
                  <a:pt x="0" y="0"/>
                </a:moveTo>
                <a:lnTo>
                  <a:pt x="530877" y="0"/>
                </a:lnTo>
                <a:lnTo>
                  <a:pt x="530877" y="1012276"/>
                </a:lnTo>
                <a:lnTo>
                  <a:pt x="0" y="1012276"/>
                </a:ln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31" name="TextBox 30">
            <a:extLst>
              <a:ext uri="{FF2B5EF4-FFF2-40B4-BE49-F238E27FC236}">
                <a16:creationId xmlns:a16="http://schemas.microsoft.com/office/drawing/2014/main" id="{06130633-8398-4340-A091-16D418D4BA0E}"/>
              </a:ext>
            </a:extLst>
          </p:cNvPr>
          <p:cNvSpPr txBox="1">
            <a:spLocks/>
          </p:cNvSpPr>
          <p:nvPr userDrawn="1"/>
        </p:nvSpPr>
        <p:spPr>
          <a:xfrm rot="8100000" flipH="1" flipV="1">
            <a:off x="5225788" y="4234665"/>
            <a:ext cx="1592914" cy="795094"/>
          </a:xfrm>
          <a:custGeom>
            <a:avLst/>
            <a:gdLst>
              <a:gd name="connsiteX0" fmla="*/ 6166943 w 6166943"/>
              <a:gd name="connsiteY0" fmla="*/ 1970146 h 3078196"/>
              <a:gd name="connsiteX1" fmla="*/ 4655668 w 6166943"/>
              <a:gd name="connsiteY1" fmla="*/ 458871 h 3078196"/>
              <a:gd name="connsiteX2" fmla="*/ 4492661 w 6166943"/>
              <a:gd name="connsiteY2" fmla="*/ 580765 h 3078196"/>
              <a:gd name="connsiteX3" fmla="*/ 3297075 w 6166943"/>
              <a:gd name="connsiteY3" fmla="*/ 945968 h 3078196"/>
              <a:gd name="connsiteX4" fmla="*/ 1523897 w 6166943"/>
              <a:gd name="connsiteY4" fmla="*/ 3175 h 3078196"/>
              <a:gd name="connsiteX5" fmla="*/ 1521968 w 6166943"/>
              <a:gd name="connsiteY5" fmla="*/ 0 h 3078196"/>
              <a:gd name="connsiteX6" fmla="*/ 0 w 6166943"/>
              <a:gd name="connsiteY6" fmla="*/ 1521969 h 3078196"/>
              <a:gd name="connsiteX7" fmla="*/ 1668 w 6166943"/>
              <a:gd name="connsiteY7" fmla="*/ 1524092 h 3078196"/>
              <a:gd name="connsiteX8" fmla="*/ 3297075 w 6166943"/>
              <a:gd name="connsiteY8" fmla="*/ 3078196 h 3078196"/>
              <a:gd name="connsiteX9" fmla="*/ 6013576 w 6166943"/>
              <a:gd name="connsiteY9" fmla="*/ 2102997 h 307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6943" h="3078196">
                <a:moveTo>
                  <a:pt x="6166943" y="1970146"/>
                </a:moveTo>
                <a:lnTo>
                  <a:pt x="4655668" y="458871"/>
                </a:lnTo>
                <a:lnTo>
                  <a:pt x="4492661" y="580765"/>
                </a:lnTo>
                <a:cubicBezTo>
                  <a:pt x="4151374" y="811334"/>
                  <a:pt x="3739947" y="945968"/>
                  <a:pt x="3297075" y="945968"/>
                </a:cubicBezTo>
                <a:cubicBezTo>
                  <a:pt x="2558955" y="945968"/>
                  <a:pt x="1908180" y="571989"/>
                  <a:pt x="1523897" y="3175"/>
                </a:cubicBezTo>
                <a:lnTo>
                  <a:pt x="1521968" y="0"/>
                </a:lnTo>
                <a:lnTo>
                  <a:pt x="0" y="1521969"/>
                </a:lnTo>
                <a:lnTo>
                  <a:pt x="1668" y="1524092"/>
                </a:lnTo>
                <a:cubicBezTo>
                  <a:pt x="784959" y="2473222"/>
                  <a:pt x="1970367" y="3078196"/>
                  <a:pt x="3297075" y="3078196"/>
                </a:cubicBezTo>
                <a:cubicBezTo>
                  <a:pt x="4328957" y="3078196"/>
                  <a:pt x="5275363" y="2712224"/>
                  <a:pt x="6013576" y="2102997"/>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21" name="Text Placeholder 49">
            <a:extLst>
              <a:ext uri="{FF2B5EF4-FFF2-40B4-BE49-F238E27FC236}">
                <a16:creationId xmlns:a16="http://schemas.microsoft.com/office/drawing/2014/main" id="{A0F317CE-035E-44FD-A5F6-9E40D83A2190}"/>
              </a:ext>
            </a:extLst>
          </p:cNvPr>
          <p:cNvSpPr txBox="1">
            <a:spLocks/>
          </p:cNvSpPr>
          <p:nvPr userDrawn="1"/>
        </p:nvSpPr>
        <p:spPr>
          <a:xfrm rot="5400000">
            <a:off x="9197702" y="4167951"/>
            <a:ext cx="546640" cy="546635"/>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
        <p:nvSpPr>
          <p:cNvPr id="19" name="Text Placeholder 83">
            <a:extLst>
              <a:ext uri="{FF2B5EF4-FFF2-40B4-BE49-F238E27FC236}">
                <a16:creationId xmlns:a16="http://schemas.microsoft.com/office/drawing/2014/main" id="{65E572D2-FB5D-4AE4-ADCA-539A3B5D2872}"/>
              </a:ext>
            </a:extLst>
          </p:cNvPr>
          <p:cNvSpPr txBox="1">
            <a:spLocks/>
          </p:cNvSpPr>
          <p:nvPr userDrawn="1"/>
        </p:nvSpPr>
        <p:spPr>
          <a:xfrm flipV="1">
            <a:off x="9211399" y="5037808"/>
            <a:ext cx="2253832" cy="1126916"/>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2"/>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spTree>
    <p:extLst>
      <p:ext uri="{BB962C8B-B14F-4D97-AF65-F5344CB8AC3E}">
        <p14:creationId xmlns:p14="http://schemas.microsoft.com/office/powerpoint/2010/main" val="8753057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3" y="1611085"/>
            <a:ext cx="1143000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spTree>
    <p:extLst>
      <p:ext uri="{BB962C8B-B14F-4D97-AF65-F5344CB8AC3E}">
        <p14:creationId xmlns:p14="http://schemas.microsoft.com/office/powerpoint/2010/main" val="134732059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379414" y="1625600"/>
            <a:ext cx="537686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6432554" y="1625600"/>
            <a:ext cx="5376860" cy="3932238"/>
          </a:xfrm>
        </p:spPr>
        <p:txBody>
          <a:bodyPr anchor="ctr" anchorCtr="0"/>
          <a:lstStyle>
            <a:lvl1pPr>
              <a:defRPr sz="3199"/>
            </a:lvl1pPr>
            <a:lvl2pPr marL="0" indent="0" algn="r">
              <a:spcBef>
                <a:spcPts val="1200"/>
              </a:spcBef>
              <a:buNone/>
              <a:defRPr sz="1799"/>
            </a:lvl2pPr>
            <a:lvl3pPr marL="174573"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userDrawn="1"/>
        </p:nvCxnSpPr>
        <p:spPr>
          <a:xfrm>
            <a:off x="6094413" y="16256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2079900"/>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2" y="2565129"/>
            <a:ext cx="3631905" cy="220105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280246" y="2565129"/>
            <a:ext cx="3629920" cy="220105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177508" y="2565129"/>
            <a:ext cx="3631907"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799" b="1">
                <a:solidFill>
                  <a:schemeClr val="bg1"/>
                </a:solidFill>
                <a:latin typeface="+mj-lt"/>
              </a:defRPr>
            </a:lvl1pPr>
          </a:lstStyle>
          <a:p>
            <a:pPr lvl="0"/>
            <a:endParaRPr lang="en-US"/>
          </a:p>
        </p:txBody>
      </p:sp>
      <p:sp>
        <p:nvSpPr>
          <p:cNvPr id="6" name="Title 5">
            <a:extLst>
              <a:ext uri="{FF2B5EF4-FFF2-40B4-BE49-F238E27FC236}">
                <a16:creationId xmlns:a16="http://schemas.microsoft.com/office/drawing/2014/main" id="{4F1F6B98-0C45-4BAB-86B0-EDAB9CA7B9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36124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23099"/>
            <a:ext cx="2721380"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283841" y="2523101"/>
            <a:ext cx="271989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185194"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088034"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399" b="1">
                <a:solidFill>
                  <a:schemeClr val="tx2"/>
                </a:solidFill>
                <a:latin typeface="+mj-lt"/>
              </a:defRPr>
            </a:lvl1pPr>
          </a:lstStyle>
          <a:p>
            <a:pPr lvl="0"/>
            <a:endParaRPr lang="en-US"/>
          </a:p>
        </p:txBody>
      </p:sp>
      <p:sp>
        <p:nvSpPr>
          <p:cNvPr id="6" name="Title 5">
            <a:extLst>
              <a:ext uri="{FF2B5EF4-FFF2-40B4-BE49-F238E27FC236}">
                <a16:creationId xmlns:a16="http://schemas.microsoft.com/office/drawing/2014/main" id="{BF5953F7-BCD8-4688-B34C-D81CB08F826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6174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27D3642F-C8EF-48BF-929A-740A77E433EC}"/>
              </a:ext>
            </a:extLst>
          </p:cNvPr>
          <p:cNvSpPr>
            <a:spLocks noGrp="1" noChangeAspect="1"/>
          </p:cNvSpPr>
          <p:nvPr>
            <p:ph type="body" sz="quarter" idx="15" hasCustomPrompt="1"/>
          </p:nvPr>
        </p:nvSpPr>
        <p:spPr>
          <a:xfrm>
            <a:off x="7193142" y="1627356"/>
            <a:ext cx="4283708" cy="4283708"/>
          </a:xfrm>
          <a:prstGeom prst="ellipse">
            <a:avLst/>
          </a:prstGeom>
          <a:solidFill>
            <a:schemeClr val="accent3">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1" name="Text Placeholder 20">
            <a:extLst>
              <a:ext uri="{FF2B5EF4-FFF2-40B4-BE49-F238E27FC236}">
                <a16:creationId xmlns:a16="http://schemas.microsoft.com/office/drawing/2014/main" id="{F8E06C46-246C-4AC7-8CAA-09BB96286D58}"/>
              </a:ext>
            </a:extLst>
          </p:cNvPr>
          <p:cNvSpPr>
            <a:spLocks noGrp="1" noChangeAspect="1"/>
          </p:cNvSpPr>
          <p:nvPr>
            <p:ph type="body" sz="quarter" idx="12" hasCustomPrompt="1"/>
          </p:nvPr>
        </p:nvSpPr>
        <p:spPr>
          <a:xfrm>
            <a:off x="3912696" y="1627356"/>
            <a:ext cx="4283708" cy="4283708"/>
          </a:xfrm>
          <a:prstGeom prst="ellipse">
            <a:avLst/>
          </a:prstGeom>
          <a:solidFill>
            <a:schemeClr val="accent1">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id="{19B353F2-F330-43C5-9393-227A937D64FA}"/>
              </a:ext>
            </a:extLst>
          </p:cNvPr>
          <p:cNvSpPr>
            <a:spLocks noGrp="1" noChangeAspect="1"/>
          </p:cNvSpPr>
          <p:nvPr>
            <p:ph type="body" sz="quarter" idx="14" hasCustomPrompt="1"/>
          </p:nvPr>
        </p:nvSpPr>
        <p:spPr>
          <a:xfrm>
            <a:off x="632250" y="1627356"/>
            <a:ext cx="4283708" cy="4283708"/>
          </a:xfrm>
          <a:prstGeom prst="ellipse">
            <a:avLst/>
          </a:prstGeom>
          <a:solidFill>
            <a:schemeClr val="accent2">
              <a:alpha val="75000"/>
            </a:schemeClr>
          </a:solidFill>
        </p:spPr>
        <p:txBody>
          <a:bodyPr wrap="square" lIns="0" tIns="0" rIns="0" bIns="0" anchor="ctr">
            <a:noAutofit/>
          </a:bodyPr>
          <a:lstStyle>
            <a:lvl1pPr marL="0" indent="0" algn="ctr">
              <a:lnSpc>
                <a:spcPct val="100000"/>
              </a:lnSpc>
              <a:spcBef>
                <a:spcPts val="0"/>
              </a:spcBef>
              <a:buNone/>
              <a:defRPr sz="2399" b="1">
                <a:solidFill>
                  <a:schemeClr val="bg1"/>
                </a:solidFill>
              </a:defRPr>
            </a:lvl1pPr>
          </a:lstStyle>
          <a:p>
            <a:pPr lvl="0"/>
            <a:r>
              <a:rPr lang="en-US"/>
              <a:t>Click to </a:t>
            </a:r>
            <a:br>
              <a:rPr lang="en-US"/>
            </a:br>
            <a:r>
              <a:rPr lang="en-US"/>
              <a:t>add text</a:t>
            </a:r>
          </a:p>
        </p:txBody>
      </p:sp>
      <p:sp>
        <p:nvSpPr>
          <p:cNvPr id="2" name="Title 1">
            <a:extLst>
              <a:ext uri="{FF2B5EF4-FFF2-40B4-BE49-F238E27FC236}">
                <a16:creationId xmlns:a16="http://schemas.microsoft.com/office/drawing/2014/main" id="{064CB85A-A53D-46E7-AA71-5EF760D39C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732858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81001" y="1171575"/>
            <a:ext cx="3642338" cy="2407920"/>
          </a:xfrm>
        </p:spPr>
        <p:txBody>
          <a:bodyPr anchor="ctr"/>
          <a:lstStyle>
            <a:lvl1pPr algn="ctr">
              <a:defRPr/>
            </a:lvl1pPr>
          </a:lstStyle>
          <a:p>
            <a:endParaRPr lang="en-US"/>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272452" y="1171575"/>
            <a:ext cx="3642338" cy="2407920"/>
          </a:xfrm>
        </p:spPr>
        <p:txBody>
          <a:bodyPr anchor="ctr"/>
          <a:lstStyle>
            <a:lvl1pPr algn="ctr">
              <a:defRPr/>
            </a:lvl1pPr>
          </a:lstStyle>
          <a:p>
            <a:endParaRPr lang="en-US"/>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163901" y="1171575"/>
            <a:ext cx="3642338" cy="2407920"/>
          </a:xfrm>
        </p:spPr>
        <p:txBody>
          <a:bodyPr anchor="ctr"/>
          <a:lstStyle>
            <a:lvl1pPr algn="ctr">
              <a:defRPr/>
            </a:lvl1pPr>
          </a:lstStyle>
          <a:p>
            <a:endParaRPr lang="en-US"/>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381001" y="3803650"/>
            <a:ext cx="3642338" cy="2407920"/>
          </a:xfrm>
        </p:spPr>
        <p:txBody>
          <a:bodyPr anchor="ctr"/>
          <a:lstStyle>
            <a:lvl1pPr algn="ctr">
              <a:defRPr/>
            </a:lvl1pPr>
          </a:lstStyle>
          <a:p>
            <a:endParaRPr lang="en-US"/>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272452" y="3803650"/>
            <a:ext cx="3642338" cy="2407920"/>
          </a:xfrm>
        </p:spPr>
        <p:txBody>
          <a:bodyPr anchor="ctr"/>
          <a:lstStyle>
            <a:lvl1pPr algn="ctr">
              <a:defRPr/>
            </a:lvl1pPr>
          </a:lstStyle>
          <a:p>
            <a:endParaRPr lang="en-US"/>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163901" y="3803650"/>
            <a:ext cx="3642338" cy="2407920"/>
          </a:xfrm>
        </p:spPr>
        <p:txBody>
          <a:bodyPr anchor="ctr"/>
          <a:lstStyle>
            <a:lvl1pPr algn="ctr">
              <a:defRPr/>
            </a:lvl1pPr>
          </a:lstStyle>
          <a:p>
            <a:endParaRPr lang="en-US"/>
          </a:p>
        </p:txBody>
      </p:sp>
      <p:sp>
        <p:nvSpPr>
          <p:cNvPr id="2" name="Title 1">
            <a:extLst>
              <a:ext uri="{FF2B5EF4-FFF2-40B4-BE49-F238E27FC236}">
                <a16:creationId xmlns:a16="http://schemas.microsoft.com/office/drawing/2014/main" id="{6144A2ED-0415-4F97-8542-3AEA900903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13223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2" y="1322388"/>
            <a:ext cx="11426823" cy="4887912"/>
          </a:xfrm>
        </p:spPr>
        <p:txBody>
          <a:bodyPr anchor="ctr"/>
          <a:lstStyle>
            <a:lvl1pPr algn="ctr">
              <a:defRPr/>
            </a:lvl1pPr>
          </a:lstStyle>
          <a:p>
            <a:endParaRPr lang="en-US"/>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70097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5"/>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478179"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2524757"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2524757"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2524757"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2524757"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3239342"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3239342"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3239342"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3239342"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7526852"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7526852"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7526852"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7526852"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7526852"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7526852"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3953927"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3953927"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953927"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3953927"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953927"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953927"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4668512"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4668512"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466851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4668512"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4668512"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466851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8241437"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8241437"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8241437"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8241437"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8241437"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8241437"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9670607"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9670607"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9670607"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9670607"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9670607"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8956022"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8956022"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956022"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8956022"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956022"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9670607"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956022" y="5871746"/>
            <a:ext cx="709636" cy="338554"/>
          </a:xfrm>
          <a:prstGeom prst="rect">
            <a:avLst/>
          </a:prstGeom>
          <a:noFill/>
        </p:spPr>
        <p:txBody>
          <a:bodyPr wrap="square" lIns="0" rIns="0">
            <a:noAutofit/>
          </a:bodyPr>
          <a:lstStyle/>
          <a:p>
            <a:pPr algn="ctr"/>
            <a:r>
              <a:rPr lang="en-US" sz="800">
                <a:solidFill>
                  <a:schemeClr val="tx1"/>
                </a:solidFill>
              </a:rPr>
              <a:t>Light bulb</a:t>
            </a:r>
          </a:p>
        </p:txBody>
      </p:sp>
    </p:spTree>
    <p:extLst>
      <p:ext uri="{BB962C8B-B14F-4D97-AF65-F5344CB8AC3E}">
        <p14:creationId xmlns:p14="http://schemas.microsoft.com/office/powerpoint/2010/main" val="1704965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9" name="Left Bracket 8">
            <a:extLst>
              <a:ext uri="{FF2B5EF4-FFF2-40B4-BE49-F238E27FC236}">
                <a16:creationId xmlns:a16="http://schemas.microsoft.com/office/drawing/2014/main" id="{9DB06F89-EAA2-4FFE-B137-881E21A8ABBB}"/>
              </a:ext>
            </a:extLst>
          </p:cNvPr>
          <p:cNvSpPr/>
          <p:nvPr userDrawn="1"/>
        </p:nvSpPr>
        <p:spPr>
          <a:xfrm flipH="1">
            <a:off x="-6" y="1276795"/>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4" name="TextBox 3">
            <a:extLst>
              <a:ext uri="{FF2B5EF4-FFF2-40B4-BE49-F238E27FC236}">
                <a16:creationId xmlns:a16="http://schemas.microsoft.com/office/drawing/2014/main" id="{F5F4BF08-37C9-4A82-8CD9-F9E8C1101BAA}"/>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6" name="TextBox 5">
            <a:extLst>
              <a:ext uri="{FF2B5EF4-FFF2-40B4-BE49-F238E27FC236}">
                <a16:creationId xmlns:a16="http://schemas.microsoft.com/office/drawing/2014/main" id="{6397B60F-1078-4BE3-9CAB-8304FE309F6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8" name="TextBox 7">
            <a:extLst>
              <a:ext uri="{FF2B5EF4-FFF2-40B4-BE49-F238E27FC236}">
                <a16:creationId xmlns:a16="http://schemas.microsoft.com/office/drawing/2014/main" id="{1985CDC6-930D-434F-ABE4-523C106B2E88}"/>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0" name="TextBox 9">
            <a:extLst>
              <a:ext uri="{FF2B5EF4-FFF2-40B4-BE49-F238E27FC236}">
                <a16:creationId xmlns:a16="http://schemas.microsoft.com/office/drawing/2014/main" id="{E00D0A21-97F1-4BD7-B182-DCD48BBE1F84}"/>
              </a:ext>
            </a:extLst>
          </p:cNvPr>
          <p:cNvSpPr txBox="1"/>
          <p:nvPr userDrawn="1"/>
        </p:nvSpPr>
        <p:spPr>
          <a:xfrm>
            <a:off x="2320811"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2" name="TextBox 11">
            <a:extLst>
              <a:ext uri="{FF2B5EF4-FFF2-40B4-BE49-F238E27FC236}">
                <a16:creationId xmlns:a16="http://schemas.microsoft.com/office/drawing/2014/main" id="{2BC5ACA1-85CB-4766-9421-AA20E838C068}"/>
              </a:ext>
            </a:extLst>
          </p:cNvPr>
          <p:cNvSpPr txBox="1"/>
          <p:nvPr userDrawn="1"/>
        </p:nvSpPr>
        <p:spPr>
          <a:xfrm>
            <a:off x="10387592" y="2580873"/>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 name="TextBox 13">
            <a:extLst>
              <a:ext uri="{FF2B5EF4-FFF2-40B4-BE49-F238E27FC236}">
                <a16:creationId xmlns:a16="http://schemas.microsoft.com/office/drawing/2014/main" id="{0E357ABD-BDFE-43B6-9B70-42F54AF2329C}"/>
              </a:ext>
            </a:extLst>
          </p:cNvPr>
          <p:cNvSpPr txBox="1"/>
          <p:nvPr userDrawn="1"/>
        </p:nvSpPr>
        <p:spPr>
          <a:xfrm>
            <a:off x="10387592" y="3367961"/>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6" name="TextBox 15">
            <a:extLst>
              <a:ext uri="{FF2B5EF4-FFF2-40B4-BE49-F238E27FC236}">
                <a16:creationId xmlns:a16="http://schemas.microsoft.com/office/drawing/2014/main" id="{744D8E62-1929-4FFF-BB15-019EB5FC2C28}"/>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8" name="TextBox 17">
            <a:extLst>
              <a:ext uri="{FF2B5EF4-FFF2-40B4-BE49-F238E27FC236}">
                <a16:creationId xmlns:a16="http://schemas.microsoft.com/office/drawing/2014/main" id="{D3984A45-E83A-41BA-BCAB-578902BA60E6}"/>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20" name="TextBox 19">
            <a:extLst>
              <a:ext uri="{FF2B5EF4-FFF2-40B4-BE49-F238E27FC236}">
                <a16:creationId xmlns:a16="http://schemas.microsoft.com/office/drawing/2014/main" id="{820A11A9-CC57-4BB8-89E1-E6E01DBEFBE7}"/>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22" name="TextBox 21">
            <a:extLst>
              <a:ext uri="{FF2B5EF4-FFF2-40B4-BE49-F238E27FC236}">
                <a16:creationId xmlns:a16="http://schemas.microsoft.com/office/drawing/2014/main" id="{067AE3A5-23C6-4E16-93B7-EABD67CD7A27}"/>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24" name="TextBox 23">
            <a:extLst>
              <a:ext uri="{FF2B5EF4-FFF2-40B4-BE49-F238E27FC236}">
                <a16:creationId xmlns:a16="http://schemas.microsoft.com/office/drawing/2014/main" id="{DBEC31DA-BB4F-4719-8E81-C706EC4BF705}"/>
              </a:ext>
            </a:extLst>
          </p:cNvPr>
          <p:cNvSpPr txBox="1"/>
          <p:nvPr userDrawn="1"/>
        </p:nvSpPr>
        <p:spPr>
          <a:xfrm>
            <a:off x="386233"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26" name="TextBox 25">
            <a:extLst>
              <a:ext uri="{FF2B5EF4-FFF2-40B4-BE49-F238E27FC236}">
                <a16:creationId xmlns:a16="http://schemas.microsoft.com/office/drawing/2014/main" id="{4D7FAF32-C656-490B-861F-744C1885F0FF}"/>
              </a:ext>
            </a:extLst>
          </p:cNvPr>
          <p:cNvSpPr txBox="1"/>
          <p:nvPr userDrawn="1"/>
        </p:nvSpPr>
        <p:spPr>
          <a:xfrm>
            <a:off x="386233"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28" name="TextBox 27">
            <a:extLst>
              <a:ext uri="{FF2B5EF4-FFF2-40B4-BE49-F238E27FC236}">
                <a16:creationId xmlns:a16="http://schemas.microsoft.com/office/drawing/2014/main" id="{4F95A3F8-68C9-4D7E-B264-C8D119DED17E}"/>
              </a:ext>
            </a:extLst>
          </p:cNvPr>
          <p:cNvSpPr txBox="1"/>
          <p:nvPr userDrawn="1"/>
        </p:nvSpPr>
        <p:spPr>
          <a:xfrm>
            <a:off x="386233" y="3367961"/>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30" name="TextBox 29">
            <a:extLst>
              <a:ext uri="{FF2B5EF4-FFF2-40B4-BE49-F238E27FC236}">
                <a16:creationId xmlns:a16="http://schemas.microsoft.com/office/drawing/2014/main" id="{C4A0B45D-E7D2-4205-948B-40F2D2C84361}"/>
              </a:ext>
            </a:extLst>
          </p:cNvPr>
          <p:cNvSpPr txBox="1"/>
          <p:nvPr userDrawn="1"/>
        </p:nvSpPr>
        <p:spPr>
          <a:xfrm>
            <a:off x="386233" y="4216498"/>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32" name="TextBox 31">
            <a:extLst>
              <a:ext uri="{FF2B5EF4-FFF2-40B4-BE49-F238E27FC236}">
                <a16:creationId xmlns:a16="http://schemas.microsoft.com/office/drawing/2014/main" id="{584E4E6B-8C58-4A87-811D-632BC3AF8E69}"/>
              </a:ext>
            </a:extLst>
          </p:cNvPr>
          <p:cNvSpPr txBox="1"/>
          <p:nvPr userDrawn="1"/>
        </p:nvSpPr>
        <p:spPr>
          <a:xfrm>
            <a:off x="1094200"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34" name="TextBox 33">
            <a:extLst>
              <a:ext uri="{FF2B5EF4-FFF2-40B4-BE49-F238E27FC236}">
                <a16:creationId xmlns:a16="http://schemas.microsoft.com/office/drawing/2014/main" id="{C590042C-17A5-4933-8C2F-049C18E5A584}"/>
              </a:ext>
            </a:extLst>
          </p:cNvPr>
          <p:cNvSpPr txBox="1"/>
          <p:nvPr userDrawn="1"/>
        </p:nvSpPr>
        <p:spPr>
          <a:xfrm>
            <a:off x="1094200"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36" name="TextBox 35">
            <a:extLst>
              <a:ext uri="{FF2B5EF4-FFF2-40B4-BE49-F238E27FC236}">
                <a16:creationId xmlns:a16="http://schemas.microsoft.com/office/drawing/2014/main" id="{EEFC24A7-722C-4876-81E9-5552BE92F0F9}"/>
              </a:ext>
            </a:extLst>
          </p:cNvPr>
          <p:cNvSpPr txBox="1"/>
          <p:nvPr userDrawn="1"/>
        </p:nvSpPr>
        <p:spPr>
          <a:xfrm>
            <a:off x="1094200" y="3367961"/>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38" name="TextBox 37">
            <a:extLst>
              <a:ext uri="{FF2B5EF4-FFF2-40B4-BE49-F238E27FC236}">
                <a16:creationId xmlns:a16="http://schemas.microsoft.com/office/drawing/2014/main" id="{5DB9E5FB-8496-4F67-9246-4D3CF2F152F7}"/>
              </a:ext>
            </a:extLst>
          </p:cNvPr>
          <p:cNvSpPr txBox="1"/>
          <p:nvPr userDrawn="1"/>
        </p:nvSpPr>
        <p:spPr>
          <a:xfrm>
            <a:off x="1094200" y="4216498"/>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40" name="TextBox 39">
            <a:extLst>
              <a:ext uri="{FF2B5EF4-FFF2-40B4-BE49-F238E27FC236}">
                <a16:creationId xmlns:a16="http://schemas.microsoft.com/office/drawing/2014/main" id="{D982E093-A924-4BC2-9033-B0724C502141}"/>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42" name="TextBox 41">
            <a:extLst>
              <a:ext uri="{FF2B5EF4-FFF2-40B4-BE49-F238E27FC236}">
                <a16:creationId xmlns:a16="http://schemas.microsoft.com/office/drawing/2014/main" id="{192F9DD0-3AAD-4DF6-8FD9-49F5B75A74C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44" name="TextBox 43">
            <a:extLst>
              <a:ext uri="{FF2B5EF4-FFF2-40B4-BE49-F238E27FC236}">
                <a16:creationId xmlns:a16="http://schemas.microsoft.com/office/drawing/2014/main" id="{5F9BD512-2053-4FBA-B3CF-04340B99A94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54" name="TextBox 53">
            <a:extLst>
              <a:ext uri="{FF2B5EF4-FFF2-40B4-BE49-F238E27FC236}">
                <a16:creationId xmlns:a16="http://schemas.microsoft.com/office/drawing/2014/main" id="{6B7C9C30-B068-4C5F-8A0C-B42845C388F0}"/>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tx1"/>
                </a:solidFill>
              </a:rPr>
              <a:t>CRM</a:t>
            </a:r>
          </a:p>
        </p:txBody>
      </p:sp>
      <p:sp>
        <p:nvSpPr>
          <p:cNvPr id="56" name="TextBox 55">
            <a:extLst>
              <a:ext uri="{FF2B5EF4-FFF2-40B4-BE49-F238E27FC236}">
                <a16:creationId xmlns:a16="http://schemas.microsoft.com/office/drawing/2014/main" id="{1062010E-3466-4D90-852C-06F41099ADD6}"/>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58" name="TextBox 57">
            <a:extLst>
              <a:ext uri="{FF2B5EF4-FFF2-40B4-BE49-F238E27FC236}">
                <a16:creationId xmlns:a16="http://schemas.microsoft.com/office/drawing/2014/main" id="{537844AA-A71F-4B8C-87CF-C5F3E6A4077B}"/>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60" name="TextBox 59">
            <a:extLst>
              <a:ext uri="{FF2B5EF4-FFF2-40B4-BE49-F238E27FC236}">
                <a16:creationId xmlns:a16="http://schemas.microsoft.com/office/drawing/2014/main" id="{716AC10E-9432-4465-85A9-18EA52B6AF93}"/>
              </a:ext>
            </a:extLst>
          </p:cNvPr>
          <p:cNvSpPr txBox="1"/>
          <p:nvPr userDrawn="1"/>
        </p:nvSpPr>
        <p:spPr>
          <a:xfrm>
            <a:off x="4667489" y="3367961"/>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62" name="TextBox 61">
            <a:extLst>
              <a:ext uri="{FF2B5EF4-FFF2-40B4-BE49-F238E27FC236}">
                <a16:creationId xmlns:a16="http://schemas.microsoft.com/office/drawing/2014/main" id="{5DDF5416-163E-4A6E-A248-8E337597EA4D}"/>
              </a:ext>
            </a:extLst>
          </p:cNvPr>
          <p:cNvSpPr txBox="1"/>
          <p:nvPr userDrawn="1"/>
        </p:nvSpPr>
        <p:spPr>
          <a:xfrm>
            <a:off x="4667489" y="4216498"/>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64" name="TextBox 63">
            <a:extLst>
              <a:ext uri="{FF2B5EF4-FFF2-40B4-BE49-F238E27FC236}">
                <a16:creationId xmlns:a16="http://schemas.microsoft.com/office/drawing/2014/main" id="{55B92149-B45A-4FC5-968C-B986E0C4700F}"/>
              </a:ext>
            </a:extLst>
          </p:cNvPr>
          <p:cNvSpPr txBox="1"/>
          <p:nvPr userDrawn="1"/>
        </p:nvSpPr>
        <p:spPr>
          <a:xfrm>
            <a:off x="5381900"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66" name="TextBox 65">
            <a:extLst>
              <a:ext uri="{FF2B5EF4-FFF2-40B4-BE49-F238E27FC236}">
                <a16:creationId xmlns:a16="http://schemas.microsoft.com/office/drawing/2014/main" id="{39F5A768-E7DC-4D96-AAF3-21FBBF300C0C}"/>
              </a:ext>
            </a:extLst>
          </p:cNvPr>
          <p:cNvSpPr txBox="1"/>
          <p:nvPr userDrawn="1"/>
        </p:nvSpPr>
        <p:spPr>
          <a:xfrm>
            <a:off x="4667489"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68" name="TextBox 67">
            <a:extLst>
              <a:ext uri="{FF2B5EF4-FFF2-40B4-BE49-F238E27FC236}">
                <a16:creationId xmlns:a16="http://schemas.microsoft.com/office/drawing/2014/main" id="{F4F1FFB2-B0BC-446B-9B34-4288C9E9AFC9}"/>
              </a:ext>
            </a:extLst>
          </p:cNvPr>
          <p:cNvSpPr txBox="1"/>
          <p:nvPr userDrawn="1"/>
        </p:nvSpPr>
        <p:spPr>
          <a:xfrm>
            <a:off x="5381900" y="1753079"/>
            <a:ext cx="709636" cy="215444"/>
          </a:xfrm>
          <a:prstGeom prst="rect">
            <a:avLst/>
          </a:prstGeom>
          <a:noFill/>
        </p:spPr>
        <p:txBody>
          <a:bodyPr wrap="square" lIns="0" rIns="0">
            <a:noAutofit/>
          </a:bodyPr>
          <a:lstStyle/>
          <a:p>
            <a:pPr algn="ctr"/>
            <a:r>
              <a:rPr lang="en-US" sz="800">
                <a:solidFill>
                  <a:schemeClr val="tx1"/>
                </a:solidFill>
              </a:rPr>
              <a:t>AI </a:t>
            </a:r>
          </a:p>
        </p:txBody>
      </p:sp>
      <p:sp>
        <p:nvSpPr>
          <p:cNvPr id="70" name="TextBox 69">
            <a:extLst>
              <a:ext uri="{FF2B5EF4-FFF2-40B4-BE49-F238E27FC236}">
                <a16:creationId xmlns:a16="http://schemas.microsoft.com/office/drawing/2014/main" id="{5F7AAD6C-5663-4415-95C8-95A418271499}"/>
              </a:ext>
            </a:extLst>
          </p:cNvPr>
          <p:cNvSpPr txBox="1"/>
          <p:nvPr userDrawn="1"/>
        </p:nvSpPr>
        <p:spPr>
          <a:xfrm>
            <a:off x="5381900"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72" name="TextBox 71">
            <a:extLst>
              <a:ext uri="{FF2B5EF4-FFF2-40B4-BE49-F238E27FC236}">
                <a16:creationId xmlns:a16="http://schemas.microsoft.com/office/drawing/2014/main" id="{A7202B93-89D8-4FDD-8D9A-0C21EF535DD5}"/>
              </a:ext>
            </a:extLst>
          </p:cNvPr>
          <p:cNvSpPr txBox="1"/>
          <p:nvPr userDrawn="1"/>
        </p:nvSpPr>
        <p:spPr>
          <a:xfrm>
            <a:off x="5381900" y="3367961"/>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74" name="TextBox 73">
            <a:extLst>
              <a:ext uri="{FF2B5EF4-FFF2-40B4-BE49-F238E27FC236}">
                <a16:creationId xmlns:a16="http://schemas.microsoft.com/office/drawing/2014/main" id="{90F4B8E3-F91B-4E96-93C4-2D4AE885E78B}"/>
              </a:ext>
            </a:extLst>
          </p:cNvPr>
          <p:cNvSpPr txBox="1"/>
          <p:nvPr userDrawn="1"/>
        </p:nvSpPr>
        <p:spPr>
          <a:xfrm>
            <a:off x="5381900" y="4216498"/>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76" name="TextBox 75">
            <a:extLst>
              <a:ext uri="{FF2B5EF4-FFF2-40B4-BE49-F238E27FC236}">
                <a16:creationId xmlns:a16="http://schemas.microsoft.com/office/drawing/2014/main" id="{2B5058D7-7643-429A-89EC-F353837EA808}"/>
              </a:ext>
            </a:extLst>
          </p:cNvPr>
          <p:cNvSpPr txBox="1"/>
          <p:nvPr userDrawn="1"/>
        </p:nvSpPr>
        <p:spPr>
          <a:xfrm>
            <a:off x="6096310"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78" name="TextBox 77">
            <a:extLst>
              <a:ext uri="{FF2B5EF4-FFF2-40B4-BE49-F238E27FC236}">
                <a16:creationId xmlns:a16="http://schemas.microsoft.com/office/drawing/2014/main" id="{78070FC8-666B-4E4E-9D25-C3E250A33377}"/>
              </a:ext>
            </a:extLst>
          </p:cNvPr>
          <p:cNvSpPr txBox="1"/>
          <p:nvPr userDrawn="1"/>
        </p:nvSpPr>
        <p:spPr>
          <a:xfrm>
            <a:off x="5381900"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80" name="TextBox 79">
            <a:extLst>
              <a:ext uri="{FF2B5EF4-FFF2-40B4-BE49-F238E27FC236}">
                <a16:creationId xmlns:a16="http://schemas.microsoft.com/office/drawing/2014/main" id="{2E145C96-DBDE-46E2-9171-37C44FC392A8}"/>
              </a:ext>
            </a:extLst>
          </p:cNvPr>
          <p:cNvSpPr txBox="1"/>
          <p:nvPr userDrawn="1"/>
        </p:nvSpPr>
        <p:spPr>
          <a:xfrm>
            <a:off x="6096310" y="1753079"/>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82" name="TextBox 81">
            <a:extLst>
              <a:ext uri="{FF2B5EF4-FFF2-40B4-BE49-F238E27FC236}">
                <a16:creationId xmlns:a16="http://schemas.microsoft.com/office/drawing/2014/main" id="{5EF2FF4D-B1BD-4666-8C9D-753E6C0E2A6E}"/>
              </a:ext>
            </a:extLst>
          </p:cNvPr>
          <p:cNvSpPr txBox="1"/>
          <p:nvPr userDrawn="1"/>
        </p:nvSpPr>
        <p:spPr>
          <a:xfrm>
            <a:off x="6096310"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83" name="TextBox 82">
            <a:extLst>
              <a:ext uri="{FF2B5EF4-FFF2-40B4-BE49-F238E27FC236}">
                <a16:creationId xmlns:a16="http://schemas.microsoft.com/office/drawing/2014/main" id="{A4C49745-860B-4CA3-9551-970E17443DF5}"/>
              </a:ext>
            </a:extLst>
          </p:cNvPr>
          <p:cNvSpPr txBox="1"/>
          <p:nvPr userDrawn="1"/>
        </p:nvSpPr>
        <p:spPr>
          <a:xfrm>
            <a:off x="6096310" y="3367961"/>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84" name="TextBox 83">
            <a:extLst>
              <a:ext uri="{FF2B5EF4-FFF2-40B4-BE49-F238E27FC236}">
                <a16:creationId xmlns:a16="http://schemas.microsoft.com/office/drawing/2014/main" id="{4252A578-B230-4B6B-AAAA-19F05A989A4C}"/>
              </a:ext>
            </a:extLst>
          </p:cNvPr>
          <p:cNvSpPr txBox="1"/>
          <p:nvPr userDrawn="1"/>
        </p:nvSpPr>
        <p:spPr>
          <a:xfrm>
            <a:off x="6096310" y="4216498"/>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86" name="TextBox 85">
            <a:extLst>
              <a:ext uri="{FF2B5EF4-FFF2-40B4-BE49-F238E27FC236}">
                <a16:creationId xmlns:a16="http://schemas.microsoft.com/office/drawing/2014/main" id="{FE902129-2039-4AC5-9EBC-415B09B01A10}"/>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88" name="TextBox 87">
            <a:extLst>
              <a:ext uri="{FF2B5EF4-FFF2-40B4-BE49-F238E27FC236}">
                <a16:creationId xmlns:a16="http://schemas.microsoft.com/office/drawing/2014/main" id="{C1D5AB5D-E898-4CE8-88C3-3E21999E6C50}"/>
              </a:ext>
            </a:extLst>
          </p:cNvPr>
          <p:cNvSpPr txBox="1"/>
          <p:nvPr userDrawn="1"/>
        </p:nvSpPr>
        <p:spPr>
          <a:xfrm>
            <a:off x="6096310"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89" name="TextBox 88">
            <a:extLst>
              <a:ext uri="{FF2B5EF4-FFF2-40B4-BE49-F238E27FC236}">
                <a16:creationId xmlns:a16="http://schemas.microsoft.com/office/drawing/2014/main" id="{78021956-D404-44CD-8BDA-4678E175BE1E}"/>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90" name="TextBox 89">
            <a:extLst>
              <a:ext uri="{FF2B5EF4-FFF2-40B4-BE49-F238E27FC236}">
                <a16:creationId xmlns:a16="http://schemas.microsoft.com/office/drawing/2014/main" id="{59BA3CC2-4687-4D55-A9A9-C1937314AF35}"/>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92" name="TextBox 91">
            <a:extLst>
              <a:ext uri="{FF2B5EF4-FFF2-40B4-BE49-F238E27FC236}">
                <a16:creationId xmlns:a16="http://schemas.microsoft.com/office/drawing/2014/main" id="{65C6136B-4DC2-4E31-AF26-A93DBD24CA8F}"/>
              </a:ext>
            </a:extLst>
          </p:cNvPr>
          <p:cNvSpPr txBox="1"/>
          <p:nvPr userDrawn="1"/>
        </p:nvSpPr>
        <p:spPr>
          <a:xfrm>
            <a:off x="8959653" y="3367961"/>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1" name="TextBox 180">
            <a:extLst>
              <a:ext uri="{FF2B5EF4-FFF2-40B4-BE49-F238E27FC236}">
                <a16:creationId xmlns:a16="http://schemas.microsoft.com/office/drawing/2014/main" id="{C44B68C6-DDF9-4772-BACB-2418FAC2EB35}"/>
              </a:ext>
            </a:extLst>
          </p:cNvPr>
          <p:cNvSpPr txBox="1"/>
          <p:nvPr userDrawn="1"/>
        </p:nvSpPr>
        <p:spPr>
          <a:xfrm>
            <a:off x="8959653" y="4216498"/>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3" name="TextBox 182">
            <a:extLst>
              <a:ext uri="{FF2B5EF4-FFF2-40B4-BE49-F238E27FC236}">
                <a16:creationId xmlns:a16="http://schemas.microsoft.com/office/drawing/2014/main" id="{AE3E25C0-0159-47D0-8404-B2FD99482D3C}"/>
              </a:ext>
            </a:extLst>
          </p:cNvPr>
          <p:cNvSpPr txBox="1"/>
          <p:nvPr userDrawn="1"/>
        </p:nvSpPr>
        <p:spPr>
          <a:xfrm>
            <a:off x="9672677"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5" name="TextBox 184">
            <a:extLst>
              <a:ext uri="{FF2B5EF4-FFF2-40B4-BE49-F238E27FC236}">
                <a16:creationId xmlns:a16="http://schemas.microsoft.com/office/drawing/2014/main" id="{12B148EE-860B-42DE-AA87-19FA87556A69}"/>
              </a:ext>
            </a:extLst>
          </p:cNvPr>
          <p:cNvSpPr txBox="1"/>
          <p:nvPr userDrawn="1"/>
        </p:nvSpPr>
        <p:spPr>
          <a:xfrm>
            <a:off x="8959653"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87" name="TextBox 186">
            <a:extLst>
              <a:ext uri="{FF2B5EF4-FFF2-40B4-BE49-F238E27FC236}">
                <a16:creationId xmlns:a16="http://schemas.microsoft.com/office/drawing/2014/main" id="{42684DB5-07E2-4F18-B4CE-CB234FC03788}"/>
              </a:ext>
            </a:extLst>
          </p:cNvPr>
          <p:cNvSpPr txBox="1"/>
          <p:nvPr userDrawn="1"/>
        </p:nvSpPr>
        <p:spPr>
          <a:xfrm>
            <a:off x="9672677" y="1753079"/>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89" name="TextBox 188">
            <a:extLst>
              <a:ext uri="{FF2B5EF4-FFF2-40B4-BE49-F238E27FC236}">
                <a16:creationId xmlns:a16="http://schemas.microsoft.com/office/drawing/2014/main" id="{29761184-BF59-4B13-A148-A1A500BA9BEB}"/>
              </a:ext>
            </a:extLst>
          </p:cNvPr>
          <p:cNvSpPr txBox="1"/>
          <p:nvPr userDrawn="1"/>
        </p:nvSpPr>
        <p:spPr>
          <a:xfrm>
            <a:off x="10387592"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1" name="TextBox 190">
            <a:extLst>
              <a:ext uri="{FF2B5EF4-FFF2-40B4-BE49-F238E27FC236}">
                <a16:creationId xmlns:a16="http://schemas.microsoft.com/office/drawing/2014/main" id="{9C181999-EBCB-4B10-8CC1-A8EDD2AA8AB7}"/>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3" name="TextBox 192">
            <a:extLst>
              <a:ext uri="{FF2B5EF4-FFF2-40B4-BE49-F238E27FC236}">
                <a16:creationId xmlns:a16="http://schemas.microsoft.com/office/drawing/2014/main" id="{D42A1ADC-4E65-45D8-9FF2-DAF8DF6DBFDB}"/>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5" name="TextBox 194">
            <a:extLst>
              <a:ext uri="{FF2B5EF4-FFF2-40B4-BE49-F238E27FC236}">
                <a16:creationId xmlns:a16="http://schemas.microsoft.com/office/drawing/2014/main" id="{CBD0D93A-0A4E-4141-B475-A7A7949E5E19}"/>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197" name="TextBox 196">
            <a:extLst>
              <a:ext uri="{FF2B5EF4-FFF2-40B4-BE49-F238E27FC236}">
                <a16:creationId xmlns:a16="http://schemas.microsoft.com/office/drawing/2014/main" id="{DBF395BA-B452-4237-A96E-6132CA84743F}"/>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199" name="TextBox 198">
            <a:extLst>
              <a:ext uri="{FF2B5EF4-FFF2-40B4-BE49-F238E27FC236}">
                <a16:creationId xmlns:a16="http://schemas.microsoft.com/office/drawing/2014/main" id="{71FC3985-50EB-4C6E-8D13-22CC4D33A8D4}"/>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1" name="TextBox 200">
            <a:extLst>
              <a:ext uri="{FF2B5EF4-FFF2-40B4-BE49-F238E27FC236}">
                <a16:creationId xmlns:a16="http://schemas.microsoft.com/office/drawing/2014/main" id="{7BFD4676-4AB4-4045-B6A7-BD0E3B58EDCD}"/>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3" name="TextBox 202">
            <a:extLst>
              <a:ext uri="{FF2B5EF4-FFF2-40B4-BE49-F238E27FC236}">
                <a16:creationId xmlns:a16="http://schemas.microsoft.com/office/drawing/2014/main" id="{6B512916-1354-402C-AB26-7E879440F016}"/>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5" name="TextBox 204">
            <a:extLst>
              <a:ext uri="{FF2B5EF4-FFF2-40B4-BE49-F238E27FC236}">
                <a16:creationId xmlns:a16="http://schemas.microsoft.com/office/drawing/2014/main" id="{DE45D832-8D81-4441-8923-732A16BCBF20}"/>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07" name="TextBox 206">
            <a:extLst>
              <a:ext uri="{FF2B5EF4-FFF2-40B4-BE49-F238E27FC236}">
                <a16:creationId xmlns:a16="http://schemas.microsoft.com/office/drawing/2014/main" id="{ACCD6C7D-8D4F-471F-BF6A-3DA2E570A11A}"/>
              </a:ext>
            </a:extLst>
          </p:cNvPr>
          <p:cNvSpPr txBox="1"/>
          <p:nvPr userDrawn="1"/>
        </p:nvSpPr>
        <p:spPr>
          <a:xfrm>
            <a:off x="4667489"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09" name="TextBox 208">
            <a:extLst>
              <a:ext uri="{FF2B5EF4-FFF2-40B4-BE49-F238E27FC236}">
                <a16:creationId xmlns:a16="http://schemas.microsoft.com/office/drawing/2014/main" id="{32DF3D9B-AEFD-4913-9091-1766F686CC2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1" name="TextBox 210">
            <a:extLst>
              <a:ext uri="{FF2B5EF4-FFF2-40B4-BE49-F238E27FC236}">
                <a16:creationId xmlns:a16="http://schemas.microsoft.com/office/drawing/2014/main" id="{3CA99349-7E4F-42A8-B135-0254590B3A20}"/>
              </a:ext>
            </a:extLst>
          </p:cNvPr>
          <p:cNvSpPr txBox="1"/>
          <p:nvPr userDrawn="1"/>
        </p:nvSpPr>
        <p:spPr>
          <a:xfrm>
            <a:off x="4667489"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3" name="TextBox 212">
            <a:extLst>
              <a:ext uri="{FF2B5EF4-FFF2-40B4-BE49-F238E27FC236}">
                <a16:creationId xmlns:a16="http://schemas.microsoft.com/office/drawing/2014/main" id="{7E2829F3-9FE5-421B-A781-8133376E77C9}"/>
              </a:ext>
            </a:extLst>
          </p:cNvPr>
          <p:cNvSpPr txBox="1"/>
          <p:nvPr userDrawn="1"/>
        </p:nvSpPr>
        <p:spPr>
          <a:xfrm>
            <a:off x="4667489"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5" name="TextBox 214">
            <a:extLst>
              <a:ext uri="{FF2B5EF4-FFF2-40B4-BE49-F238E27FC236}">
                <a16:creationId xmlns:a16="http://schemas.microsoft.com/office/drawing/2014/main" id="{4277E678-95C6-4042-906A-9B98BDABD780}"/>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17" name="TextBox 216">
            <a:extLst>
              <a:ext uri="{FF2B5EF4-FFF2-40B4-BE49-F238E27FC236}">
                <a16:creationId xmlns:a16="http://schemas.microsoft.com/office/drawing/2014/main" id="{9D653F88-C5C2-4DA1-9FD2-F1148CC933FA}"/>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19" name="TextBox 218">
            <a:extLst>
              <a:ext uri="{FF2B5EF4-FFF2-40B4-BE49-F238E27FC236}">
                <a16:creationId xmlns:a16="http://schemas.microsoft.com/office/drawing/2014/main" id="{FD2CDFC3-B977-465E-A8FC-581C8010605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1" name="TextBox 220">
            <a:extLst>
              <a:ext uri="{FF2B5EF4-FFF2-40B4-BE49-F238E27FC236}">
                <a16:creationId xmlns:a16="http://schemas.microsoft.com/office/drawing/2014/main" id="{017BB878-8640-4043-B10E-730925B9B418}"/>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3" name="TextBox 222">
            <a:extLst>
              <a:ext uri="{FF2B5EF4-FFF2-40B4-BE49-F238E27FC236}">
                <a16:creationId xmlns:a16="http://schemas.microsoft.com/office/drawing/2014/main" id="{3BD1719A-8A2E-4BE8-AE36-F41AC5723B2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5" name="TextBox 224">
            <a:extLst>
              <a:ext uri="{FF2B5EF4-FFF2-40B4-BE49-F238E27FC236}">
                <a16:creationId xmlns:a16="http://schemas.microsoft.com/office/drawing/2014/main" id="{70ADFD1E-2D8B-44B9-B547-A54094EF1EB4}"/>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27" name="TextBox 226">
            <a:extLst>
              <a:ext uri="{FF2B5EF4-FFF2-40B4-BE49-F238E27FC236}">
                <a16:creationId xmlns:a16="http://schemas.microsoft.com/office/drawing/2014/main" id="{3E604084-A22E-4804-9DD7-818B5B77E8B0}"/>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29" name="TextBox 228">
            <a:extLst>
              <a:ext uri="{FF2B5EF4-FFF2-40B4-BE49-F238E27FC236}">
                <a16:creationId xmlns:a16="http://schemas.microsoft.com/office/drawing/2014/main" id="{06EFCF0E-5483-4412-948C-D62CB2FCDF4C}"/>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1" name="TextBox 230">
            <a:extLst>
              <a:ext uri="{FF2B5EF4-FFF2-40B4-BE49-F238E27FC236}">
                <a16:creationId xmlns:a16="http://schemas.microsoft.com/office/drawing/2014/main" id="{D89995A6-FEE0-4A1F-A817-D11AF7B5C3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3" name="TextBox 232">
            <a:extLst>
              <a:ext uri="{FF2B5EF4-FFF2-40B4-BE49-F238E27FC236}">
                <a16:creationId xmlns:a16="http://schemas.microsoft.com/office/drawing/2014/main" id="{7F3FE832-7D1D-4660-BA4A-0AA427F63DAF}"/>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5" name="TextBox 234">
            <a:extLst>
              <a:ext uri="{FF2B5EF4-FFF2-40B4-BE49-F238E27FC236}">
                <a16:creationId xmlns:a16="http://schemas.microsoft.com/office/drawing/2014/main" id="{FD7E7F3D-3B87-48E6-B768-EC0F773CA9D0}"/>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37" name="TextBox 236">
            <a:extLst>
              <a:ext uri="{FF2B5EF4-FFF2-40B4-BE49-F238E27FC236}">
                <a16:creationId xmlns:a16="http://schemas.microsoft.com/office/drawing/2014/main" id="{CC1477E2-5C20-48CE-81AC-B5C1BC359C10}"/>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39" name="TextBox 238">
            <a:extLst>
              <a:ext uri="{FF2B5EF4-FFF2-40B4-BE49-F238E27FC236}">
                <a16:creationId xmlns:a16="http://schemas.microsoft.com/office/drawing/2014/main" id="{A8C920E2-9B75-45B2-9E36-9A3CBC54541B}"/>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1" name="TextBox 240">
            <a:extLst>
              <a:ext uri="{FF2B5EF4-FFF2-40B4-BE49-F238E27FC236}">
                <a16:creationId xmlns:a16="http://schemas.microsoft.com/office/drawing/2014/main" id="{AD4BD7B8-E404-439C-83BD-A1F5831F639F}"/>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3" name="TextBox 242">
            <a:extLst>
              <a:ext uri="{FF2B5EF4-FFF2-40B4-BE49-F238E27FC236}">
                <a16:creationId xmlns:a16="http://schemas.microsoft.com/office/drawing/2014/main" id="{FF201862-38EB-4F50-82FB-601D7C08C594}"/>
              </a:ext>
            </a:extLst>
          </p:cNvPr>
          <p:cNvSpPr txBox="1"/>
          <p:nvPr userDrawn="1"/>
        </p:nvSpPr>
        <p:spPr>
          <a:xfrm>
            <a:off x="8959653"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5" name="TextBox 244">
            <a:extLst>
              <a:ext uri="{FF2B5EF4-FFF2-40B4-BE49-F238E27FC236}">
                <a16:creationId xmlns:a16="http://schemas.microsoft.com/office/drawing/2014/main" id="{B51FBA84-2827-43BD-9732-BD2E19A56FFC}"/>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47" name="TextBox 246">
            <a:extLst>
              <a:ext uri="{FF2B5EF4-FFF2-40B4-BE49-F238E27FC236}">
                <a16:creationId xmlns:a16="http://schemas.microsoft.com/office/drawing/2014/main" id="{6FE07581-9009-489F-8848-EBCBFA1D5B39}"/>
              </a:ext>
            </a:extLst>
          </p:cNvPr>
          <p:cNvSpPr txBox="1"/>
          <p:nvPr userDrawn="1"/>
        </p:nvSpPr>
        <p:spPr>
          <a:xfrm>
            <a:off x="8959653" y="1753079"/>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49" name="TextBox 248">
            <a:extLst>
              <a:ext uri="{FF2B5EF4-FFF2-40B4-BE49-F238E27FC236}">
                <a16:creationId xmlns:a16="http://schemas.microsoft.com/office/drawing/2014/main" id="{D0478EB8-2C8F-48EE-AC90-39D5D4B92B0C}"/>
              </a:ext>
            </a:extLst>
          </p:cNvPr>
          <p:cNvSpPr txBox="1"/>
          <p:nvPr userDrawn="1"/>
        </p:nvSpPr>
        <p:spPr>
          <a:xfrm>
            <a:off x="9672677"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1" name="TextBox 250">
            <a:extLst>
              <a:ext uri="{FF2B5EF4-FFF2-40B4-BE49-F238E27FC236}">
                <a16:creationId xmlns:a16="http://schemas.microsoft.com/office/drawing/2014/main" id="{60A713AF-0941-4574-96FE-A1FC816DEDFB}"/>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3" name="TextBox 252">
            <a:extLst>
              <a:ext uri="{FF2B5EF4-FFF2-40B4-BE49-F238E27FC236}">
                <a16:creationId xmlns:a16="http://schemas.microsoft.com/office/drawing/2014/main" id="{9A4B19B8-E672-4D38-9CB3-0D8AC7998B08}"/>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5" name="TextBox 254">
            <a:extLst>
              <a:ext uri="{FF2B5EF4-FFF2-40B4-BE49-F238E27FC236}">
                <a16:creationId xmlns:a16="http://schemas.microsoft.com/office/drawing/2014/main" id="{162502A6-009E-4640-BF0B-03B421A81EF9}"/>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57" name="TextBox 256">
            <a:extLst>
              <a:ext uri="{FF2B5EF4-FFF2-40B4-BE49-F238E27FC236}">
                <a16:creationId xmlns:a16="http://schemas.microsoft.com/office/drawing/2014/main" id="{4519ACAC-486E-4160-8399-2F9B6D9251A0}"/>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59" name="TextBox 258">
            <a:extLst>
              <a:ext uri="{FF2B5EF4-FFF2-40B4-BE49-F238E27FC236}">
                <a16:creationId xmlns:a16="http://schemas.microsoft.com/office/drawing/2014/main" id="{151B56ED-1ECF-41B5-8585-30BF106079DA}"/>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1" name="TextBox 260">
            <a:extLst>
              <a:ext uri="{FF2B5EF4-FFF2-40B4-BE49-F238E27FC236}">
                <a16:creationId xmlns:a16="http://schemas.microsoft.com/office/drawing/2014/main" id="{E912F070-E60E-494A-8207-605F79AF303C}"/>
              </a:ext>
            </a:extLst>
          </p:cNvPr>
          <p:cNvSpPr txBox="1"/>
          <p:nvPr userDrawn="1"/>
        </p:nvSpPr>
        <p:spPr>
          <a:xfrm>
            <a:off x="8959653"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3" name="TextBox 262">
            <a:extLst>
              <a:ext uri="{FF2B5EF4-FFF2-40B4-BE49-F238E27FC236}">
                <a16:creationId xmlns:a16="http://schemas.microsoft.com/office/drawing/2014/main" id="{8697B180-FE94-4F45-B97D-9C2F9A1781C2}"/>
              </a:ext>
            </a:extLst>
          </p:cNvPr>
          <p:cNvSpPr txBox="1"/>
          <p:nvPr userDrawn="1"/>
        </p:nvSpPr>
        <p:spPr>
          <a:xfrm>
            <a:off x="9672677" y="3367961"/>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5" name="TextBox 264">
            <a:extLst>
              <a:ext uri="{FF2B5EF4-FFF2-40B4-BE49-F238E27FC236}">
                <a16:creationId xmlns:a16="http://schemas.microsoft.com/office/drawing/2014/main" id="{C1CA4086-EA73-495E-BE34-DD8203A7E949}"/>
              </a:ext>
            </a:extLst>
          </p:cNvPr>
          <p:cNvSpPr txBox="1"/>
          <p:nvPr userDrawn="1"/>
        </p:nvSpPr>
        <p:spPr>
          <a:xfrm>
            <a:off x="10387592" y="4216498"/>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67" name="TextBox 266">
            <a:extLst>
              <a:ext uri="{FF2B5EF4-FFF2-40B4-BE49-F238E27FC236}">
                <a16:creationId xmlns:a16="http://schemas.microsoft.com/office/drawing/2014/main" id="{4F21E85F-840B-4159-B44C-2390AF380EBC}"/>
              </a:ext>
            </a:extLst>
          </p:cNvPr>
          <p:cNvSpPr txBox="1"/>
          <p:nvPr userDrawn="1"/>
        </p:nvSpPr>
        <p:spPr>
          <a:xfrm>
            <a:off x="10387592"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69" name="TextBox 268">
            <a:extLst>
              <a:ext uri="{FF2B5EF4-FFF2-40B4-BE49-F238E27FC236}">
                <a16:creationId xmlns:a16="http://schemas.microsoft.com/office/drawing/2014/main" id="{25EF34C6-5A41-409E-9D55-A037DA071D04}"/>
              </a:ext>
            </a:extLst>
          </p:cNvPr>
          <p:cNvSpPr txBox="1"/>
          <p:nvPr userDrawn="1"/>
        </p:nvSpPr>
        <p:spPr>
          <a:xfrm>
            <a:off x="96726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1" name="TextBox 270">
            <a:extLst>
              <a:ext uri="{FF2B5EF4-FFF2-40B4-BE49-F238E27FC236}">
                <a16:creationId xmlns:a16="http://schemas.microsoft.com/office/drawing/2014/main" id="{68F42763-C69F-4D2A-971C-9A2AE0C3D097}"/>
              </a:ext>
            </a:extLst>
          </p:cNvPr>
          <p:cNvSpPr txBox="1"/>
          <p:nvPr userDrawn="1"/>
        </p:nvSpPr>
        <p:spPr>
          <a:xfrm>
            <a:off x="10387592" y="1753079"/>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3" name="TextBox 272">
            <a:extLst>
              <a:ext uri="{FF2B5EF4-FFF2-40B4-BE49-F238E27FC236}">
                <a16:creationId xmlns:a16="http://schemas.microsoft.com/office/drawing/2014/main" id="{6508B084-8FC4-4867-9543-FB1C3A14170E}"/>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tx1"/>
                </a:solidFill>
              </a:rPr>
              <a:t>Light bulb</a:t>
            </a:r>
          </a:p>
        </p:txBody>
      </p:sp>
      <p:sp>
        <p:nvSpPr>
          <p:cNvPr id="94" name="TextBox 93">
            <a:extLst>
              <a:ext uri="{FF2B5EF4-FFF2-40B4-BE49-F238E27FC236}">
                <a16:creationId xmlns:a16="http://schemas.microsoft.com/office/drawing/2014/main" id="{E6A5FF4F-117C-46A1-8F8D-38F0364B849F}"/>
              </a:ext>
            </a:extLst>
          </p:cNvPr>
          <p:cNvSpPr txBox="1"/>
          <p:nvPr userDrawn="1"/>
        </p:nvSpPr>
        <p:spPr>
          <a:xfrm>
            <a:off x="9672677" y="4216498"/>
            <a:ext cx="709636" cy="215444"/>
          </a:xfrm>
          <a:prstGeom prst="rect">
            <a:avLst/>
          </a:prstGeom>
          <a:noFill/>
        </p:spPr>
        <p:txBody>
          <a:bodyPr wrap="square" lIns="0" rIns="0">
            <a:noAutofit/>
          </a:bodyPr>
          <a:lstStyle/>
          <a:p>
            <a:pPr algn="ctr"/>
            <a:r>
              <a:rPr lang="en-US" sz="800">
                <a:solidFill>
                  <a:schemeClr val="tx1"/>
                </a:solidFill>
              </a:rPr>
              <a:t>Emoji</a:t>
            </a:r>
          </a:p>
        </p:txBody>
      </p:sp>
      <p:sp>
        <p:nvSpPr>
          <p:cNvPr id="2" name="TextBox 1">
            <a:extLst>
              <a:ext uri="{FF2B5EF4-FFF2-40B4-BE49-F238E27FC236}">
                <a16:creationId xmlns:a16="http://schemas.microsoft.com/office/drawing/2014/main" id="{899EF2EE-05B7-42BC-AF7B-39AE6F11FCD0}"/>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 alt</a:t>
            </a:r>
          </a:p>
        </p:txBody>
      </p:sp>
    </p:spTree>
    <p:extLst>
      <p:ext uri="{BB962C8B-B14F-4D97-AF65-F5344CB8AC3E}">
        <p14:creationId xmlns:p14="http://schemas.microsoft.com/office/powerpoint/2010/main" val="255955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Content 1">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5168741" y="1171575"/>
            <a:ext cx="4354021"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5168741" y="1781174"/>
            <a:ext cx="4354538" cy="44291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4DEBE74-D7E0-4894-B69B-E40CD35A017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12899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81" name="TextBox 480">
            <a:extLst>
              <a:ext uri="{FF2B5EF4-FFF2-40B4-BE49-F238E27FC236}">
                <a16:creationId xmlns:a16="http://schemas.microsoft.com/office/drawing/2014/main" id="{AC615E34-413E-4787-A19A-23E64973C9DA}"/>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t>RPA </a:t>
            </a:r>
          </a:p>
          <a:p>
            <a:pPr algn="ctr"/>
            <a:r>
              <a:rPr lang="en-US" sz="800"/>
              <a:t>champion</a:t>
            </a:r>
          </a:p>
        </p:txBody>
      </p:sp>
      <p:sp>
        <p:nvSpPr>
          <p:cNvPr id="483" name="TextBox 482">
            <a:extLst>
              <a:ext uri="{FF2B5EF4-FFF2-40B4-BE49-F238E27FC236}">
                <a16:creationId xmlns:a16="http://schemas.microsoft.com/office/drawing/2014/main" id="{43695054-C61D-4048-97DD-B4874916B2D7}"/>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t>Question and answer</a:t>
            </a:r>
          </a:p>
        </p:txBody>
      </p:sp>
      <p:sp>
        <p:nvSpPr>
          <p:cNvPr id="485" name="TextBox 484">
            <a:extLst>
              <a:ext uri="{FF2B5EF4-FFF2-40B4-BE49-F238E27FC236}">
                <a16:creationId xmlns:a16="http://schemas.microsoft.com/office/drawing/2014/main" id="{A6C906EC-3BF3-41F8-AD3E-DB9F94B5786C}"/>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t>Question and answer 2</a:t>
            </a:r>
          </a:p>
        </p:txBody>
      </p:sp>
      <p:sp>
        <p:nvSpPr>
          <p:cNvPr id="487" name="TextBox 486">
            <a:extLst>
              <a:ext uri="{FF2B5EF4-FFF2-40B4-BE49-F238E27FC236}">
                <a16:creationId xmlns:a16="http://schemas.microsoft.com/office/drawing/2014/main" id="{3739D30C-787B-4908-A5B6-482630A007D6}"/>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t>Ramp up</a:t>
            </a:r>
          </a:p>
        </p:txBody>
      </p:sp>
      <p:sp>
        <p:nvSpPr>
          <p:cNvPr id="489" name="TextBox 488">
            <a:extLst>
              <a:ext uri="{FF2B5EF4-FFF2-40B4-BE49-F238E27FC236}">
                <a16:creationId xmlns:a16="http://schemas.microsoft.com/office/drawing/2014/main" id="{05B1DE10-9695-4971-80F4-C71CC18892E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t>Ramp up alt</a:t>
            </a:r>
          </a:p>
        </p:txBody>
      </p:sp>
      <p:sp>
        <p:nvSpPr>
          <p:cNvPr id="491" name="TextBox 490">
            <a:extLst>
              <a:ext uri="{FF2B5EF4-FFF2-40B4-BE49-F238E27FC236}">
                <a16:creationId xmlns:a16="http://schemas.microsoft.com/office/drawing/2014/main" id="{1BC2EBBC-D131-4C9B-822F-859BF0D3E11D}"/>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t>Read guidelines</a:t>
            </a:r>
          </a:p>
        </p:txBody>
      </p:sp>
      <p:sp>
        <p:nvSpPr>
          <p:cNvPr id="493" name="TextBox 492">
            <a:extLst>
              <a:ext uri="{FF2B5EF4-FFF2-40B4-BE49-F238E27FC236}">
                <a16:creationId xmlns:a16="http://schemas.microsoft.com/office/drawing/2014/main" id="{EA3E2C6B-DE78-432C-BD6D-E20DD4D4E556}"/>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t>Reply</a:t>
            </a:r>
          </a:p>
        </p:txBody>
      </p:sp>
      <p:sp>
        <p:nvSpPr>
          <p:cNvPr id="495" name="TextBox 494">
            <a:extLst>
              <a:ext uri="{FF2B5EF4-FFF2-40B4-BE49-F238E27FC236}">
                <a16:creationId xmlns:a16="http://schemas.microsoft.com/office/drawing/2014/main" id="{9C1BD8A4-FE5D-4806-BADE-1CFC67DA8B6C}"/>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t>Resource</a:t>
            </a:r>
          </a:p>
        </p:txBody>
      </p:sp>
      <p:sp>
        <p:nvSpPr>
          <p:cNvPr id="497" name="TextBox 496">
            <a:extLst>
              <a:ext uri="{FF2B5EF4-FFF2-40B4-BE49-F238E27FC236}">
                <a16:creationId xmlns:a16="http://schemas.microsoft.com/office/drawing/2014/main" id="{62A521C1-1AC2-444D-9353-DA2BF0D0E971}"/>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t>Redesign</a:t>
            </a:r>
          </a:p>
        </p:txBody>
      </p:sp>
      <p:sp>
        <p:nvSpPr>
          <p:cNvPr id="499" name="TextBox 498">
            <a:extLst>
              <a:ext uri="{FF2B5EF4-FFF2-40B4-BE49-F238E27FC236}">
                <a16:creationId xmlns:a16="http://schemas.microsoft.com/office/drawing/2014/main" id="{1B59161D-EF39-475E-8160-23C3BD4D0A6F}"/>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t>Redesign alt</a:t>
            </a:r>
          </a:p>
        </p:txBody>
      </p:sp>
      <p:sp>
        <p:nvSpPr>
          <p:cNvPr id="501" name="TextBox 500">
            <a:extLst>
              <a:ext uri="{FF2B5EF4-FFF2-40B4-BE49-F238E27FC236}">
                <a16:creationId xmlns:a16="http://schemas.microsoft.com/office/drawing/2014/main" id="{4855D20C-F5A4-4CA2-B1F0-59FDFFE82FB7}"/>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t>Refresh</a:t>
            </a:r>
          </a:p>
        </p:txBody>
      </p:sp>
      <p:sp>
        <p:nvSpPr>
          <p:cNvPr id="503" name="TextBox 502">
            <a:extLst>
              <a:ext uri="{FF2B5EF4-FFF2-40B4-BE49-F238E27FC236}">
                <a16:creationId xmlns:a16="http://schemas.microsoft.com/office/drawing/2014/main" id="{EAB78544-A46D-4B34-ABA5-9AC1B92D6928}"/>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t>Refresh 2</a:t>
            </a:r>
          </a:p>
        </p:txBody>
      </p:sp>
      <p:sp>
        <p:nvSpPr>
          <p:cNvPr id="505" name="TextBox 504">
            <a:extLst>
              <a:ext uri="{FF2B5EF4-FFF2-40B4-BE49-F238E27FC236}">
                <a16:creationId xmlns:a16="http://schemas.microsoft.com/office/drawing/2014/main" id="{23908CC5-377C-4D4E-97C1-93221C641C3F}"/>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t>Remove</a:t>
            </a:r>
          </a:p>
        </p:txBody>
      </p:sp>
      <p:sp>
        <p:nvSpPr>
          <p:cNvPr id="507" name="TextBox 506">
            <a:extLst>
              <a:ext uri="{FF2B5EF4-FFF2-40B4-BE49-F238E27FC236}">
                <a16:creationId xmlns:a16="http://schemas.microsoft.com/office/drawing/2014/main" id="{4AA6AC7A-EE57-4D30-AB02-B7D06C284876}"/>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t>Remove alt</a:t>
            </a:r>
          </a:p>
        </p:txBody>
      </p:sp>
      <p:sp>
        <p:nvSpPr>
          <p:cNvPr id="509" name="TextBox 508">
            <a:extLst>
              <a:ext uri="{FF2B5EF4-FFF2-40B4-BE49-F238E27FC236}">
                <a16:creationId xmlns:a16="http://schemas.microsoft.com/office/drawing/2014/main" id="{CBCB365D-6F32-4060-873F-CC51026F549A}"/>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t>RPA business analyst</a:t>
            </a:r>
          </a:p>
        </p:txBody>
      </p:sp>
      <p:sp>
        <p:nvSpPr>
          <p:cNvPr id="511" name="TextBox 510">
            <a:extLst>
              <a:ext uri="{FF2B5EF4-FFF2-40B4-BE49-F238E27FC236}">
                <a16:creationId xmlns:a16="http://schemas.microsoft.com/office/drawing/2014/main" id="{B27BD45D-A29D-4C35-943D-36BC46929E60}"/>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t>Reader</a:t>
            </a:r>
          </a:p>
        </p:txBody>
      </p:sp>
      <p:sp>
        <p:nvSpPr>
          <p:cNvPr id="513" name="TextBox 512">
            <a:extLst>
              <a:ext uri="{FF2B5EF4-FFF2-40B4-BE49-F238E27FC236}">
                <a16:creationId xmlns:a16="http://schemas.microsoft.com/office/drawing/2014/main" id="{55F77E08-46EE-441F-94A2-0790AB601D87}"/>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t>Solutions 2</a:t>
            </a:r>
          </a:p>
        </p:txBody>
      </p:sp>
      <p:sp>
        <p:nvSpPr>
          <p:cNvPr id="515" name="TextBox 514">
            <a:extLst>
              <a:ext uri="{FF2B5EF4-FFF2-40B4-BE49-F238E27FC236}">
                <a16:creationId xmlns:a16="http://schemas.microsoft.com/office/drawing/2014/main" id="{FCB7DA7A-591F-45C1-82C3-D8D63866060A}"/>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t>RPA </a:t>
            </a:r>
          </a:p>
          <a:p>
            <a:pPr algn="ctr"/>
            <a:r>
              <a:rPr lang="en-US" sz="800"/>
              <a:t>developer</a:t>
            </a:r>
          </a:p>
        </p:txBody>
      </p:sp>
      <p:sp>
        <p:nvSpPr>
          <p:cNvPr id="517" name="TextBox 516">
            <a:extLst>
              <a:ext uri="{FF2B5EF4-FFF2-40B4-BE49-F238E27FC236}">
                <a16:creationId xmlns:a16="http://schemas.microsoft.com/office/drawing/2014/main" id="{455D9B53-7960-4EB1-80A2-EAF88554FEBC}"/>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t>RPA infrastructure engineer</a:t>
            </a:r>
          </a:p>
        </p:txBody>
      </p:sp>
      <p:sp>
        <p:nvSpPr>
          <p:cNvPr id="519" name="TextBox 518">
            <a:extLst>
              <a:ext uri="{FF2B5EF4-FFF2-40B4-BE49-F238E27FC236}">
                <a16:creationId xmlns:a16="http://schemas.microsoft.com/office/drawing/2014/main" id="{B9066059-AD8D-4A14-8FEB-1158D84E217C}"/>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t>RPA service support</a:t>
            </a:r>
          </a:p>
        </p:txBody>
      </p:sp>
      <p:sp>
        <p:nvSpPr>
          <p:cNvPr id="521" name="TextBox 520">
            <a:extLst>
              <a:ext uri="{FF2B5EF4-FFF2-40B4-BE49-F238E27FC236}">
                <a16:creationId xmlns:a16="http://schemas.microsoft.com/office/drawing/2014/main" id="{67B61ACC-574C-49AD-947F-DB134A0CAFD7}"/>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t>RPA solution architect</a:t>
            </a:r>
          </a:p>
        </p:txBody>
      </p:sp>
      <p:sp>
        <p:nvSpPr>
          <p:cNvPr id="523" name="TextBox 522">
            <a:extLst>
              <a:ext uri="{FF2B5EF4-FFF2-40B4-BE49-F238E27FC236}">
                <a16:creationId xmlns:a16="http://schemas.microsoft.com/office/drawing/2014/main" id="{FEA6A46D-381F-4D58-8A2C-8F116B6F3618}"/>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t>Satellite</a:t>
            </a:r>
          </a:p>
        </p:txBody>
      </p:sp>
      <p:sp>
        <p:nvSpPr>
          <p:cNvPr id="525" name="TextBox 524">
            <a:extLst>
              <a:ext uri="{FF2B5EF4-FFF2-40B4-BE49-F238E27FC236}">
                <a16:creationId xmlns:a16="http://schemas.microsoft.com/office/drawing/2014/main" id="{6B3D1753-5E98-4036-89D2-A3A6ED41A061}"/>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t>Share alt</a:t>
            </a:r>
          </a:p>
        </p:txBody>
      </p:sp>
      <p:sp>
        <p:nvSpPr>
          <p:cNvPr id="527" name="TextBox 526">
            <a:extLst>
              <a:ext uri="{FF2B5EF4-FFF2-40B4-BE49-F238E27FC236}">
                <a16:creationId xmlns:a16="http://schemas.microsoft.com/office/drawing/2014/main" id="{1DA7C23D-BE51-49E8-BB62-C8DACEE344EA}"/>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t>Slideshow</a:t>
            </a:r>
          </a:p>
        </p:txBody>
      </p:sp>
      <p:sp>
        <p:nvSpPr>
          <p:cNvPr id="529" name="TextBox 528">
            <a:extLst>
              <a:ext uri="{FF2B5EF4-FFF2-40B4-BE49-F238E27FC236}">
                <a16:creationId xmlns:a16="http://schemas.microsoft.com/office/drawing/2014/main" id="{4C971421-FEBD-480A-8841-267C78DDB260}"/>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t>Seamless integration</a:t>
            </a:r>
          </a:p>
        </p:txBody>
      </p:sp>
      <p:sp>
        <p:nvSpPr>
          <p:cNvPr id="531" name="TextBox 530">
            <a:extLst>
              <a:ext uri="{FF2B5EF4-FFF2-40B4-BE49-F238E27FC236}">
                <a16:creationId xmlns:a16="http://schemas.microsoft.com/office/drawing/2014/main" id="{CF556A5D-A514-4456-B6EF-8A51C2301454}"/>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t>Seamless integration alt</a:t>
            </a:r>
          </a:p>
        </p:txBody>
      </p:sp>
      <p:sp>
        <p:nvSpPr>
          <p:cNvPr id="533" name="TextBox 532">
            <a:extLst>
              <a:ext uri="{FF2B5EF4-FFF2-40B4-BE49-F238E27FC236}">
                <a16:creationId xmlns:a16="http://schemas.microsoft.com/office/drawing/2014/main" id="{212C814A-D0C6-45DA-96B0-187D50BD6654}"/>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t>Search</a:t>
            </a:r>
          </a:p>
        </p:txBody>
      </p:sp>
      <p:sp>
        <p:nvSpPr>
          <p:cNvPr id="535" name="TextBox 534">
            <a:extLst>
              <a:ext uri="{FF2B5EF4-FFF2-40B4-BE49-F238E27FC236}">
                <a16:creationId xmlns:a16="http://schemas.microsoft.com/office/drawing/2014/main" id="{68B03B50-8107-4D3C-B55B-3DDB371058DF}"/>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t>Secure </a:t>
            </a:r>
          </a:p>
          <a:p>
            <a:pPr algn="ctr"/>
            <a:r>
              <a:rPr lang="en-US" sz="800"/>
              <a:t>team collab</a:t>
            </a:r>
          </a:p>
        </p:txBody>
      </p:sp>
      <p:sp>
        <p:nvSpPr>
          <p:cNvPr id="537" name="TextBox 536">
            <a:extLst>
              <a:ext uri="{FF2B5EF4-FFF2-40B4-BE49-F238E27FC236}">
                <a16:creationId xmlns:a16="http://schemas.microsoft.com/office/drawing/2014/main" id="{B94231C2-03F3-4F9A-9127-7B4AC054C56C}"/>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t>Security</a:t>
            </a:r>
          </a:p>
        </p:txBody>
      </p:sp>
      <p:sp>
        <p:nvSpPr>
          <p:cNvPr id="539" name="TextBox 538">
            <a:extLst>
              <a:ext uri="{FF2B5EF4-FFF2-40B4-BE49-F238E27FC236}">
                <a16:creationId xmlns:a16="http://schemas.microsoft.com/office/drawing/2014/main" id="{542C94F8-8620-4694-ACB1-C4A05F5D8DA2}"/>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t>Share</a:t>
            </a:r>
          </a:p>
        </p:txBody>
      </p:sp>
      <p:sp>
        <p:nvSpPr>
          <p:cNvPr id="541" name="TextBox 540">
            <a:extLst>
              <a:ext uri="{FF2B5EF4-FFF2-40B4-BE49-F238E27FC236}">
                <a16:creationId xmlns:a16="http://schemas.microsoft.com/office/drawing/2014/main" id="{C983CABE-CFD4-46C1-9DDD-03C53F4D4CDE}"/>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t>Solutions</a:t>
            </a:r>
          </a:p>
        </p:txBody>
      </p:sp>
      <p:sp>
        <p:nvSpPr>
          <p:cNvPr id="543" name="TextBox 542">
            <a:extLst>
              <a:ext uri="{FF2B5EF4-FFF2-40B4-BE49-F238E27FC236}">
                <a16:creationId xmlns:a16="http://schemas.microsoft.com/office/drawing/2014/main" id="{68F30A2F-A3AB-416B-9719-8DCEA9732147}"/>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t>RPA </a:t>
            </a:r>
          </a:p>
          <a:p>
            <a:pPr algn="ctr"/>
            <a:r>
              <a:rPr lang="en-US" sz="800"/>
              <a:t>sponsor</a:t>
            </a:r>
          </a:p>
        </p:txBody>
      </p:sp>
      <p:sp>
        <p:nvSpPr>
          <p:cNvPr id="545" name="TextBox 544">
            <a:extLst>
              <a:ext uri="{FF2B5EF4-FFF2-40B4-BE49-F238E27FC236}">
                <a16:creationId xmlns:a16="http://schemas.microsoft.com/office/drawing/2014/main" id="{711B58EE-9392-4A36-9B49-241CBF24E88A}"/>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t>Thank you</a:t>
            </a:r>
          </a:p>
        </p:txBody>
      </p:sp>
      <p:sp>
        <p:nvSpPr>
          <p:cNvPr id="547" name="TextBox 546">
            <a:extLst>
              <a:ext uri="{FF2B5EF4-FFF2-40B4-BE49-F238E27FC236}">
                <a16:creationId xmlns:a16="http://schemas.microsoft.com/office/drawing/2014/main" id="{8AE36D27-719B-43B8-88BB-1A9D5991A99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t>Solutions alt</a:t>
            </a:r>
          </a:p>
        </p:txBody>
      </p:sp>
      <p:sp>
        <p:nvSpPr>
          <p:cNvPr id="549" name="TextBox 548">
            <a:extLst>
              <a:ext uri="{FF2B5EF4-FFF2-40B4-BE49-F238E27FC236}">
                <a16:creationId xmlns:a16="http://schemas.microsoft.com/office/drawing/2014/main" id="{35030CE1-7789-43E6-AB25-4677D1373D9D}"/>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t>Speed</a:t>
            </a:r>
          </a:p>
        </p:txBody>
      </p:sp>
      <p:sp>
        <p:nvSpPr>
          <p:cNvPr id="551" name="TextBox 550">
            <a:extLst>
              <a:ext uri="{FF2B5EF4-FFF2-40B4-BE49-F238E27FC236}">
                <a16:creationId xmlns:a16="http://schemas.microsoft.com/office/drawing/2014/main" id="{2F58C50F-EA97-4DFD-A1F5-3E12F51975BF}"/>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t>Stopwatch</a:t>
            </a:r>
          </a:p>
        </p:txBody>
      </p:sp>
      <p:sp>
        <p:nvSpPr>
          <p:cNvPr id="553" name="TextBox 552">
            <a:extLst>
              <a:ext uri="{FF2B5EF4-FFF2-40B4-BE49-F238E27FC236}">
                <a16:creationId xmlns:a16="http://schemas.microsoft.com/office/drawing/2014/main" id="{8C507FDC-3BCD-40CB-92A4-799D16699137}"/>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t>Stories</a:t>
            </a:r>
          </a:p>
        </p:txBody>
      </p:sp>
      <p:sp>
        <p:nvSpPr>
          <p:cNvPr id="555" name="TextBox 554">
            <a:extLst>
              <a:ext uri="{FF2B5EF4-FFF2-40B4-BE49-F238E27FC236}">
                <a16:creationId xmlns:a16="http://schemas.microsoft.com/office/drawing/2014/main" id="{97F740A5-EE54-4D7C-A565-73508AA6A46F}"/>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t>Success</a:t>
            </a:r>
          </a:p>
        </p:txBody>
      </p:sp>
      <p:sp>
        <p:nvSpPr>
          <p:cNvPr id="557" name="TextBox 556">
            <a:extLst>
              <a:ext uri="{FF2B5EF4-FFF2-40B4-BE49-F238E27FC236}">
                <a16:creationId xmlns:a16="http://schemas.microsoft.com/office/drawing/2014/main" id="{FDA58889-B3D6-4E08-9486-31BD6674011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2</a:t>
            </a:r>
          </a:p>
        </p:txBody>
      </p:sp>
      <p:sp>
        <p:nvSpPr>
          <p:cNvPr id="559" name="TextBox 558">
            <a:extLst>
              <a:ext uri="{FF2B5EF4-FFF2-40B4-BE49-F238E27FC236}">
                <a16:creationId xmlns:a16="http://schemas.microsoft.com/office/drawing/2014/main" id="{00579812-07D5-4E4C-91EC-497DB0BD3623}"/>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t>Technology</a:t>
            </a:r>
          </a:p>
          <a:p>
            <a:pPr algn="ctr"/>
            <a:r>
              <a:rPr lang="en-US" sz="800"/>
              <a:t>alt 3</a:t>
            </a:r>
          </a:p>
        </p:txBody>
      </p:sp>
      <p:sp>
        <p:nvSpPr>
          <p:cNvPr id="561" name="TextBox 560">
            <a:extLst>
              <a:ext uri="{FF2B5EF4-FFF2-40B4-BE49-F238E27FC236}">
                <a16:creationId xmlns:a16="http://schemas.microsoft.com/office/drawing/2014/main" id="{F7BDEFAE-2C84-4C60-BCB8-7BAFBC009BED}"/>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t>Support</a:t>
            </a:r>
          </a:p>
        </p:txBody>
      </p:sp>
      <p:sp>
        <p:nvSpPr>
          <p:cNvPr id="563" name="TextBox 562">
            <a:extLst>
              <a:ext uri="{FF2B5EF4-FFF2-40B4-BE49-F238E27FC236}">
                <a16:creationId xmlns:a16="http://schemas.microsoft.com/office/drawing/2014/main" id="{AEFDD290-47AB-4C60-9334-A111E6D4BC7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t>Survey</a:t>
            </a:r>
          </a:p>
        </p:txBody>
      </p:sp>
      <p:sp>
        <p:nvSpPr>
          <p:cNvPr id="565" name="TextBox 564">
            <a:extLst>
              <a:ext uri="{FF2B5EF4-FFF2-40B4-BE49-F238E27FC236}">
                <a16:creationId xmlns:a16="http://schemas.microsoft.com/office/drawing/2014/main" id="{95C65428-5486-4717-8C43-360B19CEC2F8}"/>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t>Tap Touch</a:t>
            </a:r>
          </a:p>
        </p:txBody>
      </p:sp>
      <p:sp>
        <p:nvSpPr>
          <p:cNvPr id="567" name="TextBox 566">
            <a:extLst>
              <a:ext uri="{FF2B5EF4-FFF2-40B4-BE49-F238E27FC236}">
                <a16:creationId xmlns:a16="http://schemas.microsoft.com/office/drawing/2014/main" id="{210A870D-6DBE-45DD-AA0D-0C16AB1E9C7B}"/>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t>Target</a:t>
            </a:r>
          </a:p>
        </p:txBody>
      </p:sp>
      <p:sp>
        <p:nvSpPr>
          <p:cNvPr id="569" name="TextBox 568">
            <a:extLst>
              <a:ext uri="{FF2B5EF4-FFF2-40B4-BE49-F238E27FC236}">
                <a16:creationId xmlns:a16="http://schemas.microsoft.com/office/drawing/2014/main" id="{30B05603-F8F4-450E-A4E4-3F9840AA0441}"/>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t>Technology</a:t>
            </a:r>
          </a:p>
        </p:txBody>
      </p:sp>
      <p:sp>
        <p:nvSpPr>
          <p:cNvPr id="571" name="TextBox 570">
            <a:extLst>
              <a:ext uri="{FF2B5EF4-FFF2-40B4-BE49-F238E27FC236}">
                <a16:creationId xmlns:a16="http://schemas.microsoft.com/office/drawing/2014/main" id="{C8AB9F1B-5680-428C-9B0F-171B9C9B5939}"/>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t>Technology </a:t>
            </a:r>
          </a:p>
          <a:p>
            <a:pPr algn="ctr"/>
            <a:r>
              <a:rPr lang="en-US" sz="800"/>
              <a:t>alt</a:t>
            </a:r>
          </a:p>
        </p:txBody>
      </p:sp>
      <p:sp>
        <p:nvSpPr>
          <p:cNvPr id="573" name="TextBox 572">
            <a:extLst>
              <a:ext uri="{FF2B5EF4-FFF2-40B4-BE49-F238E27FC236}">
                <a16:creationId xmlns:a16="http://schemas.microsoft.com/office/drawing/2014/main" id="{3C2152B5-513D-452E-A5C4-CD26DE667CC5}"/>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t>Tent</a:t>
            </a:r>
          </a:p>
        </p:txBody>
      </p:sp>
      <p:sp>
        <p:nvSpPr>
          <p:cNvPr id="575" name="TextBox 574">
            <a:extLst>
              <a:ext uri="{FF2B5EF4-FFF2-40B4-BE49-F238E27FC236}">
                <a16:creationId xmlns:a16="http://schemas.microsoft.com/office/drawing/2014/main" id="{DD75CF29-6FCB-406F-B73D-5D112306C0CD}"/>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t>Student</a:t>
            </a:r>
          </a:p>
        </p:txBody>
      </p:sp>
      <p:sp>
        <p:nvSpPr>
          <p:cNvPr id="577" name="TextBox 576">
            <a:extLst>
              <a:ext uri="{FF2B5EF4-FFF2-40B4-BE49-F238E27FC236}">
                <a16:creationId xmlns:a16="http://schemas.microsoft.com/office/drawing/2014/main" id="{BCCCB375-5529-402F-A976-26EBD937A801}"/>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t>Time saver</a:t>
            </a:r>
          </a:p>
        </p:txBody>
      </p:sp>
      <p:sp>
        <p:nvSpPr>
          <p:cNvPr id="579" name="TextBox 578">
            <a:extLst>
              <a:ext uri="{FF2B5EF4-FFF2-40B4-BE49-F238E27FC236}">
                <a16:creationId xmlns:a16="http://schemas.microsoft.com/office/drawing/2014/main" id="{037971EF-6623-479F-92A5-635805853909}"/>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t>User</a:t>
            </a:r>
          </a:p>
        </p:txBody>
      </p:sp>
      <p:sp>
        <p:nvSpPr>
          <p:cNvPr id="581" name="TextBox 580">
            <a:extLst>
              <a:ext uri="{FF2B5EF4-FFF2-40B4-BE49-F238E27FC236}">
                <a16:creationId xmlns:a16="http://schemas.microsoft.com/office/drawing/2014/main" id="{0CA80814-D6C6-4583-BD20-7F27A83D9AF3}"/>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t>User-OTM</a:t>
            </a:r>
          </a:p>
        </p:txBody>
      </p:sp>
      <p:sp>
        <p:nvSpPr>
          <p:cNvPr id="583" name="TextBox 582">
            <a:extLst>
              <a:ext uri="{FF2B5EF4-FFF2-40B4-BE49-F238E27FC236}">
                <a16:creationId xmlns:a16="http://schemas.microsoft.com/office/drawing/2014/main" id="{19DCBA5F-FABF-420D-B37C-F30FA7883E80}"/>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t>Validate</a:t>
            </a:r>
          </a:p>
        </p:txBody>
      </p:sp>
      <p:sp>
        <p:nvSpPr>
          <p:cNvPr id="585" name="TextBox 584">
            <a:extLst>
              <a:ext uri="{FF2B5EF4-FFF2-40B4-BE49-F238E27FC236}">
                <a16:creationId xmlns:a16="http://schemas.microsoft.com/office/drawing/2014/main" id="{5E533D25-90D1-471E-BBAB-20257941FA16}"/>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t>Vendor</a:t>
            </a:r>
          </a:p>
        </p:txBody>
      </p:sp>
      <p:sp>
        <p:nvSpPr>
          <p:cNvPr id="587" name="TextBox 586">
            <a:extLst>
              <a:ext uri="{FF2B5EF4-FFF2-40B4-BE49-F238E27FC236}">
                <a16:creationId xmlns:a16="http://schemas.microsoft.com/office/drawing/2014/main" id="{BEACED7E-F9D3-48B4-87B9-8A94957A4E22}"/>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t>Welcome</a:t>
            </a:r>
          </a:p>
        </p:txBody>
      </p:sp>
      <p:sp>
        <p:nvSpPr>
          <p:cNvPr id="589" name="TextBox 588">
            <a:extLst>
              <a:ext uri="{FF2B5EF4-FFF2-40B4-BE49-F238E27FC236}">
                <a16:creationId xmlns:a16="http://schemas.microsoft.com/office/drawing/2014/main" id="{2620A4DE-A53F-4530-96B0-415ABFB76E18}"/>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t>Zoom in</a:t>
            </a:r>
          </a:p>
        </p:txBody>
      </p:sp>
      <p:sp>
        <p:nvSpPr>
          <p:cNvPr id="591" name="TextBox 590">
            <a:extLst>
              <a:ext uri="{FF2B5EF4-FFF2-40B4-BE49-F238E27FC236}">
                <a16:creationId xmlns:a16="http://schemas.microsoft.com/office/drawing/2014/main" id="{CCA7A403-9A51-4FDD-A1B8-5C9082B86436}"/>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t>Visibility off</a:t>
            </a:r>
          </a:p>
        </p:txBody>
      </p:sp>
      <p:sp>
        <p:nvSpPr>
          <p:cNvPr id="593" name="TextBox 592">
            <a:extLst>
              <a:ext uri="{FF2B5EF4-FFF2-40B4-BE49-F238E27FC236}">
                <a16:creationId xmlns:a16="http://schemas.microsoft.com/office/drawing/2014/main" id="{29BF41D6-8D07-44D1-97B3-244527F65170}"/>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t>Visibility on</a:t>
            </a:r>
          </a:p>
        </p:txBody>
      </p:sp>
      <p:sp>
        <p:nvSpPr>
          <p:cNvPr id="595" name="TextBox 594">
            <a:extLst>
              <a:ext uri="{FF2B5EF4-FFF2-40B4-BE49-F238E27FC236}">
                <a16:creationId xmlns:a16="http://schemas.microsoft.com/office/drawing/2014/main" id="{9C91F747-9328-43A1-8801-61D65A0CADAD}"/>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tx1"/>
                </a:solidFill>
              </a:rPr>
              <a:t>Warning</a:t>
            </a:r>
          </a:p>
        </p:txBody>
      </p:sp>
      <p:sp>
        <p:nvSpPr>
          <p:cNvPr id="597" name="TextBox 596">
            <a:extLst>
              <a:ext uri="{FF2B5EF4-FFF2-40B4-BE49-F238E27FC236}">
                <a16:creationId xmlns:a16="http://schemas.microsoft.com/office/drawing/2014/main" id="{C58ED54B-93E1-460E-830C-874CA4F50D22}"/>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t>Web</a:t>
            </a:r>
          </a:p>
          <a:p>
            <a:pPr algn="ctr"/>
            <a:r>
              <a:rPr lang="en-US" sz="800"/>
              <a:t>expert</a:t>
            </a:r>
          </a:p>
        </p:txBody>
      </p:sp>
      <p:sp>
        <p:nvSpPr>
          <p:cNvPr id="599" name="TextBox 598">
            <a:extLst>
              <a:ext uri="{FF2B5EF4-FFF2-40B4-BE49-F238E27FC236}">
                <a16:creationId xmlns:a16="http://schemas.microsoft.com/office/drawing/2014/main" id="{D823CE98-52A0-4478-B700-C7220D3456EB}"/>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t>Web</a:t>
            </a:r>
          </a:p>
          <a:p>
            <a:pPr algn="ctr"/>
            <a:r>
              <a:rPr lang="en-US" sz="800"/>
              <a:t>scraping</a:t>
            </a:r>
          </a:p>
        </p:txBody>
      </p:sp>
      <p:sp>
        <p:nvSpPr>
          <p:cNvPr id="601" name="TextBox 600">
            <a:extLst>
              <a:ext uri="{FF2B5EF4-FFF2-40B4-BE49-F238E27FC236}">
                <a16:creationId xmlns:a16="http://schemas.microsoft.com/office/drawing/2014/main" id="{7B465CA4-E923-4F44-9FAE-628374F70940}"/>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t>Web</a:t>
            </a:r>
          </a:p>
          <a:p>
            <a:pPr algn="ctr"/>
            <a:r>
              <a:rPr lang="en-US" sz="800"/>
              <a:t>testing</a:t>
            </a:r>
          </a:p>
        </p:txBody>
      </p:sp>
      <p:sp>
        <p:nvSpPr>
          <p:cNvPr id="603" name="TextBox 602">
            <a:extLst>
              <a:ext uri="{FF2B5EF4-FFF2-40B4-BE49-F238E27FC236}">
                <a16:creationId xmlns:a16="http://schemas.microsoft.com/office/drawing/2014/main" id="{82D2479D-509D-4581-9487-D62DF27182CE}"/>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t>Zoom out</a:t>
            </a:r>
          </a:p>
        </p:txBody>
      </p:sp>
      <p:sp>
        <p:nvSpPr>
          <p:cNvPr id="605" name="TextBox 604">
            <a:extLst>
              <a:ext uri="{FF2B5EF4-FFF2-40B4-BE49-F238E27FC236}">
                <a16:creationId xmlns:a16="http://schemas.microsoft.com/office/drawing/2014/main" id="{213FE9DF-7EFE-4FF3-8368-C6E994E4B317}"/>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t>Vector </a:t>
            </a:r>
          </a:p>
          <a:p>
            <a:pPr algn="ctr"/>
            <a:r>
              <a:rPr lang="en-US" sz="800"/>
              <a:t>anchor</a:t>
            </a:r>
          </a:p>
        </p:txBody>
      </p:sp>
      <p:sp>
        <p:nvSpPr>
          <p:cNvPr id="607" name="TextBox 606">
            <a:extLst>
              <a:ext uri="{FF2B5EF4-FFF2-40B4-BE49-F238E27FC236}">
                <a16:creationId xmlns:a16="http://schemas.microsoft.com/office/drawing/2014/main" id="{B21965E9-E636-4149-A761-B0B18609E90D}"/>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t>Money </a:t>
            </a:r>
          </a:p>
          <a:p>
            <a:pPr algn="ctr"/>
            <a:r>
              <a:rPr lang="en-US" sz="800"/>
              <a:t>square</a:t>
            </a:r>
          </a:p>
        </p:txBody>
      </p:sp>
      <p:sp>
        <p:nvSpPr>
          <p:cNvPr id="609" name="TextBox 608">
            <a:extLst>
              <a:ext uri="{FF2B5EF4-FFF2-40B4-BE49-F238E27FC236}">
                <a16:creationId xmlns:a16="http://schemas.microsoft.com/office/drawing/2014/main" id="{A44EEDF7-941E-4FD8-A6CE-098222409979}"/>
              </a:ext>
            </a:extLst>
          </p:cNvPr>
          <p:cNvSpPr txBox="1"/>
          <p:nvPr userDrawn="1"/>
        </p:nvSpPr>
        <p:spPr>
          <a:xfrm>
            <a:off x="387913" y="1756657"/>
            <a:ext cx="709636" cy="338328"/>
          </a:xfrm>
          <a:prstGeom prst="rect">
            <a:avLst/>
          </a:prstGeom>
          <a:noFill/>
        </p:spPr>
        <p:txBody>
          <a:bodyPr wrap="square" lIns="0" rIns="0">
            <a:noAutofit/>
          </a:bodyPr>
          <a:lstStyle/>
          <a:p>
            <a:pPr algn="ctr"/>
            <a:r>
              <a:rPr lang="en-US" sz="800"/>
              <a:t>Location </a:t>
            </a:r>
          </a:p>
          <a:p>
            <a:pPr algn="ctr"/>
            <a:r>
              <a:rPr lang="en-US" sz="800"/>
              <a:t>pin</a:t>
            </a:r>
          </a:p>
        </p:txBody>
      </p:sp>
      <p:sp>
        <p:nvSpPr>
          <p:cNvPr id="611" name="TextBox 610">
            <a:extLst>
              <a:ext uri="{FF2B5EF4-FFF2-40B4-BE49-F238E27FC236}">
                <a16:creationId xmlns:a16="http://schemas.microsoft.com/office/drawing/2014/main" id="{BF559BB8-A1CB-4448-96B7-5471A024BA03}"/>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t>Lock</a:t>
            </a:r>
          </a:p>
        </p:txBody>
      </p:sp>
      <p:sp>
        <p:nvSpPr>
          <p:cNvPr id="613" name="TextBox 612">
            <a:extLst>
              <a:ext uri="{FF2B5EF4-FFF2-40B4-BE49-F238E27FC236}">
                <a16:creationId xmlns:a16="http://schemas.microsoft.com/office/drawing/2014/main" id="{C48A4874-E387-4D4D-8CBA-EE4936A004A8}"/>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t>Lock</a:t>
            </a:r>
          </a:p>
          <a:p>
            <a:pPr algn="ctr"/>
            <a:r>
              <a:rPr lang="en-US" sz="800"/>
              <a:t>open</a:t>
            </a:r>
          </a:p>
        </p:txBody>
      </p:sp>
      <p:sp>
        <p:nvSpPr>
          <p:cNvPr id="615" name="TextBox 614">
            <a:extLst>
              <a:ext uri="{FF2B5EF4-FFF2-40B4-BE49-F238E27FC236}">
                <a16:creationId xmlns:a16="http://schemas.microsoft.com/office/drawing/2014/main" id="{434CAC96-477B-4750-942B-551FF000F1B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t>Macro recording</a:t>
            </a:r>
          </a:p>
        </p:txBody>
      </p:sp>
      <p:sp>
        <p:nvSpPr>
          <p:cNvPr id="617" name="TextBox 616">
            <a:extLst>
              <a:ext uri="{FF2B5EF4-FFF2-40B4-BE49-F238E27FC236}">
                <a16:creationId xmlns:a16="http://schemas.microsoft.com/office/drawing/2014/main" id="{912A4E62-2EB8-447E-B421-A1DC28B0AE56}"/>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t>Managing</a:t>
            </a:r>
          </a:p>
        </p:txBody>
      </p:sp>
      <p:sp>
        <p:nvSpPr>
          <p:cNvPr id="619" name="TextBox 618">
            <a:extLst>
              <a:ext uri="{FF2B5EF4-FFF2-40B4-BE49-F238E27FC236}">
                <a16:creationId xmlns:a16="http://schemas.microsoft.com/office/drawing/2014/main" id="{F03F7DCC-8D90-46AE-B314-75D8D5DAA9F1}"/>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t>Mobile</a:t>
            </a:r>
          </a:p>
          <a:p>
            <a:pPr algn="ctr"/>
            <a:r>
              <a:rPr lang="en-US" sz="800"/>
              <a:t>device</a:t>
            </a:r>
          </a:p>
        </p:txBody>
      </p:sp>
      <p:sp>
        <p:nvSpPr>
          <p:cNvPr id="621" name="TextBox 620">
            <a:extLst>
              <a:ext uri="{FF2B5EF4-FFF2-40B4-BE49-F238E27FC236}">
                <a16:creationId xmlns:a16="http://schemas.microsoft.com/office/drawing/2014/main" id="{CD8EA5EA-5FD1-473D-92F5-10F69A375720}"/>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t>Money </a:t>
            </a:r>
          </a:p>
        </p:txBody>
      </p:sp>
      <p:sp>
        <p:nvSpPr>
          <p:cNvPr id="623" name="TextBox 622">
            <a:extLst>
              <a:ext uri="{FF2B5EF4-FFF2-40B4-BE49-F238E27FC236}">
                <a16:creationId xmlns:a16="http://schemas.microsoft.com/office/drawing/2014/main" id="{8EB9E53B-645E-4E07-9C84-9E225D25C1F1}"/>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t>Managing alt</a:t>
            </a:r>
          </a:p>
        </p:txBody>
      </p:sp>
      <p:sp>
        <p:nvSpPr>
          <p:cNvPr id="625" name="TextBox 624">
            <a:extLst>
              <a:ext uri="{FF2B5EF4-FFF2-40B4-BE49-F238E27FC236}">
                <a16:creationId xmlns:a16="http://schemas.microsoft.com/office/drawing/2014/main" id="{C1974E64-5A8E-41D7-926E-0C33F5E43D19}"/>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t>Map</a:t>
            </a:r>
          </a:p>
        </p:txBody>
      </p:sp>
      <p:sp>
        <p:nvSpPr>
          <p:cNvPr id="627" name="TextBox 626">
            <a:extLst>
              <a:ext uri="{FF2B5EF4-FFF2-40B4-BE49-F238E27FC236}">
                <a16:creationId xmlns:a16="http://schemas.microsoft.com/office/drawing/2014/main" id="{B6884CAD-AE4A-47A2-ADCD-53E37FAE7777}"/>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t>Map alt</a:t>
            </a:r>
          </a:p>
        </p:txBody>
      </p:sp>
      <p:sp>
        <p:nvSpPr>
          <p:cNvPr id="629" name="TextBox 628">
            <a:extLst>
              <a:ext uri="{FF2B5EF4-FFF2-40B4-BE49-F238E27FC236}">
                <a16:creationId xmlns:a16="http://schemas.microsoft.com/office/drawing/2014/main" id="{04AABCD4-86BF-4089-A1E1-F124443A7FAA}"/>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t>Map alt 2</a:t>
            </a:r>
          </a:p>
        </p:txBody>
      </p:sp>
      <p:sp>
        <p:nvSpPr>
          <p:cNvPr id="631" name="TextBox 630">
            <a:extLst>
              <a:ext uri="{FF2B5EF4-FFF2-40B4-BE49-F238E27FC236}">
                <a16:creationId xmlns:a16="http://schemas.microsoft.com/office/drawing/2014/main" id="{5EC89280-2227-4E24-B9C9-2DBE66CEA7B8}"/>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t>Media</a:t>
            </a:r>
          </a:p>
        </p:txBody>
      </p:sp>
      <p:sp>
        <p:nvSpPr>
          <p:cNvPr id="633" name="TextBox 632">
            <a:extLst>
              <a:ext uri="{FF2B5EF4-FFF2-40B4-BE49-F238E27FC236}">
                <a16:creationId xmlns:a16="http://schemas.microsoft.com/office/drawing/2014/main" id="{A2082B14-9045-4CCE-A159-2607752ABF27}"/>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t>Mismatch</a:t>
            </a:r>
          </a:p>
        </p:txBody>
      </p:sp>
      <p:sp>
        <p:nvSpPr>
          <p:cNvPr id="635" name="TextBox 634">
            <a:extLst>
              <a:ext uri="{FF2B5EF4-FFF2-40B4-BE49-F238E27FC236}">
                <a16:creationId xmlns:a16="http://schemas.microsoft.com/office/drawing/2014/main" id="{136105B6-A9C0-4D88-8586-7567DB5DDDD3}"/>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t>Money </a:t>
            </a:r>
          </a:p>
          <a:p>
            <a:pPr algn="ctr"/>
            <a:r>
              <a:rPr lang="en-US" sz="800"/>
              <a:t>circle</a:t>
            </a:r>
          </a:p>
        </p:txBody>
      </p:sp>
      <p:sp>
        <p:nvSpPr>
          <p:cNvPr id="637" name="TextBox 636">
            <a:extLst>
              <a:ext uri="{FF2B5EF4-FFF2-40B4-BE49-F238E27FC236}">
                <a16:creationId xmlns:a16="http://schemas.microsoft.com/office/drawing/2014/main" id="{2F997FB6-015F-44DE-A60D-42E3CE1A1B5A}"/>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t>Manage documents</a:t>
            </a:r>
          </a:p>
        </p:txBody>
      </p:sp>
      <p:sp>
        <p:nvSpPr>
          <p:cNvPr id="639" name="TextBox 638">
            <a:extLst>
              <a:ext uri="{FF2B5EF4-FFF2-40B4-BE49-F238E27FC236}">
                <a16:creationId xmlns:a16="http://schemas.microsoft.com/office/drawing/2014/main" id="{354E9287-D580-4B32-9F2A-79BC21EDF64C}"/>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t>QA</a:t>
            </a:r>
          </a:p>
        </p:txBody>
      </p:sp>
      <p:sp>
        <p:nvSpPr>
          <p:cNvPr id="641" name="TextBox 640">
            <a:extLst>
              <a:ext uri="{FF2B5EF4-FFF2-40B4-BE49-F238E27FC236}">
                <a16:creationId xmlns:a16="http://schemas.microsoft.com/office/drawing/2014/main" id="{88E82C6E-BC56-408B-B706-7DC8FDF75BF8}"/>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t>Monitoring</a:t>
            </a:r>
          </a:p>
        </p:txBody>
      </p:sp>
      <p:sp>
        <p:nvSpPr>
          <p:cNvPr id="643" name="TextBox 642">
            <a:extLst>
              <a:ext uri="{FF2B5EF4-FFF2-40B4-BE49-F238E27FC236}">
                <a16:creationId xmlns:a16="http://schemas.microsoft.com/office/drawing/2014/main" id="{B2F1DAD0-F9A3-4508-B6FA-4A05AE1954C7}"/>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t>Monitoring alt</a:t>
            </a:r>
          </a:p>
        </p:txBody>
      </p:sp>
      <p:sp>
        <p:nvSpPr>
          <p:cNvPr id="645" name="TextBox 644">
            <a:extLst>
              <a:ext uri="{FF2B5EF4-FFF2-40B4-BE49-F238E27FC236}">
                <a16:creationId xmlns:a16="http://schemas.microsoft.com/office/drawing/2014/main" id="{9F1E6922-FFBC-4C8C-8509-44FF27B2C648}"/>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t>Note</a:t>
            </a:r>
          </a:p>
        </p:txBody>
      </p:sp>
      <p:sp>
        <p:nvSpPr>
          <p:cNvPr id="647" name="TextBox 646">
            <a:extLst>
              <a:ext uri="{FF2B5EF4-FFF2-40B4-BE49-F238E27FC236}">
                <a16:creationId xmlns:a16="http://schemas.microsoft.com/office/drawing/2014/main" id="{D9BDE033-1324-4D4D-BE7B-6741F0058753}"/>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t>OCR</a:t>
            </a:r>
          </a:p>
        </p:txBody>
      </p:sp>
      <p:sp>
        <p:nvSpPr>
          <p:cNvPr id="649" name="TextBox 648">
            <a:extLst>
              <a:ext uri="{FF2B5EF4-FFF2-40B4-BE49-F238E27FC236}">
                <a16:creationId xmlns:a16="http://schemas.microsoft.com/office/drawing/2014/main" id="{9601E31D-B4FC-43E9-BBB5-79F36EF10F25}"/>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t>Phone </a:t>
            </a:r>
          </a:p>
          <a:p>
            <a:pPr algn="ctr"/>
            <a:r>
              <a:rPr lang="en-US" sz="800"/>
              <a:t>call</a:t>
            </a:r>
          </a:p>
        </p:txBody>
      </p:sp>
      <p:sp>
        <p:nvSpPr>
          <p:cNvPr id="651" name="TextBox 650">
            <a:extLst>
              <a:ext uri="{FF2B5EF4-FFF2-40B4-BE49-F238E27FC236}">
                <a16:creationId xmlns:a16="http://schemas.microsoft.com/office/drawing/2014/main" id="{24E3C5B6-0999-4757-9F98-23E5FCB4088C}"/>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t>Proof of concept</a:t>
            </a:r>
          </a:p>
        </p:txBody>
      </p:sp>
      <p:sp>
        <p:nvSpPr>
          <p:cNvPr id="653" name="TextBox 652">
            <a:extLst>
              <a:ext uri="{FF2B5EF4-FFF2-40B4-BE49-F238E27FC236}">
                <a16:creationId xmlns:a16="http://schemas.microsoft.com/office/drawing/2014/main" id="{D207126C-2689-4749-81C3-627038AA0B1C}"/>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t>Proof of concept 2</a:t>
            </a:r>
          </a:p>
        </p:txBody>
      </p:sp>
      <p:sp>
        <p:nvSpPr>
          <p:cNvPr id="655" name="TextBox 654">
            <a:extLst>
              <a:ext uri="{FF2B5EF4-FFF2-40B4-BE49-F238E27FC236}">
                <a16:creationId xmlns:a16="http://schemas.microsoft.com/office/drawing/2014/main" id="{6E772628-0A70-4898-AEDF-969CFBD1BB62}"/>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t>Pivot</a:t>
            </a:r>
          </a:p>
        </p:txBody>
      </p:sp>
      <p:sp>
        <p:nvSpPr>
          <p:cNvPr id="657" name="TextBox 656">
            <a:extLst>
              <a:ext uri="{FF2B5EF4-FFF2-40B4-BE49-F238E27FC236}">
                <a16:creationId xmlns:a16="http://schemas.microsoft.com/office/drawing/2014/main" id="{557A935E-47BF-451F-BE8A-B878139461D6}"/>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t>Plugin</a:t>
            </a:r>
          </a:p>
        </p:txBody>
      </p:sp>
      <p:sp>
        <p:nvSpPr>
          <p:cNvPr id="659" name="TextBox 658">
            <a:extLst>
              <a:ext uri="{FF2B5EF4-FFF2-40B4-BE49-F238E27FC236}">
                <a16:creationId xmlns:a16="http://schemas.microsoft.com/office/drawing/2014/main" id="{6C7F95D7-4744-4C14-8CC2-4AC70446A8A3}"/>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t>Process identification</a:t>
            </a:r>
          </a:p>
        </p:txBody>
      </p:sp>
      <p:sp>
        <p:nvSpPr>
          <p:cNvPr id="661" name="TextBox 660">
            <a:extLst>
              <a:ext uri="{FF2B5EF4-FFF2-40B4-BE49-F238E27FC236}">
                <a16:creationId xmlns:a16="http://schemas.microsoft.com/office/drawing/2014/main" id="{32F110B8-3E06-43DD-993B-87AAFBF7C4A5}"/>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t>Process identification 2</a:t>
            </a:r>
          </a:p>
        </p:txBody>
      </p:sp>
      <p:sp>
        <p:nvSpPr>
          <p:cNvPr id="663" name="TextBox 662">
            <a:extLst>
              <a:ext uri="{FF2B5EF4-FFF2-40B4-BE49-F238E27FC236}">
                <a16:creationId xmlns:a16="http://schemas.microsoft.com/office/drawing/2014/main" id="{A96C2934-8FDF-44D3-80F1-9ED7D91FC98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t>Project</a:t>
            </a:r>
          </a:p>
        </p:txBody>
      </p:sp>
      <p:sp>
        <p:nvSpPr>
          <p:cNvPr id="665" name="TextBox 664">
            <a:extLst>
              <a:ext uri="{FF2B5EF4-FFF2-40B4-BE49-F238E27FC236}">
                <a16:creationId xmlns:a16="http://schemas.microsoft.com/office/drawing/2014/main" id="{CC4C6D62-B4C9-44BA-ACD1-35EBC1D5D918}"/>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t>Promoter bullhorn</a:t>
            </a:r>
          </a:p>
        </p:txBody>
      </p:sp>
      <p:sp>
        <p:nvSpPr>
          <p:cNvPr id="667" name="TextBox 666">
            <a:extLst>
              <a:ext uri="{FF2B5EF4-FFF2-40B4-BE49-F238E27FC236}">
                <a16:creationId xmlns:a16="http://schemas.microsoft.com/office/drawing/2014/main" id="{3B668145-1735-47EB-A7F3-42A32381F1A7}"/>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t>Public </a:t>
            </a:r>
          </a:p>
          <a:p>
            <a:pPr algn="ctr"/>
            <a:r>
              <a:rPr lang="en-US" sz="800"/>
              <a:t>sector</a:t>
            </a:r>
          </a:p>
        </p:txBody>
      </p:sp>
      <p:sp>
        <p:nvSpPr>
          <p:cNvPr id="669" name="TextBox 668">
            <a:extLst>
              <a:ext uri="{FF2B5EF4-FFF2-40B4-BE49-F238E27FC236}">
                <a16:creationId xmlns:a16="http://schemas.microsoft.com/office/drawing/2014/main" id="{1DBAC888-1008-4F3C-AABF-04F38EBED5BA}"/>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t>OCR alt</a:t>
            </a:r>
          </a:p>
        </p:txBody>
      </p:sp>
    </p:spTree>
    <p:extLst>
      <p:ext uri="{BB962C8B-B14F-4D97-AF65-F5344CB8AC3E}">
        <p14:creationId xmlns:p14="http://schemas.microsoft.com/office/powerpoint/2010/main" val="33476263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5B52BF-524B-4C19-B2D2-D37EBEE79855}"/>
              </a:ext>
            </a:extLst>
          </p:cNvPr>
          <p:cNvSpPr/>
          <p:nvPr userDrawn="1"/>
        </p:nvSpPr>
        <p:spPr>
          <a:xfrm>
            <a:off x="1" y="1143002"/>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6" name="Left Bracket 5">
            <a:extLst>
              <a:ext uri="{FF2B5EF4-FFF2-40B4-BE49-F238E27FC236}">
                <a16:creationId xmlns:a16="http://schemas.microsoft.com/office/drawing/2014/main" id="{9791BE5E-449B-4FD7-8C2A-42AD93977E12}"/>
              </a:ext>
            </a:extLst>
          </p:cNvPr>
          <p:cNvSpPr/>
          <p:nvPr userDrawn="1"/>
        </p:nvSpPr>
        <p:spPr>
          <a:xfrm flipH="1">
            <a:off x="-6" y="1276795"/>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99"/>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281" name="TextBox 280">
            <a:extLst>
              <a:ext uri="{FF2B5EF4-FFF2-40B4-BE49-F238E27FC236}">
                <a16:creationId xmlns:a16="http://schemas.microsoft.com/office/drawing/2014/main" id="{7D33A196-A6A8-4109-B8EF-A189C9638264}"/>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bg1"/>
                </a:solidFill>
              </a:rPr>
              <a:t>Robot Attended</a:t>
            </a:r>
          </a:p>
        </p:txBody>
      </p:sp>
      <p:sp>
        <p:nvSpPr>
          <p:cNvPr id="283" name="TextBox 282">
            <a:extLst>
              <a:ext uri="{FF2B5EF4-FFF2-40B4-BE49-F238E27FC236}">
                <a16:creationId xmlns:a16="http://schemas.microsoft.com/office/drawing/2014/main" id="{88C75E80-0CE3-4713-9DD7-6208DDBD87D9}"/>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bg1"/>
                </a:solidFill>
              </a:rPr>
              <a:t>Robot Unattended</a:t>
            </a:r>
          </a:p>
        </p:txBody>
      </p:sp>
      <p:sp>
        <p:nvSpPr>
          <p:cNvPr id="285" name="TextBox 284">
            <a:extLst>
              <a:ext uri="{FF2B5EF4-FFF2-40B4-BE49-F238E27FC236}">
                <a16:creationId xmlns:a16="http://schemas.microsoft.com/office/drawing/2014/main" id="{AB4C91F5-C032-4A9C-8501-DF80BA144803}"/>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bg1"/>
                </a:solidFill>
              </a:rPr>
              <a:t>Orchestrator</a:t>
            </a:r>
          </a:p>
        </p:txBody>
      </p:sp>
      <p:sp>
        <p:nvSpPr>
          <p:cNvPr id="287" name="TextBox 286">
            <a:extLst>
              <a:ext uri="{FF2B5EF4-FFF2-40B4-BE49-F238E27FC236}">
                <a16:creationId xmlns:a16="http://schemas.microsoft.com/office/drawing/2014/main" id="{AE64AA71-019C-4448-9489-72D5777CDFD8}"/>
              </a:ext>
            </a:extLst>
          </p:cNvPr>
          <p:cNvSpPr txBox="1"/>
          <p:nvPr userDrawn="1"/>
        </p:nvSpPr>
        <p:spPr>
          <a:xfrm>
            <a:off x="2320811" y="1756657"/>
            <a:ext cx="304800" cy="215444"/>
          </a:xfrm>
          <a:prstGeom prst="rect">
            <a:avLst/>
          </a:prstGeom>
          <a:noFill/>
        </p:spPr>
        <p:txBody>
          <a:bodyPr wrap="square" lIns="0" rIns="0" anchor="ctr">
            <a:spAutoFit/>
          </a:bodyPr>
          <a:lstStyle/>
          <a:p>
            <a:pPr algn="ctr"/>
            <a:r>
              <a:rPr lang="en-US" sz="800">
                <a:solidFill>
                  <a:schemeClr val="bg1"/>
                </a:solidFill>
              </a:rPr>
              <a:t>Studio</a:t>
            </a:r>
          </a:p>
        </p:txBody>
      </p:sp>
      <p:sp>
        <p:nvSpPr>
          <p:cNvPr id="289" name="TextBox 288">
            <a:extLst>
              <a:ext uri="{FF2B5EF4-FFF2-40B4-BE49-F238E27FC236}">
                <a16:creationId xmlns:a16="http://schemas.microsoft.com/office/drawing/2014/main" id="{6C36F93E-C86E-44C3-B1D4-0CDEBB7A1483}"/>
              </a:ext>
            </a:extLst>
          </p:cNvPr>
          <p:cNvSpPr txBox="1"/>
          <p:nvPr userDrawn="1"/>
        </p:nvSpPr>
        <p:spPr>
          <a:xfrm>
            <a:off x="10387592" y="2580873"/>
            <a:ext cx="709636" cy="215444"/>
          </a:xfrm>
          <a:prstGeom prst="rect">
            <a:avLst/>
          </a:prstGeom>
          <a:noFill/>
        </p:spPr>
        <p:txBody>
          <a:bodyPr wrap="square" lIns="0" rIns="0">
            <a:noAutofit/>
          </a:bodyPr>
          <a:lstStyle/>
          <a:p>
            <a:pPr algn="ctr"/>
            <a:r>
              <a:rPr lang="en-US" sz="800">
                <a:solidFill>
                  <a:schemeClr val="bg1"/>
                </a:solidFill>
              </a:rPr>
              <a:t>Calendar</a:t>
            </a:r>
          </a:p>
        </p:txBody>
      </p:sp>
      <p:sp>
        <p:nvSpPr>
          <p:cNvPr id="291" name="TextBox 290">
            <a:extLst>
              <a:ext uri="{FF2B5EF4-FFF2-40B4-BE49-F238E27FC236}">
                <a16:creationId xmlns:a16="http://schemas.microsoft.com/office/drawing/2014/main" id="{BFA6AC61-8B68-4A9C-BC38-D88FAEF9C888}"/>
              </a:ext>
            </a:extLst>
          </p:cNvPr>
          <p:cNvSpPr txBox="1"/>
          <p:nvPr userDrawn="1"/>
        </p:nvSpPr>
        <p:spPr>
          <a:xfrm>
            <a:off x="10387592" y="3367961"/>
            <a:ext cx="709636" cy="338554"/>
          </a:xfrm>
          <a:prstGeom prst="rect">
            <a:avLst/>
          </a:prstGeom>
          <a:noFill/>
        </p:spPr>
        <p:txBody>
          <a:bodyPr wrap="square" lIns="0" rIns="0">
            <a:noAutofit/>
          </a:bodyPr>
          <a:lstStyle/>
          <a:p>
            <a:pPr algn="ctr"/>
            <a:r>
              <a:rPr lang="en-US" sz="800">
                <a:solidFill>
                  <a:schemeClr val="bg1"/>
                </a:solidFill>
              </a:rPr>
              <a:t>Course foundation</a:t>
            </a:r>
          </a:p>
        </p:txBody>
      </p:sp>
      <p:sp>
        <p:nvSpPr>
          <p:cNvPr id="293" name="TextBox 292">
            <a:extLst>
              <a:ext uri="{FF2B5EF4-FFF2-40B4-BE49-F238E27FC236}">
                <a16:creationId xmlns:a16="http://schemas.microsoft.com/office/drawing/2014/main" id="{DED33649-2708-4054-8C49-16C700A4B49A}"/>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a:solidFill>
                  <a:schemeClr val="bg1"/>
                </a:solidFill>
              </a:rPr>
              <a:t>Enterprise-competency alt</a:t>
            </a:r>
          </a:p>
        </p:txBody>
      </p:sp>
      <p:sp>
        <p:nvSpPr>
          <p:cNvPr id="295" name="TextBox 294">
            <a:extLst>
              <a:ext uri="{FF2B5EF4-FFF2-40B4-BE49-F238E27FC236}">
                <a16:creationId xmlns:a16="http://schemas.microsoft.com/office/drawing/2014/main" id="{1D93EA50-5D63-4CAC-9BBA-FC11BFDC90C0}"/>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a:solidFill>
                  <a:schemeClr val="bg1"/>
                </a:solidFill>
              </a:rPr>
              <a:t>Growth</a:t>
            </a:r>
          </a:p>
        </p:txBody>
      </p:sp>
      <p:sp>
        <p:nvSpPr>
          <p:cNvPr id="297" name="TextBox 296">
            <a:extLst>
              <a:ext uri="{FF2B5EF4-FFF2-40B4-BE49-F238E27FC236}">
                <a16:creationId xmlns:a16="http://schemas.microsoft.com/office/drawing/2014/main" id="{454AB1A7-97EF-4D7F-84DB-75782615EA63}"/>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a:solidFill>
                  <a:schemeClr val="bg1"/>
                </a:solidFill>
              </a:rPr>
              <a:t>Certification</a:t>
            </a:r>
          </a:p>
        </p:txBody>
      </p:sp>
      <p:sp>
        <p:nvSpPr>
          <p:cNvPr id="299" name="TextBox 298">
            <a:extLst>
              <a:ext uri="{FF2B5EF4-FFF2-40B4-BE49-F238E27FC236}">
                <a16:creationId xmlns:a16="http://schemas.microsoft.com/office/drawing/2014/main" id="{141267A5-7BF0-479B-A02D-BA25111EA4D4}"/>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a:solidFill>
                  <a:schemeClr val="bg1"/>
                </a:solidFill>
              </a:rPr>
              <a:t>Course foundation 2</a:t>
            </a:r>
          </a:p>
        </p:txBody>
      </p:sp>
      <p:sp>
        <p:nvSpPr>
          <p:cNvPr id="301" name="TextBox 300">
            <a:extLst>
              <a:ext uri="{FF2B5EF4-FFF2-40B4-BE49-F238E27FC236}">
                <a16:creationId xmlns:a16="http://schemas.microsoft.com/office/drawing/2014/main" id="{D8E69AA5-26B3-4474-B10D-303EC789B024}"/>
              </a:ext>
            </a:extLst>
          </p:cNvPr>
          <p:cNvSpPr txBox="1"/>
          <p:nvPr userDrawn="1"/>
        </p:nvSpPr>
        <p:spPr>
          <a:xfrm>
            <a:off x="386233" y="5053521"/>
            <a:ext cx="709636" cy="215444"/>
          </a:xfrm>
          <a:prstGeom prst="rect">
            <a:avLst/>
          </a:prstGeom>
          <a:noFill/>
        </p:spPr>
        <p:txBody>
          <a:bodyPr wrap="square" lIns="0" rIns="0">
            <a:noAutofit/>
          </a:bodyPr>
          <a:lstStyle/>
          <a:p>
            <a:pPr algn="ctr"/>
            <a:r>
              <a:rPr lang="en-US" sz="800">
                <a:solidFill>
                  <a:schemeClr val="bg1"/>
                </a:solidFill>
              </a:rPr>
              <a:t>Equal</a:t>
            </a:r>
          </a:p>
        </p:txBody>
      </p:sp>
      <p:sp>
        <p:nvSpPr>
          <p:cNvPr id="303" name="TextBox 302">
            <a:extLst>
              <a:ext uri="{FF2B5EF4-FFF2-40B4-BE49-F238E27FC236}">
                <a16:creationId xmlns:a16="http://schemas.microsoft.com/office/drawing/2014/main" id="{64580ABD-6720-4432-AB0F-030830C7FE46}"/>
              </a:ext>
            </a:extLst>
          </p:cNvPr>
          <p:cNvSpPr txBox="1"/>
          <p:nvPr userDrawn="1"/>
        </p:nvSpPr>
        <p:spPr>
          <a:xfrm>
            <a:off x="386233" y="5877738"/>
            <a:ext cx="709636" cy="215444"/>
          </a:xfrm>
          <a:prstGeom prst="rect">
            <a:avLst/>
          </a:prstGeom>
          <a:noFill/>
        </p:spPr>
        <p:txBody>
          <a:bodyPr wrap="square" lIns="0" rIns="0">
            <a:noAutofit/>
          </a:bodyPr>
          <a:lstStyle/>
          <a:p>
            <a:pPr algn="ctr"/>
            <a:r>
              <a:rPr lang="en-US" sz="800">
                <a:solidFill>
                  <a:schemeClr val="bg1"/>
                </a:solidFill>
              </a:rPr>
              <a:t>Health</a:t>
            </a:r>
          </a:p>
        </p:txBody>
      </p:sp>
      <p:sp>
        <p:nvSpPr>
          <p:cNvPr id="305" name="TextBox 304">
            <a:extLst>
              <a:ext uri="{FF2B5EF4-FFF2-40B4-BE49-F238E27FC236}">
                <a16:creationId xmlns:a16="http://schemas.microsoft.com/office/drawing/2014/main" id="{717B56DC-45A1-46B1-8009-B49EEB12B3C0}"/>
              </a:ext>
            </a:extLst>
          </p:cNvPr>
          <p:cNvSpPr txBox="1"/>
          <p:nvPr userDrawn="1"/>
        </p:nvSpPr>
        <p:spPr>
          <a:xfrm>
            <a:off x="386233" y="3367961"/>
            <a:ext cx="709636" cy="215444"/>
          </a:xfrm>
          <a:prstGeom prst="rect">
            <a:avLst/>
          </a:prstGeom>
          <a:noFill/>
        </p:spPr>
        <p:txBody>
          <a:bodyPr wrap="square" lIns="0" rIns="0">
            <a:noAutofit/>
          </a:bodyPr>
          <a:lstStyle/>
          <a:p>
            <a:pPr algn="ctr"/>
            <a:r>
              <a:rPr lang="en-US" sz="800">
                <a:solidFill>
                  <a:schemeClr val="bg1"/>
                </a:solidFill>
              </a:rPr>
              <a:t>Chart</a:t>
            </a:r>
          </a:p>
        </p:txBody>
      </p:sp>
      <p:sp>
        <p:nvSpPr>
          <p:cNvPr id="307" name="TextBox 306">
            <a:extLst>
              <a:ext uri="{FF2B5EF4-FFF2-40B4-BE49-F238E27FC236}">
                <a16:creationId xmlns:a16="http://schemas.microsoft.com/office/drawing/2014/main" id="{5B37DF35-1C4E-4138-98BD-EBE5232ACE08}"/>
              </a:ext>
            </a:extLst>
          </p:cNvPr>
          <p:cNvSpPr txBox="1"/>
          <p:nvPr userDrawn="1"/>
        </p:nvSpPr>
        <p:spPr>
          <a:xfrm>
            <a:off x="386233" y="4216498"/>
            <a:ext cx="709636" cy="338554"/>
          </a:xfrm>
          <a:prstGeom prst="rect">
            <a:avLst/>
          </a:prstGeom>
          <a:noFill/>
        </p:spPr>
        <p:txBody>
          <a:bodyPr wrap="square" lIns="0" rIns="0">
            <a:noAutofit/>
          </a:bodyPr>
          <a:lstStyle/>
          <a:p>
            <a:pPr algn="ctr"/>
            <a:r>
              <a:rPr lang="en-US" sz="800">
                <a:solidFill>
                  <a:schemeClr val="bg1"/>
                </a:solidFill>
              </a:rPr>
              <a:t>Course foundation 3</a:t>
            </a:r>
          </a:p>
        </p:txBody>
      </p:sp>
      <p:sp>
        <p:nvSpPr>
          <p:cNvPr id="309" name="TextBox 308">
            <a:extLst>
              <a:ext uri="{FF2B5EF4-FFF2-40B4-BE49-F238E27FC236}">
                <a16:creationId xmlns:a16="http://schemas.microsoft.com/office/drawing/2014/main" id="{932E09EE-C78C-43A9-8B3D-018A7ADA7BFF}"/>
              </a:ext>
            </a:extLst>
          </p:cNvPr>
          <p:cNvSpPr txBox="1"/>
          <p:nvPr userDrawn="1"/>
        </p:nvSpPr>
        <p:spPr>
          <a:xfrm>
            <a:off x="1094200" y="5053521"/>
            <a:ext cx="709636" cy="215444"/>
          </a:xfrm>
          <a:prstGeom prst="rect">
            <a:avLst/>
          </a:prstGeom>
          <a:noFill/>
        </p:spPr>
        <p:txBody>
          <a:bodyPr wrap="square" lIns="0" rIns="0">
            <a:noAutofit/>
          </a:bodyPr>
          <a:lstStyle/>
          <a:p>
            <a:pPr algn="ctr"/>
            <a:r>
              <a:rPr lang="en-US" sz="800">
                <a:solidFill>
                  <a:schemeClr val="bg1"/>
                </a:solidFill>
              </a:rPr>
              <a:t>Error</a:t>
            </a:r>
          </a:p>
        </p:txBody>
      </p:sp>
      <p:sp>
        <p:nvSpPr>
          <p:cNvPr id="311" name="TextBox 310">
            <a:extLst>
              <a:ext uri="{FF2B5EF4-FFF2-40B4-BE49-F238E27FC236}">
                <a16:creationId xmlns:a16="http://schemas.microsoft.com/office/drawing/2014/main" id="{1C5EDAB4-6AD7-4491-B73B-2113B1A5F3B9}"/>
              </a:ext>
            </a:extLst>
          </p:cNvPr>
          <p:cNvSpPr txBox="1"/>
          <p:nvPr userDrawn="1"/>
        </p:nvSpPr>
        <p:spPr>
          <a:xfrm>
            <a:off x="1094200" y="5877738"/>
            <a:ext cx="709636" cy="215444"/>
          </a:xfrm>
          <a:prstGeom prst="rect">
            <a:avLst/>
          </a:prstGeom>
          <a:noFill/>
        </p:spPr>
        <p:txBody>
          <a:bodyPr wrap="square" lIns="0" rIns="0">
            <a:noAutofit/>
          </a:bodyPr>
          <a:lstStyle/>
          <a:p>
            <a:pPr algn="ctr"/>
            <a:r>
              <a:rPr lang="en-US" sz="800">
                <a:solidFill>
                  <a:schemeClr val="bg1"/>
                </a:solidFill>
              </a:rPr>
              <a:t>Heart</a:t>
            </a:r>
          </a:p>
        </p:txBody>
      </p:sp>
      <p:sp>
        <p:nvSpPr>
          <p:cNvPr id="313" name="TextBox 312">
            <a:extLst>
              <a:ext uri="{FF2B5EF4-FFF2-40B4-BE49-F238E27FC236}">
                <a16:creationId xmlns:a16="http://schemas.microsoft.com/office/drawing/2014/main" id="{675EA841-2F61-4151-B78F-EB65F2211DE4}"/>
              </a:ext>
            </a:extLst>
          </p:cNvPr>
          <p:cNvSpPr txBox="1"/>
          <p:nvPr userDrawn="1"/>
        </p:nvSpPr>
        <p:spPr>
          <a:xfrm>
            <a:off x="1094200" y="3367961"/>
            <a:ext cx="709636" cy="215444"/>
          </a:xfrm>
          <a:prstGeom prst="rect">
            <a:avLst/>
          </a:prstGeom>
          <a:noFill/>
        </p:spPr>
        <p:txBody>
          <a:bodyPr wrap="square" lIns="0" rIns="0">
            <a:noAutofit/>
          </a:bodyPr>
          <a:lstStyle/>
          <a:p>
            <a:pPr algn="ctr"/>
            <a:r>
              <a:rPr lang="en-US" sz="800">
                <a:solidFill>
                  <a:schemeClr val="bg1"/>
                </a:solidFill>
              </a:rPr>
              <a:t>Clock</a:t>
            </a:r>
          </a:p>
        </p:txBody>
      </p:sp>
      <p:sp>
        <p:nvSpPr>
          <p:cNvPr id="315" name="TextBox 314">
            <a:extLst>
              <a:ext uri="{FF2B5EF4-FFF2-40B4-BE49-F238E27FC236}">
                <a16:creationId xmlns:a16="http://schemas.microsoft.com/office/drawing/2014/main" id="{57A906BB-AC45-482E-A326-460F3B05A122}"/>
              </a:ext>
            </a:extLst>
          </p:cNvPr>
          <p:cNvSpPr txBox="1"/>
          <p:nvPr userDrawn="1"/>
        </p:nvSpPr>
        <p:spPr>
          <a:xfrm>
            <a:off x="1094200" y="4216498"/>
            <a:ext cx="709636" cy="338554"/>
          </a:xfrm>
          <a:prstGeom prst="rect">
            <a:avLst/>
          </a:prstGeom>
          <a:noFill/>
        </p:spPr>
        <p:txBody>
          <a:bodyPr wrap="square" lIns="0" rIns="0">
            <a:noAutofit/>
          </a:bodyPr>
          <a:lstStyle/>
          <a:p>
            <a:pPr algn="ctr"/>
            <a:r>
              <a:rPr lang="en-US" sz="800">
                <a:solidFill>
                  <a:schemeClr val="bg1"/>
                </a:solidFill>
              </a:rPr>
              <a:t>Course-orchestrator</a:t>
            </a:r>
          </a:p>
        </p:txBody>
      </p:sp>
      <p:sp>
        <p:nvSpPr>
          <p:cNvPr id="317" name="TextBox 316">
            <a:extLst>
              <a:ext uri="{FF2B5EF4-FFF2-40B4-BE49-F238E27FC236}">
                <a16:creationId xmlns:a16="http://schemas.microsoft.com/office/drawing/2014/main" id="{12DC0C76-B831-4C56-BD6B-CAE38F65F940}"/>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a:solidFill>
                  <a:schemeClr val="bg1"/>
                </a:solidFill>
              </a:rPr>
              <a:t>Exception handling</a:t>
            </a:r>
          </a:p>
        </p:txBody>
      </p:sp>
      <p:sp>
        <p:nvSpPr>
          <p:cNvPr id="319" name="TextBox 318">
            <a:extLst>
              <a:ext uri="{FF2B5EF4-FFF2-40B4-BE49-F238E27FC236}">
                <a16:creationId xmlns:a16="http://schemas.microsoft.com/office/drawing/2014/main" id="{ADAF4DCD-FDF2-40DE-8122-170B5DE78F69}"/>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a:solidFill>
                  <a:schemeClr val="bg1"/>
                </a:solidFill>
              </a:rPr>
              <a:t>Home</a:t>
            </a:r>
          </a:p>
        </p:txBody>
      </p:sp>
      <p:sp>
        <p:nvSpPr>
          <p:cNvPr id="321" name="TextBox 320">
            <a:extLst>
              <a:ext uri="{FF2B5EF4-FFF2-40B4-BE49-F238E27FC236}">
                <a16:creationId xmlns:a16="http://schemas.microsoft.com/office/drawing/2014/main" id="{2635136B-36D5-41F1-AAB3-4530B41F96CF}"/>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app</a:t>
            </a:r>
          </a:p>
        </p:txBody>
      </p:sp>
      <p:sp>
        <p:nvSpPr>
          <p:cNvPr id="323" name="TextBox 322">
            <a:extLst>
              <a:ext uri="{FF2B5EF4-FFF2-40B4-BE49-F238E27FC236}">
                <a16:creationId xmlns:a16="http://schemas.microsoft.com/office/drawing/2014/main" id="{F5964800-661B-4696-8F8F-015208D39989}"/>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a:solidFill>
                  <a:schemeClr val="bg1"/>
                </a:solidFill>
              </a:rPr>
              <a:t>CRM</a:t>
            </a:r>
          </a:p>
        </p:txBody>
      </p:sp>
      <p:sp>
        <p:nvSpPr>
          <p:cNvPr id="325" name="TextBox 324">
            <a:extLst>
              <a:ext uri="{FF2B5EF4-FFF2-40B4-BE49-F238E27FC236}">
                <a16:creationId xmlns:a16="http://schemas.microsoft.com/office/drawing/2014/main" id="{95217A9F-E08F-40F4-AC3B-0E23E65F0A48}"/>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a:solidFill>
                  <a:schemeClr val="bg1"/>
                </a:solidFill>
              </a:rPr>
              <a:t>Fast ROI</a:t>
            </a:r>
          </a:p>
        </p:txBody>
      </p:sp>
      <p:sp>
        <p:nvSpPr>
          <p:cNvPr id="327" name="TextBox 326">
            <a:extLst>
              <a:ext uri="{FF2B5EF4-FFF2-40B4-BE49-F238E27FC236}">
                <a16:creationId xmlns:a16="http://schemas.microsoft.com/office/drawing/2014/main" id="{B48C75E9-5ECF-4D27-9B51-F833AB63E3E0}"/>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a:solidFill>
                  <a:schemeClr val="bg1"/>
                </a:solidFill>
              </a:rPr>
              <a:t>Hourglass</a:t>
            </a:r>
          </a:p>
        </p:txBody>
      </p:sp>
      <p:sp>
        <p:nvSpPr>
          <p:cNvPr id="329" name="TextBox 328">
            <a:extLst>
              <a:ext uri="{FF2B5EF4-FFF2-40B4-BE49-F238E27FC236}">
                <a16:creationId xmlns:a16="http://schemas.microsoft.com/office/drawing/2014/main" id="{099BACDB-7E38-4EC7-9A2F-74E7990270D4}"/>
              </a:ext>
            </a:extLst>
          </p:cNvPr>
          <p:cNvSpPr txBox="1"/>
          <p:nvPr userDrawn="1"/>
        </p:nvSpPr>
        <p:spPr>
          <a:xfrm>
            <a:off x="4667489" y="3367961"/>
            <a:ext cx="709636" cy="215444"/>
          </a:xfrm>
          <a:prstGeom prst="rect">
            <a:avLst/>
          </a:prstGeom>
          <a:noFill/>
        </p:spPr>
        <p:txBody>
          <a:bodyPr wrap="square" lIns="0" rIns="0">
            <a:noAutofit/>
          </a:bodyPr>
          <a:lstStyle/>
          <a:p>
            <a:pPr algn="ctr"/>
            <a:r>
              <a:rPr lang="en-US" sz="800">
                <a:solidFill>
                  <a:schemeClr val="bg1"/>
                </a:solidFill>
              </a:rPr>
              <a:t>Code</a:t>
            </a:r>
          </a:p>
        </p:txBody>
      </p:sp>
      <p:sp>
        <p:nvSpPr>
          <p:cNvPr id="331" name="TextBox 330">
            <a:extLst>
              <a:ext uri="{FF2B5EF4-FFF2-40B4-BE49-F238E27FC236}">
                <a16:creationId xmlns:a16="http://schemas.microsoft.com/office/drawing/2014/main" id="{6478CC05-91C7-4A8B-B7B4-DF054BFF97C3}"/>
              </a:ext>
            </a:extLst>
          </p:cNvPr>
          <p:cNvSpPr txBox="1"/>
          <p:nvPr userDrawn="1"/>
        </p:nvSpPr>
        <p:spPr>
          <a:xfrm>
            <a:off x="4667489" y="4216498"/>
            <a:ext cx="709636" cy="338554"/>
          </a:xfrm>
          <a:prstGeom prst="rect">
            <a:avLst/>
          </a:prstGeom>
          <a:noFill/>
        </p:spPr>
        <p:txBody>
          <a:bodyPr wrap="square" lIns="0" rIns="0">
            <a:noAutofit/>
          </a:bodyPr>
          <a:lstStyle/>
          <a:p>
            <a:pPr algn="ctr"/>
            <a:r>
              <a:rPr lang="en-US" sz="800">
                <a:solidFill>
                  <a:schemeClr val="bg1"/>
                </a:solidFill>
              </a:rPr>
              <a:t>Desktop program</a:t>
            </a:r>
          </a:p>
        </p:txBody>
      </p:sp>
      <p:sp>
        <p:nvSpPr>
          <p:cNvPr id="333" name="TextBox 332">
            <a:extLst>
              <a:ext uri="{FF2B5EF4-FFF2-40B4-BE49-F238E27FC236}">
                <a16:creationId xmlns:a16="http://schemas.microsoft.com/office/drawing/2014/main" id="{848E7C20-B646-4CFA-92B8-687B61AD50DD}"/>
              </a:ext>
            </a:extLst>
          </p:cNvPr>
          <p:cNvSpPr txBox="1"/>
          <p:nvPr userDrawn="1"/>
        </p:nvSpPr>
        <p:spPr>
          <a:xfrm>
            <a:off x="5381900" y="5053521"/>
            <a:ext cx="709636" cy="215444"/>
          </a:xfrm>
          <a:prstGeom prst="rect">
            <a:avLst/>
          </a:prstGeom>
          <a:noFill/>
        </p:spPr>
        <p:txBody>
          <a:bodyPr wrap="square" lIns="0" rIns="0">
            <a:noAutofit/>
          </a:bodyPr>
          <a:lstStyle/>
          <a:p>
            <a:pPr algn="ctr"/>
            <a:r>
              <a:rPr lang="en-US" sz="800">
                <a:solidFill>
                  <a:schemeClr val="bg1"/>
                </a:solidFill>
              </a:rPr>
              <a:t>First-link</a:t>
            </a:r>
          </a:p>
        </p:txBody>
      </p:sp>
      <p:sp>
        <p:nvSpPr>
          <p:cNvPr id="335" name="TextBox 334">
            <a:extLst>
              <a:ext uri="{FF2B5EF4-FFF2-40B4-BE49-F238E27FC236}">
                <a16:creationId xmlns:a16="http://schemas.microsoft.com/office/drawing/2014/main" id="{445C01EC-D8F3-4912-A74D-9B81139B6ADA}"/>
              </a:ext>
            </a:extLst>
          </p:cNvPr>
          <p:cNvSpPr txBox="1"/>
          <p:nvPr userDrawn="1"/>
        </p:nvSpPr>
        <p:spPr>
          <a:xfrm>
            <a:off x="4667489" y="2580873"/>
            <a:ext cx="709636" cy="338554"/>
          </a:xfrm>
          <a:prstGeom prst="rect">
            <a:avLst/>
          </a:prstGeom>
          <a:noFill/>
        </p:spPr>
        <p:txBody>
          <a:bodyPr wrap="square" lIns="0" rIns="0">
            <a:noAutofit/>
          </a:bodyPr>
          <a:lstStyle/>
          <a:p>
            <a:pPr algn="ctr"/>
            <a:r>
              <a:rPr lang="en-US" sz="800">
                <a:solidFill>
                  <a:schemeClr val="bg1"/>
                </a:solidFill>
              </a:rPr>
              <a:t>Automated data entry</a:t>
            </a:r>
          </a:p>
        </p:txBody>
      </p:sp>
      <p:sp>
        <p:nvSpPr>
          <p:cNvPr id="337" name="TextBox 336">
            <a:extLst>
              <a:ext uri="{FF2B5EF4-FFF2-40B4-BE49-F238E27FC236}">
                <a16:creationId xmlns:a16="http://schemas.microsoft.com/office/drawing/2014/main" id="{8EEC322D-C3BF-49A8-AA5C-E355315A967C}"/>
              </a:ext>
            </a:extLst>
          </p:cNvPr>
          <p:cNvSpPr txBox="1"/>
          <p:nvPr userDrawn="1"/>
        </p:nvSpPr>
        <p:spPr>
          <a:xfrm>
            <a:off x="5381900" y="1753079"/>
            <a:ext cx="709636" cy="215444"/>
          </a:xfrm>
          <a:prstGeom prst="rect">
            <a:avLst/>
          </a:prstGeom>
          <a:noFill/>
        </p:spPr>
        <p:txBody>
          <a:bodyPr wrap="square" lIns="0" rIns="0">
            <a:noAutofit/>
          </a:bodyPr>
          <a:lstStyle/>
          <a:p>
            <a:pPr algn="ctr"/>
            <a:r>
              <a:rPr lang="en-US" sz="800">
                <a:solidFill>
                  <a:schemeClr val="bg1"/>
                </a:solidFill>
              </a:rPr>
              <a:t>AI </a:t>
            </a:r>
          </a:p>
        </p:txBody>
      </p:sp>
      <p:sp>
        <p:nvSpPr>
          <p:cNvPr id="339" name="TextBox 338">
            <a:extLst>
              <a:ext uri="{FF2B5EF4-FFF2-40B4-BE49-F238E27FC236}">
                <a16:creationId xmlns:a16="http://schemas.microsoft.com/office/drawing/2014/main" id="{32C70CF3-0806-44CA-8B40-0890D945FA9B}"/>
              </a:ext>
            </a:extLst>
          </p:cNvPr>
          <p:cNvSpPr txBox="1"/>
          <p:nvPr userDrawn="1"/>
        </p:nvSpPr>
        <p:spPr>
          <a:xfrm>
            <a:off x="5381900" y="5877738"/>
            <a:ext cx="709636" cy="215444"/>
          </a:xfrm>
          <a:prstGeom prst="rect">
            <a:avLst/>
          </a:prstGeom>
          <a:noFill/>
        </p:spPr>
        <p:txBody>
          <a:bodyPr wrap="square" lIns="0" rIns="0">
            <a:noAutofit/>
          </a:bodyPr>
          <a:lstStyle/>
          <a:p>
            <a:pPr algn="ctr"/>
            <a:r>
              <a:rPr lang="en-US" sz="800">
                <a:solidFill>
                  <a:schemeClr val="bg1"/>
                </a:solidFill>
              </a:rPr>
              <a:t>Keyboard</a:t>
            </a:r>
          </a:p>
        </p:txBody>
      </p:sp>
      <p:sp>
        <p:nvSpPr>
          <p:cNvPr id="341" name="TextBox 340">
            <a:extLst>
              <a:ext uri="{FF2B5EF4-FFF2-40B4-BE49-F238E27FC236}">
                <a16:creationId xmlns:a16="http://schemas.microsoft.com/office/drawing/2014/main" id="{F6DB3435-C3F7-47FD-8D54-A4A936F9488C}"/>
              </a:ext>
            </a:extLst>
          </p:cNvPr>
          <p:cNvSpPr txBox="1"/>
          <p:nvPr userDrawn="1"/>
        </p:nvSpPr>
        <p:spPr>
          <a:xfrm>
            <a:off x="5381900" y="3367961"/>
            <a:ext cx="709636" cy="338554"/>
          </a:xfrm>
          <a:prstGeom prst="rect">
            <a:avLst/>
          </a:prstGeom>
          <a:noFill/>
        </p:spPr>
        <p:txBody>
          <a:bodyPr wrap="square" lIns="0" rIns="0">
            <a:noAutofit/>
          </a:bodyPr>
          <a:lstStyle/>
          <a:p>
            <a:pPr algn="ctr"/>
            <a:r>
              <a:rPr lang="en-US" sz="800">
                <a:solidFill>
                  <a:schemeClr val="bg1"/>
                </a:solidFill>
              </a:rPr>
              <a:t>Complete </a:t>
            </a:r>
          </a:p>
          <a:p>
            <a:pPr algn="ctr"/>
            <a:r>
              <a:rPr lang="en-US" sz="800">
                <a:solidFill>
                  <a:schemeClr val="bg1"/>
                </a:solidFill>
              </a:rPr>
              <a:t>audit</a:t>
            </a:r>
          </a:p>
        </p:txBody>
      </p:sp>
      <p:sp>
        <p:nvSpPr>
          <p:cNvPr id="343" name="TextBox 342">
            <a:extLst>
              <a:ext uri="{FF2B5EF4-FFF2-40B4-BE49-F238E27FC236}">
                <a16:creationId xmlns:a16="http://schemas.microsoft.com/office/drawing/2014/main" id="{B7F76A57-2609-4FC0-9405-93FF52E326C2}"/>
              </a:ext>
            </a:extLst>
          </p:cNvPr>
          <p:cNvSpPr txBox="1"/>
          <p:nvPr userDrawn="1"/>
        </p:nvSpPr>
        <p:spPr>
          <a:xfrm>
            <a:off x="5381900" y="4216498"/>
            <a:ext cx="709636" cy="338554"/>
          </a:xfrm>
          <a:prstGeom prst="rect">
            <a:avLst/>
          </a:prstGeom>
          <a:noFill/>
        </p:spPr>
        <p:txBody>
          <a:bodyPr wrap="square" lIns="0" rIns="0">
            <a:noAutofit/>
          </a:bodyPr>
          <a:lstStyle/>
          <a:p>
            <a:pPr algn="ctr"/>
            <a:r>
              <a:rPr lang="en-US" sz="800">
                <a:solidFill>
                  <a:schemeClr val="bg1"/>
                </a:solidFill>
              </a:rPr>
              <a:t>Document </a:t>
            </a:r>
            <a:br>
              <a:rPr lang="en-US" sz="800">
                <a:solidFill>
                  <a:schemeClr val="bg1"/>
                </a:solidFill>
              </a:rPr>
            </a:br>
            <a:endParaRPr lang="en-US" sz="800">
              <a:solidFill>
                <a:schemeClr val="bg1"/>
              </a:solidFill>
            </a:endParaRPr>
          </a:p>
        </p:txBody>
      </p:sp>
      <p:sp>
        <p:nvSpPr>
          <p:cNvPr id="345" name="TextBox 344">
            <a:extLst>
              <a:ext uri="{FF2B5EF4-FFF2-40B4-BE49-F238E27FC236}">
                <a16:creationId xmlns:a16="http://schemas.microsoft.com/office/drawing/2014/main" id="{6EFB18A7-0C14-44D2-9DAF-73D7A49A8DAD}"/>
              </a:ext>
            </a:extLst>
          </p:cNvPr>
          <p:cNvSpPr txBox="1"/>
          <p:nvPr userDrawn="1"/>
        </p:nvSpPr>
        <p:spPr>
          <a:xfrm>
            <a:off x="6096310" y="5053521"/>
            <a:ext cx="709636" cy="215444"/>
          </a:xfrm>
          <a:prstGeom prst="rect">
            <a:avLst/>
          </a:prstGeom>
          <a:noFill/>
        </p:spPr>
        <p:txBody>
          <a:bodyPr wrap="square" lIns="0" rIns="0">
            <a:noAutofit/>
          </a:bodyPr>
          <a:lstStyle/>
          <a:p>
            <a:pPr algn="ctr"/>
            <a:r>
              <a:rPr lang="en-US" sz="800">
                <a:solidFill>
                  <a:schemeClr val="bg1"/>
                </a:solidFill>
              </a:rPr>
              <a:t>First-mention</a:t>
            </a:r>
          </a:p>
        </p:txBody>
      </p:sp>
      <p:sp>
        <p:nvSpPr>
          <p:cNvPr id="347" name="TextBox 346">
            <a:extLst>
              <a:ext uri="{FF2B5EF4-FFF2-40B4-BE49-F238E27FC236}">
                <a16:creationId xmlns:a16="http://schemas.microsoft.com/office/drawing/2014/main" id="{BF3EA2B1-FD7B-4013-A489-136CBC5B4C43}"/>
              </a:ext>
            </a:extLst>
          </p:cNvPr>
          <p:cNvSpPr txBox="1"/>
          <p:nvPr userDrawn="1"/>
        </p:nvSpPr>
        <p:spPr>
          <a:xfrm>
            <a:off x="5381900" y="2580873"/>
            <a:ext cx="709636" cy="215444"/>
          </a:xfrm>
          <a:prstGeom prst="rect">
            <a:avLst/>
          </a:prstGeom>
          <a:noFill/>
        </p:spPr>
        <p:txBody>
          <a:bodyPr wrap="square" lIns="0" rIns="0">
            <a:noAutofit/>
          </a:bodyPr>
          <a:lstStyle/>
          <a:p>
            <a:pPr algn="ctr"/>
            <a:r>
              <a:rPr lang="en-US" sz="800">
                <a:solidFill>
                  <a:schemeClr val="bg1"/>
                </a:solidFill>
              </a:rPr>
              <a:t>Automation</a:t>
            </a:r>
          </a:p>
        </p:txBody>
      </p:sp>
      <p:sp>
        <p:nvSpPr>
          <p:cNvPr id="349" name="TextBox 348">
            <a:extLst>
              <a:ext uri="{FF2B5EF4-FFF2-40B4-BE49-F238E27FC236}">
                <a16:creationId xmlns:a16="http://schemas.microsoft.com/office/drawing/2014/main" id="{70DB2E18-E083-4F34-BA59-8AC444422822}"/>
              </a:ext>
            </a:extLst>
          </p:cNvPr>
          <p:cNvSpPr txBox="1"/>
          <p:nvPr userDrawn="1"/>
        </p:nvSpPr>
        <p:spPr>
          <a:xfrm>
            <a:off x="6096310" y="1753079"/>
            <a:ext cx="709636" cy="215444"/>
          </a:xfrm>
          <a:prstGeom prst="rect">
            <a:avLst/>
          </a:prstGeom>
          <a:noFill/>
        </p:spPr>
        <p:txBody>
          <a:bodyPr wrap="square" lIns="0" rIns="0">
            <a:noAutofit/>
          </a:bodyPr>
          <a:lstStyle/>
          <a:p>
            <a:pPr algn="ctr"/>
            <a:r>
              <a:rPr lang="en-US" sz="800">
                <a:solidFill>
                  <a:schemeClr val="bg1"/>
                </a:solidFill>
              </a:rPr>
              <a:t>AI Alt</a:t>
            </a:r>
          </a:p>
        </p:txBody>
      </p:sp>
      <p:sp>
        <p:nvSpPr>
          <p:cNvPr id="351" name="TextBox 350">
            <a:extLst>
              <a:ext uri="{FF2B5EF4-FFF2-40B4-BE49-F238E27FC236}">
                <a16:creationId xmlns:a16="http://schemas.microsoft.com/office/drawing/2014/main" id="{4E733983-4B84-4206-9B4C-1326E9C07CAE}"/>
              </a:ext>
            </a:extLst>
          </p:cNvPr>
          <p:cNvSpPr txBox="1"/>
          <p:nvPr userDrawn="1"/>
        </p:nvSpPr>
        <p:spPr>
          <a:xfrm>
            <a:off x="6096310" y="5877738"/>
            <a:ext cx="709636" cy="215444"/>
          </a:xfrm>
          <a:prstGeom prst="rect">
            <a:avLst/>
          </a:prstGeom>
          <a:noFill/>
        </p:spPr>
        <p:txBody>
          <a:bodyPr wrap="square" lIns="0" rIns="0">
            <a:noAutofit/>
          </a:bodyPr>
          <a:lstStyle/>
          <a:p>
            <a:pPr algn="ctr"/>
            <a:r>
              <a:rPr lang="en-US" sz="800">
                <a:solidFill>
                  <a:schemeClr val="bg1"/>
                </a:solidFill>
              </a:rPr>
              <a:t>Label</a:t>
            </a:r>
          </a:p>
        </p:txBody>
      </p:sp>
      <p:sp>
        <p:nvSpPr>
          <p:cNvPr id="353" name="TextBox 352">
            <a:extLst>
              <a:ext uri="{FF2B5EF4-FFF2-40B4-BE49-F238E27FC236}">
                <a16:creationId xmlns:a16="http://schemas.microsoft.com/office/drawing/2014/main" id="{13AFA605-90CB-4AC7-87F1-07FD8EF7F929}"/>
              </a:ext>
            </a:extLst>
          </p:cNvPr>
          <p:cNvSpPr txBox="1"/>
          <p:nvPr userDrawn="1"/>
        </p:nvSpPr>
        <p:spPr>
          <a:xfrm>
            <a:off x="6096310" y="3367961"/>
            <a:ext cx="709636" cy="338554"/>
          </a:xfrm>
          <a:prstGeom prst="rect">
            <a:avLst/>
          </a:prstGeom>
          <a:noFill/>
        </p:spPr>
        <p:txBody>
          <a:bodyPr wrap="square" lIns="0" rIns="0">
            <a:noAutofit/>
          </a:bodyPr>
          <a:lstStyle/>
          <a:p>
            <a:pPr algn="ctr"/>
            <a:r>
              <a:rPr lang="en-US" sz="800">
                <a:solidFill>
                  <a:schemeClr val="bg1"/>
                </a:solidFill>
              </a:rPr>
              <a:t>Contact</a:t>
            </a:r>
          </a:p>
          <a:p>
            <a:pPr algn="ctr"/>
            <a:r>
              <a:rPr lang="en-US" sz="800">
                <a:solidFill>
                  <a:schemeClr val="bg1"/>
                </a:solidFill>
              </a:rPr>
              <a:t>email</a:t>
            </a:r>
          </a:p>
        </p:txBody>
      </p:sp>
      <p:sp>
        <p:nvSpPr>
          <p:cNvPr id="355" name="TextBox 354">
            <a:extLst>
              <a:ext uri="{FF2B5EF4-FFF2-40B4-BE49-F238E27FC236}">
                <a16:creationId xmlns:a16="http://schemas.microsoft.com/office/drawing/2014/main" id="{01E610FF-04CC-480F-AC21-B1F5E1610624}"/>
              </a:ext>
            </a:extLst>
          </p:cNvPr>
          <p:cNvSpPr txBox="1"/>
          <p:nvPr userDrawn="1"/>
        </p:nvSpPr>
        <p:spPr>
          <a:xfrm>
            <a:off x="6096310" y="4216498"/>
            <a:ext cx="709636" cy="215444"/>
          </a:xfrm>
          <a:prstGeom prst="rect">
            <a:avLst/>
          </a:prstGeom>
          <a:noFill/>
        </p:spPr>
        <p:txBody>
          <a:bodyPr wrap="square" lIns="0" rIns="0">
            <a:noAutofit/>
          </a:bodyPr>
          <a:lstStyle/>
          <a:p>
            <a:pPr algn="ctr"/>
            <a:r>
              <a:rPr lang="en-US" sz="800">
                <a:solidFill>
                  <a:schemeClr val="bg1"/>
                </a:solidFill>
              </a:rPr>
              <a:t>Done</a:t>
            </a:r>
          </a:p>
        </p:txBody>
      </p:sp>
      <p:sp>
        <p:nvSpPr>
          <p:cNvPr id="357" name="TextBox 356">
            <a:extLst>
              <a:ext uri="{FF2B5EF4-FFF2-40B4-BE49-F238E27FC236}">
                <a16:creationId xmlns:a16="http://schemas.microsoft.com/office/drawing/2014/main" id="{FF55EBF2-EF4B-4F98-A36D-780219BBC4EB}"/>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a:solidFill>
                  <a:schemeClr val="bg1"/>
                </a:solidFill>
              </a:rPr>
              <a:t>First-</a:t>
            </a:r>
            <a:r>
              <a:rPr lang="en-US" sz="800" err="1">
                <a:solidFill>
                  <a:schemeClr val="bg1"/>
                </a:solidFill>
              </a:rPr>
              <a:t>onebox</a:t>
            </a:r>
            <a:endParaRPr lang="en-US" sz="800">
              <a:solidFill>
                <a:schemeClr val="bg1"/>
              </a:solidFill>
            </a:endParaRPr>
          </a:p>
        </p:txBody>
      </p:sp>
      <p:sp>
        <p:nvSpPr>
          <p:cNvPr id="359" name="TextBox 358">
            <a:extLst>
              <a:ext uri="{FF2B5EF4-FFF2-40B4-BE49-F238E27FC236}">
                <a16:creationId xmlns:a16="http://schemas.microsoft.com/office/drawing/2014/main" id="{227BC9DF-042F-4718-A11B-7C80BFEB231E}"/>
              </a:ext>
            </a:extLst>
          </p:cNvPr>
          <p:cNvSpPr txBox="1"/>
          <p:nvPr userDrawn="1"/>
        </p:nvSpPr>
        <p:spPr>
          <a:xfrm>
            <a:off x="6096310" y="2580873"/>
            <a:ext cx="709636" cy="338554"/>
          </a:xfrm>
          <a:prstGeom prst="rect">
            <a:avLst/>
          </a:prstGeom>
          <a:noFill/>
        </p:spPr>
        <p:txBody>
          <a:bodyPr wrap="square" lIns="0" rIns="0">
            <a:noAutofit/>
          </a:bodyPr>
          <a:lstStyle/>
          <a:p>
            <a:pPr algn="ctr"/>
            <a:r>
              <a:rPr lang="en-US" sz="800">
                <a:solidFill>
                  <a:schemeClr val="bg1"/>
                </a:solidFill>
              </a:rPr>
              <a:t>Background automation</a:t>
            </a:r>
          </a:p>
        </p:txBody>
      </p:sp>
      <p:sp>
        <p:nvSpPr>
          <p:cNvPr id="361" name="TextBox 360">
            <a:extLst>
              <a:ext uri="{FF2B5EF4-FFF2-40B4-BE49-F238E27FC236}">
                <a16:creationId xmlns:a16="http://schemas.microsoft.com/office/drawing/2014/main" id="{02932810-D34E-44B5-A09C-8502BF7848D4}"/>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a:solidFill>
                  <a:schemeClr val="bg1"/>
                </a:solidFill>
              </a:rPr>
              <a:t>AI Enabled</a:t>
            </a:r>
          </a:p>
        </p:txBody>
      </p:sp>
      <p:sp>
        <p:nvSpPr>
          <p:cNvPr id="363" name="TextBox 362">
            <a:extLst>
              <a:ext uri="{FF2B5EF4-FFF2-40B4-BE49-F238E27FC236}">
                <a16:creationId xmlns:a16="http://schemas.microsoft.com/office/drawing/2014/main" id="{A88ED0E5-4A3E-48C8-850F-CFF2D74ACADF}"/>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a:solidFill>
                  <a:schemeClr val="bg1"/>
                </a:solidFill>
              </a:rPr>
              <a:t>Label alt</a:t>
            </a:r>
          </a:p>
        </p:txBody>
      </p:sp>
      <p:sp>
        <p:nvSpPr>
          <p:cNvPr id="365" name="TextBox 364">
            <a:extLst>
              <a:ext uri="{FF2B5EF4-FFF2-40B4-BE49-F238E27FC236}">
                <a16:creationId xmlns:a16="http://schemas.microsoft.com/office/drawing/2014/main" id="{7B8203C8-F4A3-4AFF-B288-92169C7747F9}"/>
              </a:ext>
            </a:extLst>
          </p:cNvPr>
          <p:cNvSpPr txBox="1"/>
          <p:nvPr userDrawn="1"/>
        </p:nvSpPr>
        <p:spPr>
          <a:xfrm>
            <a:off x="8959653" y="3367961"/>
            <a:ext cx="709636" cy="215444"/>
          </a:xfrm>
          <a:prstGeom prst="rect">
            <a:avLst/>
          </a:prstGeom>
          <a:noFill/>
        </p:spPr>
        <p:txBody>
          <a:bodyPr wrap="square" lIns="0" rIns="0">
            <a:noAutofit/>
          </a:bodyPr>
          <a:lstStyle/>
          <a:p>
            <a:pPr algn="ctr"/>
            <a:r>
              <a:rPr lang="en-US" sz="800">
                <a:solidFill>
                  <a:schemeClr val="bg1"/>
                </a:solidFill>
              </a:rPr>
              <a:t>Cost low</a:t>
            </a:r>
          </a:p>
        </p:txBody>
      </p:sp>
      <p:sp>
        <p:nvSpPr>
          <p:cNvPr id="367" name="TextBox 366">
            <a:extLst>
              <a:ext uri="{FF2B5EF4-FFF2-40B4-BE49-F238E27FC236}">
                <a16:creationId xmlns:a16="http://schemas.microsoft.com/office/drawing/2014/main" id="{26507E6B-1C2B-4A60-9A07-3D525B32BE9D}"/>
              </a:ext>
            </a:extLst>
          </p:cNvPr>
          <p:cNvSpPr txBox="1"/>
          <p:nvPr userDrawn="1"/>
        </p:nvSpPr>
        <p:spPr>
          <a:xfrm>
            <a:off x="8959653" y="4216498"/>
            <a:ext cx="709636" cy="215444"/>
          </a:xfrm>
          <a:prstGeom prst="rect">
            <a:avLst/>
          </a:prstGeom>
          <a:noFill/>
        </p:spPr>
        <p:txBody>
          <a:bodyPr wrap="square" lIns="0" rIns="0">
            <a:noAutofit/>
          </a:bodyPr>
          <a:lstStyle/>
          <a:p>
            <a:pPr algn="ctr"/>
            <a:r>
              <a:rPr lang="en-US" sz="800">
                <a:solidFill>
                  <a:schemeClr val="bg1"/>
                </a:solidFill>
              </a:rPr>
              <a:t>Editor</a:t>
            </a:r>
          </a:p>
        </p:txBody>
      </p:sp>
      <p:sp>
        <p:nvSpPr>
          <p:cNvPr id="369" name="TextBox 368">
            <a:extLst>
              <a:ext uri="{FF2B5EF4-FFF2-40B4-BE49-F238E27FC236}">
                <a16:creationId xmlns:a16="http://schemas.microsoft.com/office/drawing/2014/main" id="{373AB452-BC5E-4E48-A8F0-B6E1ACDDB33C}"/>
              </a:ext>
            </a:extLst>
          </p:cNvPr>
          <p:cNvSpPr txBox="1"/>
          <p:nvPr userDrawn="1"/>
        </p:nvSpPr>
        <p:spPr>
          <a:xfrm>
            <a:off x="9672677" y="5053521"/>
            <a:ext cx="709636" cy="215444"/>
          </a:xfrm>
          <a:prstGeom prst="rect">
            <a:avLst/>
          </a:prstGeom>
          <a:noFill/>
        </p:spPr>
        <p:txBody>
          <a:bodyPr wrap="square" lIns="0" rIns="0">
            <a:noAutofit/>
          </a:bodyPr>
          <a:lstStyle/>
          <a:p>
            <a:pPr algn="ctr"/>
            <a:r>
              <a:rPr lang="en-US" sz="800">
                <a:solidFill>
                  <a:schemeClr val="bg1"/>
                </a:solidFill>
              </a:rPr>
              <a:t>Goals</a:t>
            </a:r>
          </a:p>
        </p:txBody>
      </p:sp>
      <p:sp>
        <p:nvSpPr>
          <p:cNvPr id="371" name="TextBox 370">
            <a:extLst>
              <a:ext uri="{FF2B5EF4-FFF2-40B4-BE49-F238E27FC236}">
                <a16:creationId xmlns:a16="http://schemas.microsoft.com/office/drawing/2014/main" id="{02469338-110D-47CC-9317-6A4426BFA917}"/>
              </a:ext>
            </a:extLst>
          </p:cNvPr>
          <p:cNvSpPr txBox="1"/>
          <p:nvPr userDrawn="1"/>
        </p:nvSpPr>
        <p:spPr>
          <a:xfrm>
            <a:off x="8959653" y="2580873"/>
            <a:ext cx="709636" cy="338554"/>
          </a:xfrm>
          <a:prstGeom prst="rect">
            <a:avLst/>
          </a:prstGeom>
          <a:noFill/>
        </p:spPr>
        <p:txBody>
          <a:bodyPr wrap="square" lIns="0" rIns="0">
            <a:noAutofit/>
          </a:bodyPr>
          <a:lstStyle/>
          <a:p>
            <a:pPr algn="ctr"/>
            <a:r>
              <a:rPr lang="en-US" sz="800">
                <a:solidFill>
                  <a:schemeClr val="bg1"/>
                </a:solidFill>
              </a:rPr>
              <a:t>Business partner-up alt</a:t>
            </a:r>
          </a:p>
        </p:txBody>
      </p:sp>
      <p:sp>
        <p:nvSpPr>
          <p:cNvPr id="373" name="TextBox 372">
            <a:extLst>
              <a:ext uri="{FF2B5EF4-FFF2-40B4-BE49-F238E27FC236}">
                <a16:creationId xmlns:a16="http://schemas.microsoft.com/office/drawing/2014/main" id="{BC8ABBD0-8FAE-4B8C-B89D-4BA3454D801C}"/>
              </a:ext>
            </a:extLst>
          </p:cNvPr>
          <p:cNvSpPr txBox="1"/>
          <p:nvPr userDrawn="1"/>
        </p:nvSpPr>
        <p:spPr>
          <a:xfrm>
            <a:off x="9672677" y="1753079"/>
            <a:ext cx="709636" cy="338554"/>
          </a:xfrm>
          <a:prstGeom prst="rect">
            <a:avLst/>
          </a:prstGeom>
          <a:noFill/>
        </p:spPr>
        <p:txBody>
          <a:bodyPr wrap="square" lIns="0" rIns="0">
            <a:noAutofit/>
          </a:bodyPr>
          <a:lstStyle/>
          <a:p>
            <a:pPr algn="ctr"/>
            <a:r>
              <a:rPr lang="en-US" sz="800">
                <a:solidFill>
                  <a:schemeClr val="bg1"/>
                </a:solidFill>
              </a:rPr>
              <a:t>App-3rd-party  2</a:t>
            </a:r>
          </a:p>
        </p:txBody>
      </p:sp>
      <p:sp>
        <p:nvSpPr>
          <p:cNvPr id="375" name="TextBox 374">
            <a:extLst>
              <a:ext uri="{FF2B5EF4-FFF2-40B4-BE49-F238E27FC236}">
                <a16:creationId xmlns:a16="http://schemas.microsoft.com/office/drawing/2014/main" id="{C5C19617-191C-43CD-88A9-C993E496AE51}"/>
              </a:ext>
            </a:extLst>
          </p:cNvPr>
          <p:cNvSpPr txBox="1"/>
          <p:nvPr userDrawn="1"/>
        </p:nvSpPr>
        <p:spPr>
          <a:xfrm>
            <a:off x="10387592" y="5877738"/>
            <a:ext cx="709636" cy="338554"/>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a:t>
            </a:r>
          </a:p>
        </p:txBody>
      </p:sp>
      <p:sp>
        <p:nvSpPr>
          <p:cNvPr id="377" name="TextBox 376">
            <a:extLst>
              <a:ext uri="{FF2B5EF4-FFF2-40B4-BE49-F238E27FC236}">
                <a16:creationId xmlns:a16="http://schemas.microsoft.com/office/drawing/2014/main" id="{74CC0254-9713-4D1E-9792-B0499E96D642}"/>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a:solidFill>
                  <a:schemeClr val="bg1"/>
                </a:solidFill>
              </a:rPr>
              <a:t>Cloud download</a:t>
            </a:r>
          </a:p>
        </p:txBody>
      </p:sp>
      <p:sp>
        <p:nvSpPr>
          <p:cNvPr id="379" name="TextBox 378">
            <a:extLst>
              <a:ext uri="{FF2B5EF4-FFF2-40B4-BE49-F238E27FC236}">
                <a16:creationId xmlns:a16="http://schemas.microsoft.com/office/drawing/2014/main" id="{90367A62-FCD8-4536-B482-C6985DE57C6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a:solidFill>
                  <a:schemeClr val="bg1"/>
                </a:solidFill>
              </a:rPr>
              <a:t>Crown</a:t>
            </a:r>
          </a:p>
        </p:txBody>
      </p:sp>
      <p:sp>
        <p:nvSpPr>
          <p:cNvPr id="381" name="TextBox 380">
            <a:extLst>
              <a:ext uri="{FF2B5EF4-FFF2-40B4-BE49-F238E27FC236}">
                <a16:creationId xmlns:a16="http://schemas.microsoft.com/office/drawing/2014/main" id="{E9DA5E44-198B-4EA0-8862-01B80AD26BFB}"/>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a:solidFill>
                  <a:schemeClr val="bg1"/>
                </a:solidFill>
              </a:rPr>
              <a:t>First Emoji</a:t>
            </a:r>
          </a:p>
        </p:txBody>
      </p:sp>
      <p:sp>
        <p:nvSpPr>
          <p:cNvPr id="383" name="TextBox 382">
            <a:extLst>
              <a:ext uri="{FF2B5EF4-FFF2-40B4-BE49-F238E27FC236}">
                <a16:creationId xmlns:a16="http://schemas.microsoft.com/office/drawing/2014/main" id="{2DF569CF-FFFA-4E39-B9D6-B772947C8F66}"/>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a:solidFill>
                  <a:schemeClr val="bg1"/>
                </a:solidFill>
              </a:rPr>
              <a:t>Assessment</a:t>
            </a:r>
          </a:p>
        </p:txBody>
      </p:sp>
      <p:sp>
        <p:nvSpPr>
          <p:cNvPr id="385" name="TextBox 384">
            <a:extLst>
              <a:ext uri="{FF2B5EF4-FFF2-40B4-BE49-F238E27FC236}">
                <a16:creationId xmlns:a16="http://schemas.microsoft.com/office/drawing/2014/main" id="{9C819BE3-A96F-4379-9B22-D0296A58E75A}"/>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bg1"/>
                </a:solidFill>
              </a:rPr>
              <a:t>Abstract</a:t>
            </a:r>
          </a:p>
        </p:txBody>
      </p:sp>
      <p:sp>
        <p:nvSpPr>
          <p:cNvPr id="387" name="TextBox 386">
            <a:extLst>
              <a:ext uri="{FF2B5EF4-FFF2-40B4-BE49-F238E27FC236}">
                <a16:creationId xmlns:a16="http://schemas.microsoft.com/office/drawing/2014/main" id="{760E27AD-12EF-4C09-93C0-31471C7AF0E3}"/>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a:solidFill>
                  <a:schemeClr val="bg1"/>
                </a:solidFill>
              </a:rPr>
              <a:t>Information</a:t>
            </a:r>
          </a:p>
        </p:txBody>
      </p:sp>
      <p:sp>
        <p:nvSpPr>
          <p:cNvPr id="389" name="TextBox 388">
            <a:extLst>
              <a:ext uri="{FF2B5EF4-FFF2-40B4-BE49-F238E27FC236}">
                <a16:creationId xmlns:a16="http://schemas.microsoft.com/office/drawing/2014/main" id="{CAC0382A-B148-4523-B831-DBE4771D7B00}"/>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upload</a:t>
            </a:r>
          </a:p>
        </p:txBody>
      </p:sp>
      <p:sp>
        <p:nvSpPr>
          <p:cNvPr id="391" name="TextBox 390">
            <a:extLst>
              <a:ext uri="{FF2B5EF4-FFF2-40B4-BE49-F238E27FC236}">
                <a16:creationId xmlns:a16="http://schemas.microsoft.com/office/drawing/2014/main" id="{03B1F479-1CEB-4427-A8CC-DAB95EBDB3AA}"/>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a:solidFill>
                  <a:schemeClr val="bg1"/>
                </a:solidFill>
              </a:rPr>
              <a:t>Decrease</a:t>
            </a:r>
          </a:p>
        </p:txBody>
      </p:sp>
      <p:sp>
        <p:nvSpPr>
          <p:cNvPr id="393" name="TextBox 392">
            <a:extLst>
              <a:ext uri="{FF2B5EF4-FFF2-40B4-BE49-F238E27FC236}">
                <a16:creationId xmlns:a16="http://schemas.microsoft.com/office/drawing/2014/main" id="{4C6538F6-318C-4897-8FB1-ECDB51724407}"/>
              </a:ext>
            </a:extLst>
          </p:cNvPr>
          <p:cNvSpPr txBox="1"/>
          <p:nvPr userDrawn="1"/>
        </p:nvSpPr>
        <p:spPr>
          <a:xfrm>
            <a:off x="4667489" y="5053521"/>
            <a:ext cx="709636" cy="215444"/>
          </a:xfrm>
          <a:prstGeom prst="rect">
            <a:avLst/>
          </a:prstGeom>
          <a:noFill/>
        </p:spPr>
        <p:txBody>
          <a:bodyPr wrap="square" lIns="0" rIns="0">
            <a:noAutofit/>
          </a:bodyPr>
          <a:lstStyle/>
          <a:p>
            <a:pPr algn="ctr"/>
            <a:r>
              <a:rPr lang="en-US" sz="800">
                <a:solidFill>
                  <a:schemeClr val="bg1"/>
                </a:solidFill>
              </a:rPr>
              <a:t>First-like</a:t>
            </a:r>
          </a:p>
        </p:txBody>
      </p:sp>
      <p:sp>
        <p:nvSpPr>
          <p:cNvPr id="395" name="TextBox 394">
            <a:extLst>
              <a:ext uri="{FF2B5EF4-FFF2-40B4-BE49-F238E27FC236}">
                <a16:creationId xmlns:a16="http://schemas.microsoft.com/office/drawing/2014/main" id="{21DE5928-FF83-4400-BE86-DBA42D3EEBD4}"/>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a:solidFill>
                  <a:schemeClr val="bg1"/>
                </a:solidFill>
              </a:rPr>
              <a:t>Autobiographer</a:t>
            </a:r>
          </a:p>
        </p:txBody>
      </p:sp>
      <p:sp>
        <p:nvSpPr>
          <p:cNvPr id="397" name="TextBox 396">
            <a:extLst>
              <a:ext uri="{FF2B5EF4-FFF2-40B4-BE49-F238E27FC236}">
                <a16:creationId xmlns:a16="http://schemas.microsoft.com/office/drawing/2014/main" id="{95496E97-9B73-477B-B766-41C4515FFC03}"/>
              </a:ext>
            </a:extLst>
          </p:cNvPr>
          <p:cNvSpPr txBox="1"/>
          <p:nvPr userDrawn="1"/>
        </p:nvSpPr>
        <p:spPr>
          <a:xfrm>
            <a:off x="4667489" y="1753079"/>
            <a:ext cx="709636" cy="338554"/>
          </a:xfrm>
          <a:prstGeom prst="rect">
            <a:avLst/>
          </a:prstGeom>
          <a:noFill/>
        </p:spPr>
        <p:txBody>
          <a:bodyPr wrap="square" lIns="0" rIns="0">
            <a:noAutofit/>
          </a:bodyPr>
          <a:lstStyle/>
          <a:p>
            <a:pPr algn="ctr"/>
            <a:r>
              <a:rPr lang="en-US" sz="800">
                <a:solidFill>
                  <a:schemeClr val="bg1"/>
                </a:solidFill>
              </a:rPr>
              <a:t>Advanced </a:t>
            </a:r>
          </a:p>
          <a:p>
            <a:pPr algn="ctr"/>
            <a:r>
              <a:rPr lang="en-US" sz="800">
                <a:solidFill>
                  <a:schemeClr val="bg1"/>
                </a:solidFill>
              </a:rPr>
              <a:t>OCR</a:t>
            </a:r>
          </a:p>
        </p:txBody>
      </p:sp>
      <p:sp>
        <p:nvSpPr>
          <p:cNvPr id="399" name="TextBox 398">
            <a:extLst>
              <a:ext uri="{FF2B5EF4-FFF2-40B4-BE49-F238E27FC236}">
                <a16:creationId xmlns:a16="http://schemas.microsoft.com/office/drawing/2014/main" id="{FDE70475-47F8-43D0-A774-BF626208DEF3}"/>
              </a:ext>
            </a:extLst>
          </p:cNvPr>
          <p:cNvSpPr txBox="1"/>
          <p:nvPr userDrawn="1"/>
        </p:nvSpPr>
        <p:spPr>
          <a:xfrm>
            <a:off x="4667489" y="5877738"/>
            <a:ext cx="709636" cy="215444"/>
          </a:xfrm>
          <a:prstGeom prst="rect">
            <a:avLst/>
          </a:prstGeom>
          <a:noFill/>
        </p:spPr>
        <p:txBody>
          <a:bodyPr wrap="square" lIns="0" rIns="0">
            <a:noAutofit/>
          </a:bodyPr>
          <a:lstStyle/>
          <a:p>
            <a:pPr algn="ctr"/>
            <a:r>
              <a:rPr lang="en-US" sz="800">
                <a:solidFill>
                  <a:schemeClr val="bg1"/>
                </a:solidFill>
              </a:rPr>
              <a:t>Institutionalize</a:t>
            </a:r>
          </a:p>
        </p:txBody>
      </p:sp>
      <p:sp>
        <p:nvSpPr>
          <p:cNvPr id="401" name="TextBox 400">
            <a:extLst>
              <a:ext uri="{FF2B5EF4-FFF2-40B4-BE49-F238E27FC236}">
                <a16:creationId xmlns:a16="http://schemas.microsoft.com/office/drawing/2014/main" id="{88CBAD70-9703-44D9-830A-EC106E6059C6}"/>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a:solidFill>
                  <a:schemeClr val="bg1"/>
                </a:solidFill>
              </a:rPr>
              <a:t>Cloud </a:t>
            </a:r>
          </a:p>
          <a:p>
            <a:pPr algn="ctr"/>
            <a:r>
              <a:rPr lang="en-US" sz="800">
                <a:solidFill>
                  <a:schemeClr val="bg1"/>
                </a:solidFill>
              </a:rPr>
              <a:t>secure</a:t>
            </a:r>
          </a:p>
        </p:txBody>
      </p:sp>
      <p:sp>
        <p:nvSpPr>
          <p:cNvPr id="403" name="TextBox 402">
            <a:extLst>
              <a:ext uri="{FF2B5EF4-FFF2-40B4-BE49-F238E27FC236}">
                <a16:creationId xmlns:a16="http://schemas.microsoft.com/office/drawing/2014/main" id="{E7C14DC3-20E0-4858-A382-52D3C29865EF}"/>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a:solidFill>
                  <a:schemeClr val="bg1"/>
                </a:solidFill>
              </a:rPr>
              <a:t>Cultural acceptance</a:t>
            </a:r>
          </a:p>
        </p:txBody>
      </p:sp>
      <p:sp>
        <p:nvSpPr>
          <p:cNvPr id="405" name="TextBox 404">
            <a:extLst>
              <a:ext uri="{FF2B5EF4-FFF2-40B4-BE49-F238E27FC236}">
                <a16:creationId xmlns:a16="http://schemas.microsoft.com/office/drawing/2014/main" id="{0CC4D9FB-D022-461D-9366-C8CD74612039}"/>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a:solidFill>
                  <a:schemeClr val="bg1"/>
                </a:solidFill>
              </a:rPr>
              <a:t>First Flag</a:t>
            </a:r>
          </a:p>
        </p:txBody>
      </p:sp>
      <p:sp>
        <p:nvSpPr>
          <p:cNvPr id="407" name="TextBox 406">
            <a:extLst>
              <a:ext uri="{FF2B5EF4-FFF2-40B4-BE49-F238E27FC236}">
                <a16:creationId xmlns:a16="http://schemas.microsoft.com/office/drawing/2014/main" id="{8716872F-F885-4AA4-A216-14ECBF712486}"/>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a:solidFill>
                  <a:schemeClr val="bg1"/>
                </a:solidFill>
              </a:rPr>
              <a:t>Atom</a:t>
            </a:r>
          </a:p>
        </p:txBody>
      </p:sp>
      <p:sp>
        <p:nvSpPr>
          <p:cNvPr id="409" name="TextBox 408">
            <a:extLst>
              <a:ext uri="{FF2B5EF4-FFF2-40B4-BE49-F238E27FC236}">
                <a16:creationId xmlns:a16="http://schemas.microsoft.com/office/drawing/2014/main" id="{98D2CF27-1C39-4069-82E0-5F7B5054EC9E}"/>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bg1"/>
                </a:solidFill>
              </a:rPr>
              <a:t>Add</a:t>
            </a:r>
          </a:p>
        </p:txBody>
      </p:sp>
      <p:sp>
        <p:nvSpPr>
          <p:cNvPr id="411" name="TextBox 410">
            <a:extLst>
              <a:ext uri="{FF2B5EF4-FFF2-40B4-BE49-F238E27FC236}">
                <a16:creationId xmlns:a16="http://schemas.microsoft.com/office/drawing/2014/main" id="{038B9D5C-4EF3-414D-97D8-EB33CA1F6357}"/>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a:solidFill>
                  <a:schemeClr val="bg1"/>
                </a:solidFill>
              </a:rPr>
              <a:t>Input</a:t>
            </a:r>
          </a:p>
        </p:txBody>
      </p:sp>
      <p:sp>
        <p:nvSpPr>
          <p:cNvPr id="413" name="TextBox 412">
            <a:extLst>
              <a:ext uri="{FF2B5EF4-FFF2-40B4-BE49-F238E27FC236}">
                <a16:creationId xmlns:a16="http://schemas.microsoft.com/office/drawing/2014/main" id="{C47B2501-DEF0-485E-9DC7-635935BAA2E2}"/>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a:solidFill>
                  <a:schemeClr val="bg1"/>
                </a:solidFill>
              </a:rPr>
              <a:t>Contact </a:t>
            </a:r>
          </a:p>
          <a:p>
            <a:pPr algn="ctr"/>
            <a:r>
              <a:rPr lang="en-US" sz="800">
                <a:solidFill>
                  <a:schemeClr val="bg1"/>
                </a:solidFill>
              </a:rPr>
              <a:t>email alt</a:t>
            </a:r>
          </a:p>
        </p:txBody>
      </p:sp>
      <p:sp>
        <p:nvSpPr>
          <p:cNvPr id="415" name="TextBox 414">
            <a:extLst>
              <a:ext uri="{FF2B5EF4-FFF2-40B4-BE49-F238E27FC236}">
                <a16:creationId xmlns:a16="http://schemas.microsoft.com/office/drawing/2014/main" id="{277328AC-2E13-4879-B539-87781F9467D9}"/>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a:solidFill>
                  <a:schemeClr val="bg1"/>
                </a:solidFill>
              </a:rPr>
              <a:t>Ease </a:t>
            </a:r>
          </a:p>
          <a:p>
            <a:pPr algn="ctr"/>
            <a:r>
              <a:rPr lang="en-US" sz="800">
                <a:solidFill>
                  <a:schemeClr val="bg1"/>
                </a:solidFill>
              </a:rPr>
              <a:t>of use</a:t>
            </a:r>
          </a:p>
        </p:txBody>
      </p:sp>
      <p:sp>
        <p:nvSpPr>
          <p:cNvPr id="417" name="TextBox 416">
            <a:extLst>
              <a:ext uri="{FF2B5EF4-FFF2-40B4-BE49-F238E27FC236}">
                <a16:creationId xmlns:a16="http://schemas.microsoft.com/office/drawing/2014/main" id="{5DB71552-F798-4CE8-8F5D-11ED55CED894}"/>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a:solidFill>
                  <a:schemeClr val="bg1"/>
                </a:solidFill>
              </a:rPr>
              <a:t>First-quote</a:t>
            </a:r>
          </a:p>
        </p:txBody>
      </p:sp>
      <p:sp>
        <p:nvSpPr>
          <p:cNvPr id="419" name="TextBox 418">
            <a:extLst>
              <a:ext uri="{FF2B5EF4-FFF2-40B4-BE49-F238E27FC236}">
                <a16:creationId xmlns:a16="http://schemas.microsoft.com/office/drawing/2014/main" id="{8F017A92-C891-4F09-81AE-0B07602332F1}"/>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a:solidFill>
                  <a:schemeClr val="bg1"/>
                </a:solidFill>
              </a:rPr>
              <a:t>Big scale</a:t>
            </a:r>
          </a:p>
        </p:txBody>
      </p:sp>
      <p:sp>
        <p:nvSpPr>
          <p:cNvPr id="421" name="TextBox 420">
            <a:extLst>
              <a:ext uri="{FF2B5EF4-FFF2-40B4-BE49-F238E27FC236}">
                <a16:creationId xmlns:a16="http://schemas.microsoft.com/office/drawing/2014/main" id="{BE80C217-590F-4866-AB75-5D2EF5680C9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a:solidFill>
                  <a:schemeClr val="bg1"/>
                </a:solidFill>
              </a:rPr>
              <a:t>Alert </a:t>
            </a:r>
          </a:p>
          <a:p>
            <a:pPr algn="ctr"/>
            <a:r>
              <a:rPr lang="en-US" sz="800">
                <a:solidFill>
                  <a:schemeClr val="bg1"/>
                </a:solidFill>
              </a:rPr>
              <a:t>Alarm</a:t>
            </a:r>
          </a:p>
        </p:txBody>
      </p:sp>
      <p:sp>
        <p:nvSpPr>
          <p:cNvPr id="423" name="TextBox 422">
            <a:extLst>
              <a:ext uri="{FF2B5EF4-FFF2-40B4-BE49-F238E27FC236}">
                <a16:creationId xmlns:a16="http://schemas.microsoft.com/office/drawing/2014/main" id="{93BF7EB0-604B-428B-A5D3-36F01291DB67}"/>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a:solidFill>
                  <a:schemeClr val="bg1"/>
                </a:solidFill>
              </a:rPr>
              <a:t>Leader</a:t>
            </a:r>
          </a:p>
        </p:txBody>
      </p:sp>
      <p:sp>
        <p:nvSpPr>
          <p:cNvPr id="425" name="TextBox 424">
            <a:extLst>
              <a:ext uri="{FF2B5EF4-FFF2-40B4-BE49-F238E27FC236}">
                <a16:creationId xmlns:a16="http://schemas.microsoft.com/office/drawing/2014/main" id="{6620A372-13FD-482E-8BF9-37C5DE45EAA3}"/>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a:solidFill>
                  <a:schemeClr val="bg1"/>
                </a:solidFill>
              </a:rPr>
              <a:t>Cost high</a:t>
            </a:r>
          </a:p>
        </p:txBody>
      </p:sp>
      <p:sp>
        <p:nvSpPr>
          <p:cNvPr id="427" name="TextBox 426">
            <a:extLst>
              <a:ext uri="{FF2B5EF4-FFF2-40B4-BE49-F238E27FC236}">
                <a16:creationId xmlns:a16="http://schemas.microsoft.com/office/drawing/2014/main" id="{351204F3-F0CD-4DFC-9DBB-ACA0F810EC8A}"/>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a:solidFill>
                  <a:schemeClr val="bg1"/>
                </a:solidFill>
              </a:rPr>
              <a:t>Edit</a:t>
            </a:r>
          </a:p>
        </p:txBody>
      </p:sp>
      <p:sp>
        <p:nvSpPr>
          <p:cNvPr id="429" name="TextBox 428">
            <a:extLst>
              <a:ext uri="{FF2B5EF4-FFF2-40B4-BE49-F238E27FC236}">
                <a16:creationId xmlns:a16="http://schemas.microsoft.com/office/drawing/2014/main" id="{E91D9B54-7E28-44B3-B020-2A65D044E175}"/>
              </a:ext>
            </a:extLst>
          </p:cNvPr>
          <p:cNvSpPr txBox="1"/>
          <p:nvPr userDrawn="1"/>
        </p:nvSpPr>
        <p:spPr>
          <a:xfrm>
            <a:off x="8959653" y="5053521"/>
            <a:ext cx="709636" cy="215444"/>
          </a:xfrm>
          <a:prstGeom prst="rect">
            <a:avLst/>
          </a:prstGeom>
          <a:noFill/>
        </p:spPr>
        <p:txBody>
          <a:bodyPr wrap="square" lIns="0" rIns="0">
            <a:noAutofit/>
          </a:bodyPr>
          <a:lstStyle/>
          <a:p>
            <a:pPr algn="ctr"/>
            <a:r>
              <a:rPr lang="en-US" sz="800">
                <a:solidFill>
                  <a:schemeClr val="bg1"/>
                </a:solidFill>
              </a:rPr>
              <a:t>Flexibility</a:t>
            </a:r>
          </a:p>
        </p:txBody>
      </p:sp>
      <p:sp>
        <p:nvSpPr>
          <p:cNvPr id="431" name="TextBox 430">
            <a:extLst>
              <a:ext uri="{FF2B5EF4-FFF2-40B4-BE49-F238E27FC236}">
                <a16:creationId xmlns:a16="http://schemas.microsoft.com/office/drawing/2014/main" id="{AD643864-9FF4-4A8C-8CB1-B7BCFBE3E250}"/>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a:solidFill>
                  <a:schemeClr val="bg1"/>
                </a:solidFill>
              </a:rPr>
              <a:t>Business partner-up</a:t>
            </a:r>
          </a:p>
        </p:txBody>
      </p:sp>
      <p:sp>
        <p:nvSpPr>
          <p:cNvPr id="433" name="TextBox 432">
            <a:extLst>
              <a:ext uri="{FF2B5EF4-FFF2-40B4-BE49-F238E27FC236}">
                <a16:creationId xmlns:a16="http://schemas.microsoft.com/office/drawing/2014/main" id="{BCEF4B94-E763-4437-AB2C-BD2227611692}"/>
              </a:ext>
            </a:extLst>
          </p:cNvPr>
          <p:cNvSpPr txBox="1"/>
          <p:nvPr userDrawn="1"/>
        </p:nvSpPr>
        <p:spPr>
          <a:xfrm>
            <a:off x="8959653" y="1753079"/>
            <a:ext cx="709636" cy="215444"/>
          </a:xfrm>
          <a:prstGeom prst="rect">
            <a:avLst/>
          </a:prstGeom>
          <a:noFill/>
        </p:spPr>
        <p:txBody>
          <a:bodyPr wrap="square" lIns="0" rIns="0">
            <a:noAutofit/>
          </a:bodyPr>
          <a:lstStyle/>
          <a:p>
            <a:pPr algn="ctr"/>
            <a:r>
              <a:rPr lang="en-US" sz="800">
                <a:solidFill>
                  <a:schemeClr val="bg1"/>
                </a:solidFill>
              </a:rPr>
              <a:t>App-3rd-party</a:t>
            </a:r>
          </a:p>
        </p:txBody>
      </p:sp>
      <p:sp>
        <p:nvSpPr>
          <p:cNvPr id="435" name="TextBox 434">
            <a:extLst>
              <a:ext uri="{FF2B5EF4-FFF2-40B4-BE49-F238E27FC236}">
                <a16:creationId xmlns:a16="http://schemas.microsoft.com/office/drawing/2014/main" id="{3C4FC071-C9F6-41EB-9D2C-063F8ABDB1B6}"/>
              </a:ext>
            </a:extLst>
          </p:cNvPr>
          <p:cNvSpPr txBox="1"/>
          <p:nvPr userDrawn="1"/>
        </p:nvSpPr>
        <p:spPr>
          <a:xfrm>
            <a:off x="9672677" y="5877738"/>
            <a:ext cx="709636" cy="215444"/>
          </a:xfrm>
          <a:prstGeom prst="rect">
            <a:avLst/>
          </a:prstGeom>
          <a:noFill/>
        </p:spPr>
        <p:txBody>
          <a:bodyPr wrap="square" lIns="0" rIns="0">
            <a:noAutofit/>
          </a:bodyPr>
          <a:lstStyle/>
          <a:p>
            <a:pPr algn="ctr"/>
            <a:r>
              <a:rPr lang="en-US" sz="800">
                <a:solidFill>
                  <a:schemeClr val="bg1"/>
                </a:solidFill>
              </a:rPr>
              <a:t>Link alt</a:t>
            </a:r>
          </a:p>
        </p:txBody>
      </p:sp>
      <p:sp>
        <p:nvSpPr>
          <p:cNvPr id="437" name="TextBox 436">
            <a:extLst>
              <a:ext uri="{FF2B5EF4-FFF2-40B4-BE49-F238E27FC236}">
                <a16:creationId xmlns:a16="http://schemas.microsoft.com/office/drawing/2014/main" id="{BEAF721F-5FC3-4CC6-8583-4C6AC3963D30}"/>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a:solidFill>
                  <a:schemeClr val="bg1"/>
                </a:solidFill>
              </a:rPr>
              <a:t>Corporation</a:t>
            </a:r>
          </a:p>
        </p:txBody>
      </p:sp>
      <p:sp>
        <p:nvSpPr>
          <p:cNvPr id="439" name="TextBox 438">
            <a:extLst>
              <a:ext uri="{FF2B5EF4-FFF2-40B4-BE49-F238E27FC236}">
                <a16:creationId xmlns:a16="http://schemas.microsoft.com/office/drawing/2014/main" id="{44533EA0-9DAF-4773-AF82-B9B6C1AC9304}"/>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a:solidFill>
                  <a:schemeClr val="bg1"/>
                </a:solidFill>
              </a:rPr>
              <a:t>Ecosystem</a:t>
            </a:r>
          </a:p>
        </p:txBody>
      </p:sp>
      <p:sp>
        <p:nvSpPr>
          <p:cNvPr id="441" name="TextBox 440">
            <a:extLst>
              <a:ext uri="{FF2B5EF4-FFF2-40B4-BE49-F238E27FC236}">
                <a16:creationId xmlns:a16="http://schemas.microsoft.com/office/drawing/2014/main" id="{152E9F76-F332-48D5-83D5-B75ED947C883}"/>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a:solidFill>
                  <a:schemeClr val="bg1"/>
                </a:solidFill>
              </a:rPr>
              <a:t>First-reply-</a:t>
            </a:r>
          </a:p>
          <a:p>
            <a:pPr algn="ctr"/>
            <a:r>
              <a:rPr lang="en-US" sz="800">
                <a:solidFill>
                  <a:schemeClr val="bg1"/>
                </a:solidFill>
              </a:rPr>
              <a:t>by-email</a:t>
            </a:r>
          </a:p>
        </p:txBody>
      </p:sp>
      <p:sp>
        <p:nvSpPr>
          <p:cNvPr id="443" name="TextBox 442">
            <a:extLst>
              <a:ext uri="{FF2B5EF4-FFF2-40B4-BE49-F238E27FC236}">
                <a16:creationId xmlns:a16="http://schemas.microsoft.com/office/drawing/2014/main" id="{F2A3B974-746B-4A03-AFD2-5B8FBA526BF8}"/>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a:solidFill>
                  <a:schemeClr val="bg1"/>
                </a:solidFill>
              </a:rPr>
              <a:t>Bookmark</a:t>
            </a:r>
          </a:p>
        </p:txBody>
      </p:sp>
      <p:sp>
        <p:nvSpPr>
          <p:cNvPr id="445" name="TextBox 444">
            <a:extLst>
              <a:ext uri="{FF2B5EF4-FFF2-40B4-BE49-F238E27FC236}">
                <a16:creationId xmlns:a16="http://schemas.microsoft.com/office/drawing/2014/main" id="{8D5ECFC4-704C-4A8C-9DF3-942A637E9B12}"/>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a:solidFill>
                  <a:schemeClr val="bg1"/>
                </a:solidFill>
              </a:rPr>
              <a:t>Anniversary</a:t>
            </a:r>
          </a:p>
        </p:txBody>
      </p:sp>
      <p:sp>
        <p:nvSpPr>
          <p:cNvPr id="447" name="TextBox 446">
            <a:extLst>
              <a:ext uri="{FF2B5EF4-FFF2-40B4-BE49-F238E27FC236}">
                <a16:creationId xmlns:a16="http://schemas.microsoft.com/office/drawing/2014/main" id="{49DCB5EE-583E-463F-AB92-D7BA788107E3}"/>
              </a:ext>
            </a:extLst>
          </p:cNvPr>
          <p:cNvSpPr txBox="1"/>
          <p:nvPr userDrawn="1"/>
        </p:nvSpPr>
        <p:spPr>
          <a:xfrm>
            <a:off x="8959653" y="5877738"/>
            <a:ext cx="709636" cy="215444"/>
          </a:xfrm>
          <a:prstGeom prst="rect">
            <a:avLst/>
          </a:prstGeom>
          <a:noFill/>
        </p:spPr>
        <p:txBody>
          <a:bodyPr wrap="square" lIns="0" rIns="0">
            <a:noAutofit/>
          </a:bodyPr>
          <a:lstStyle/>
          <a:p>
            <a:pPr algn="ctr"/>
            <a:r>
              <a:rPr lang="en-US" sz="800">
                <a:solidFill>
                  <a:schemeClr val="bg1"/>
                </a:solidFill>
              </a:rPr>
              <a:t>Link</a:t>
            </a:r>
          </a:p>
        </p:txBody>
      </p:sp>
      <p:sp>
        <p:nvSpPr>
          <p:cNvPr id="449" name="TextBox 448">
            <a:extLst>
              <a:ext uri="{FF2B5EF4-FFF2-40B4-BE49-F238E27FC236}">
                <a16:creationId xmlns:a16="http://schemas.microsoft.com/office/drawing/2014/main" id="{872A9E9E-223F-41CD-8EB4-BDB4D0F70240}"/>
              </a:ext>
            </a:extLst>
          </p:cNvPr>
          <p:cNvSpPr txBox="1"/>
          <p:nvPr userDrawn="1"/>
        </p:nvSpPr>
        <p:spPr>
          <a:xfrm>
            <a:off x="9672677" y="3367961"/>
            <a:ext cx="709636" cy="338554"/>
          </a:xfrm>
          <a:prstGeom prst="rect">
            <a:avLst/>
          </a:prstGeom>
          <a:noFill/>
        </p:spPr>
        <p:txBody>
          <a:bodyPr wrap="square" lIns="0" rIns="0">
            <a:noAutofit/>
          </a:bodyPr>
          <a:lstStyle/>
          <a:p>
            <a:pPr algn="ctr"/>
            <a:r>
              <a:rPr lang="en-US" sz="800">
                <a:solidFill>
                  <a:schemeClr val="bg1"/>
                </a:solidFill>
              </a:rPr>
              <a:t>Course-advanced</a:t>
            </a:r>
          </a:p>
        </p:txBody>
      </p:sp>
      <p:sp>
        <p:nvSpPr>
          <p:cNvPr id="451" name="TextBox 450">
            <a:extLst>
              <a:ext uri="{FF2B5EF4-FFF2-40B4-BE49-F238E27FC236}">
                <a16:creationId xmlns:a16="http://schemas.microsoft.com/office/drawing/2014/main" id="{9155E6CB-64DE-46B8-A8DB-3D4C72FADCFF}"/>
              </a:ext>
            </a:extLst>
          </p:cNvPr>
          <p:cNvSpPr txBox="1"/>
          <p:nvPr userDrawn="1"/>
        </p:nvSpPr>
        <p:spPr>
          <a:xfrm>
            <a:off x="10387592" y="4216498"/>
            <a:ext cx="709636" cy="338554"/>
          </a:xfrm>
          <a:prstGeom prst="rect">
            <a:avLst/>
          </a:prstGeom>
          <a:noFill/>
        </p:spPr>
        <p:txBody>
          <a:bodyPr wrap="square" lIns="0" rIns="0">
            <a:noAutofit/>
          </a:bodyPr>
          <a:lstStyle/>
          <a:p>
            <a:pPr algn="ctr"/>
            <a:r>
              <a:rPr lang="en-US" sz="800">
                <a:solidFill>
                  <a:schemeClr val="bg1"/>
                </a:solidFill>
              </a:rPr>
              <a:t>Enterprise competency</a:t>
            </a:r>
          </a:p>
        </p:txBody>
      </p:sp>
      <p:sp>
        <p:nvSpPr>
          <p:cNvPr id="453" name="TextBox 452">
            <a:extLst>
              <a:ext uri="{FF2B5EF4-FFF2-40B4-BE49-F238E27FC236}">
                <a16:creationId xmlns:a16="http://schemas.microsoft.com/office/drawing/2014/main" id="{0B4FAC28-771A-4CA8-8DE5-E0230A54992F}"/>
              </a:ext>
            </a:extLst>
          </p:cNvPr>
          <p:cNvSpPr txBox="1"/>
          <p:nvPr userDrawn="1"/>
        </p:nvSpPr>
        <p:spPr>
          <a:xfrm>
            <a:off x="10387592" y="5053521"/>
            <a:ext cx="709636" cy="338554"/>
          </a:xfrm>
          <a:prstGeom prst="rect">
            <a:avLst/>
          </a:prstGeom>
          <a:noFill/>
        </p:spPr>
        <p:txBody>
          <a:bodyPr wrap="square" lIns="0" rIns="0">
            <a:noAutofit/>
          </a:bodyPr>
          <a:lstStyle/>
          <a:p>
            <a:pPr algn="ctr"/>
            <a:r>
              <a:rPr lang="en-US" sz="800">
                <a:solidFill>
                  <a:schemeClr val="bg1"/>
                </a:solidFill>
              </a:rPr>
              <a:t>Group </a:t>
            </a:r>
          </a:p>
          <a:p>
            <a:pPr algn="ctr"/>
            <a:r>
              <a:rPr lang="en-US" sz="800">
                <a:solidFill>
                  <a:schemeClr val="bg1"/>
                </a:solidFill>
              </a:rPr>
              <a:t>of users</a:t>
            </a:r>
          </a:p>
        </p:txBody>
      </p:sp>
      <p:sp>
        <p:nvSpPr>
          <p:cNvPr id="455" name="TextBox 454">
            <a:extLst>
              <a:ext uri="{FF2B5EF4-FFF2-40B4-BE49-F238E27FC236}">
                <a16:creationId xmlns:a16="http://schemas.microsoft.com/office/drawing/2014/main" id="{B7743FBA-C57C-4AD9-8354-59144CB360A0}"/>
              </a:ext>
            </a:extLst>
          </p:cNvPr>
          <p:cNvSpPr txBox="1"/>
          <p:nvPr userDrawn="1"/>
        </p:nvSpPr>
        <p:spPr>
          <a:xfrm>
            <a:off x="9672677" y="2580873"/>
            <a:ext cx="709636" cy="338554"/>
          </a:xfrm>
          <a:prstGeom prst="rect">
            <a:avLst/>
          </a:prstGeom>
          <a:noFill/>
        </p:spPr>
        <p:txBody>
          <a:bodyPr wrap="square" lIns="0" rIns="0">
            <a:noAutofit/>
          </a:bodyPr>
          <a:lstStyle/>
          <a:p>
            <a:pPr algn="ctr"/>
            <a:r>
              <a:rPr lang="en-US" sz="800">
                <a:solidFill>
                  <a:schemeClr val="bg1"/>
                </a:solidFill>
              </a:rPr>
              <a:t>Business partner alt 2</a:t>
            </a:r>
          </a:p>
        </p:txBody>
      </p:sp>
      <p:sp>
        <p:nvSpPr>
          <p:cNvPr id="457" name="TextBox 456">
            <a:extLst>
              <a:ext uri="{FF2B5EF4-FFF2-40B4-BE49-F238E27FC236}">
                <a16:creationId xmlns:a16="http://schemas.microsoft.com/office/drawing/2014/main" id="{F0B55C7F-1169-48C1-B64C-0EEC8FE8E590}"/>
              </a:ext>
            </a:extLst>
          </p:cNvPr>
          <p:cNvSpPr txBox="1"/>
          <p:nvPr userDrawn="1"/>
        </p:nvSpPr>
        <p:spPr>
          <a:xfrm>
            <a:off x="10387592" y="1753079"/>
            <a:ext cx="709636" cy="338554"/>
          </a:xfrm>
          <a:prstGeom prst="rect">
            <a:avLst/>
          </a:prstGeom>
          <a:noFill/>
        </p:spPr>
        <p:txBody>
          <a:bodyPr wrap="square" lIns="0" rIns="0">
            <a:noAutofit/>
          </a:bodyPr>
          <a:lstStyle/>
          <a:p>
            <a:pPr algn="ctr"/>
            <a:r>
              <a:rPr lang="en-US" sz="800">
                <a:solidFill>
                  <a:schemeClr val="bg1"/>
                </a:solidFill>
              </a:rPr>
              <a:t>App-3rd-party  3</a:t>
            </a:r>
          </a:p>
        </p:txBody>
      </p:sp>
      <p:sp>
        <p:nvSpPr>
          <p:cNvPr id="459" name="TextBox 458">
            <a:extLst>
              <a:ext uri="{FF2B5EF4-FFF2-40B4-BE49-F238E27FC236}">
                <a16:creationId xmlns:a16="http://schemas.microsoft.com/office/drawing/2014/main" id="{25DCE611-6B45-49DB-8496-04DC98F8F103}"/>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a:solidFill>
                  <a:schemeClr val="bg1"/>
                </a:solidFill>
              </a:rPr>
              <a:t>Light bulb</a:t>
            </a:r>
          </a:p>
        </p:txBody>
      </p:sp>
      <p:sp>
        <p:nvSpPr>
          <p:cNvPr id="461" name="TextBox 460">
            <a:extLst>
              <a:ext uri="{FF2B5EF4-FFF2-40B4-BE49-F238E27FC236}">
                <a16:creationId xmlns:a16="http://schemas.microsoft.com/office/drawing/2014/main" id="{4BE5FBF7-CE27-4403-A481-86EC9E22585A}"/>
              </a:ext>
            </a:extLst>
          </p:cNvPr>
          <p:cNvSpPr txBox="1"/>
          <p:nvPr userDrawn="1"/>
        </p:nvSpPr>
        <p:spPr>
          <a:xfrm>
            <a:off x="9672677" y="4216498"/>
            <a:ext cx="709636" cy="215444"/>
          </a:xfrm>
          <a:prstGeom prst="rect">
            <a:avLst/>
          </a:prstGeom>
          <a:noFill/>
        </p:spPr>
        <p:txBody>
          <a:bodyPr wrap="square" lIns="0" rIns="0">
            <a:noAutofit/>
          </a:bodyPr>
          <a:lstStyle/>
          <a:p>
            <a:pPr algn="ctr"/>
            <a:r>
              <a:rPr lang="en-US" sz="800">
                <a:solidFill>
                  <a:schemeClr val="bg1"/>
                </a:solidFill>
              </a:rPr>
              <a:t>Emoji</a:t>
            </a:r>
          </a:p>
        </p:txBody>
      </p:sp>
      <p:sp>
        <p:nvSpPr>
          <p:cNvPr id="463" name="TextBox 462">
            <a:extLst>
              <a:ext uri="{FF2B5EF4-FFF2-40B4-BE49-F238E27FC236}">
                <a16:creationId xmlns:a16="http://schemas.microsoft.com/office/drawing/2014/main" id="{7FCB3897-8EA2-4241-A06D-7E7D1169656F}"/>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a:solidFill>
                  <a:schemeClr val="bg1"/>
                </a:solidFill>
              </a:rPr>
              <a:t>Link </a:t>
            </a:r>
          </a:p>
          <a:p>
            <a:pPr algn="ctr"/>
            <a:r>
              <a:rPr lang="en-US" sz="800">
                <a:solidFill>
                  <a:schemeClr val="bg1"/>
                </a:solidFill>
              </a:rPr>
              <a:t>special alt</a:t>
            </a:r>
          </a:p>
        </p:txBody>
      </p:sp>
    </p:spTree>
    <p:extLst>
      <p:ext uri="{BB962C8B-B14F-4D97-AF65-F5344CB8AC3E}">
        <p14:creationId xmlns:p14="http://schemas.microsoft.com/office/powerpoint/2010/main" val="6383579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Icons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7B0019-D30C-4B94-87CD-554B877C691D}"/>
              </a:ext>
            </a:extLst>
          </p:cNvPr>
          <p:cNvSpPr/>
          <p:nvPr userDrawn="1"/>
        </p:nvSpPr>
        <p:spPr>
          <a:xfrm>
            <a:off x="1" y="1143002"/>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8" name="TextBox 17">
            <a:extLst>
              <a:ext uri="{FF2B5EF4-FFF2-40B4-BE49-F238E27FC236}">
                <a16:creationId xmlns:a16="http://schemas.microsoft.com/office/drawing/2014/main" id="{90CF7BEC-2ABE-4EF6-A184-360BC0F0353C}"/>
              </a:ext>
            </a:extLst>
          </p:cNvPr>
          <p:cNvSpPr txBox="1"/>
          <p:nvPr userDrawn="1"/>
        </p:nvSpPr>
        <p:spPr>
          <a:xfrm>
            <a:off x="11099777" y="3402693"/>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champion</a:t>
            </a:r>
          </a:p>
        </p:txBody>
      </p:sp>
      <p:sp>
        <p:nvSpPr>
          <p:cNvPr id="20" name="TextBox 19">
            <a:extLst>
              <a:ext uri="{FF2B5EF4-FFF2-40B4-BE49-F238E27FC236}">
                <a16:creationId xmlns:a16="http://schemas.microsoft.com/office/drawing/2014/main" id="{39F87A46-2624-4F14-B15B-CF454F756CB1}"/>
              </a:ext>
            </a:extLst>
          </p:cNvPr>
          <p:cNvSpPr txBox="1"/>
          <p:nvPr userDrawn="1"/>
        </p:nvSpPr>
        <p:spPr>
          <a:xfrm>
            <a:off x="387912" y="3402693"/>
            <a:ext cx="713232" cy="338328"/>
          </a:xfrm>
          <a:prstGeom prst="rect">
            <a:avLst/>
          </a:prstGeom>
          <a:noFill/>
        </p:spPr>
        <p:txBody>
          <a:bodyPr wrap="square" lIns="0" rIns="0">
            <a:noAutofit/>
          </a:bodyPr>
          <a:lstStyle/>
          <a:p>
            <a:pPr algn="ctr"/>
            <a:r>
              <a:rPr lang="en-US" sz="800">
                <a:solidFill>
                  <a:schemeClr val="bg1"/>
                </a:solidFill>
              </a:rPr>
              <a:t>Question and answer</a:t>
            </a:r>
          </a:p>
        </p:txBody>
      </p:sp>
      <p:sp>
        <p:nvSpPr>
          <p:cNvPr id="22" name="TextBox 21">
            <a:extLst>
              <a:ext uri="{FF2B5EF4-FFF2-40B4-BE49-F238E27FC236}">
                <a16:creationId xmlns:a16="http://schemas.microsoft.com/office/drawing/2014/main" id="{780E9DC0-3B87-4641-BEC8-B6B9077757A8}"/>
              </a:ext>
            </a:extLst>
          </p:cNvPr>
          <p:cNvSpPr txBox="1"/>
          <p:nvPr userDrawn="1"/>
        </p:nvSpPr>
        <p:spPr>
          <a:xfrm>
            <a:off x="1102036" y="3402693"/>
            <a:ext cx="713232" cy="338328"/>
          </a:xfrm>
          <a:prstGeom prst="rect">
            <a:avLst/>
          </a:prstGeom>
          <a:noFill/>
        </p:spPr>
        <p:txBody>
          <a:bodyPr wrap="square" lIns="0" rIns="0">
            <a:noAutofit/>
          </a:bodyPr>
          <a:lstStyle/>
          <a:p>
            <a:pPr algn="ctr"/>
            <a:r>
              <a:rPr lang="en-US" sz="800">
                <a:solidFill>
                  <a:schemeClr val="bg1"/>
                </a:solidFill>
              </a:rPr>
              <a:t>Question and answer 2</a:t>
            </a:r>
          </a:p>
        </p:txBody>
      </p:sp>
      <p:sp>
        <p:nvSpPr>
          <p:cNvPr id="24" name="TextBox 23">
            <a:extLst>
              <a:ext uri="{FF2B5EF4-FFF2-40B4-BE49-F238E27FC236}">
                <a16:creationId xmlns:a16="http://schemas.microsoft.com/office/drawing/2014/main" id="{763A8086-34B3-44A6-9D68-24F07695DFD1}"/>
              </a:ext>
            </a:extLst>
          </p:cNvPr>
          <p:cNvSpPr txBox="1"/>
          <p:nvPr userDrawn="1"/>
        </p:nvSpPr>
        <p:spPr>
          <a:xfrm>
            <a:off x="1816160" y="3402693"/>
            <a:ext cx="713232" cy="338328"/>
          </a:xfrm>
          <a:prstGeom prst="rect">
            <a:avLst/>
          </a:prstGeom>
          <a:noFill/>
        </p:spPr>
        <p:txBody>
          <a:bodyPr wrap="square" lIns="0" rIns="0">
            <a:noAutofit/>
          </a:bodyPr>
          <a:lstStyle/>
          <a:p>
            <a:pPr algn="ctr"/>
            <a:r>
              <a:rPr lang="en-US" sz="800">
                <a:solidFill>
                  <a:schemeClr val="bg1"/>
                </a:solidFill>
              </a:rPr>
              <a:t>Ramp up</a:t>
            </a:r>
          </a:p>
        </p:txBody>
      </p:sp>
      <p:sp>
        <p:nvSpPr>
          <p:cNvPr id="25" name="TextBox 24">
            <a:extLst>
              <a:ext uri="{FF2B5EF4-FFF2-40B4-BE49-F238E27FC236}">
                <a16:creationId xmlns:a16="http://schemas.microsoft.com/office/drawing/2014/main" id="{01D88B68-108F-4A1A-A364-E3582FDD14CD}"/>
              </a:ext>
            </a:extLst>
          </p:cNvPr>
          <p:cNvSpPr txBox="1"/>
          <p:nvPr userDrawn="1"/>
        </p:nvSpPr>
        <p:spPr>
          <a:xfrm>
            <a:off x="2530284" y="3402693"/>
            <a:ext cx="713232" cy="338328"/>
          </a:xfrm>
          <a:prstGeom prst="rect">
            <a:avLst/>
          </a:prstGeom>
          <a:noFill/>
        </p:spPr>
        <p:txBody>
          <a:bodyPr wrap="square" lIns="0" rIns="0">
            <a:noAutofit/>
          </a:bodyPr>
          <a:lstStyle/>
          <a:p>
            <a:pPr algn="ctr"/>
            <a:r>
              <a:rPr lang="en-US" sz="800">
                <a:solidFill>
                  <a:schemeClr val="bg1"/>
                </a:solidFill>
              </a:rPr>
              <a:t>Ramp up alt</a:t>
            </a:r>
          </a:p>
        </p:txBody>
      </p:sp>
      <p:sp>
        <p:nvSpPr>
          <p:cNvPr id="27" name="TextBox 26">
            <a:extLst>
              <a:ext uri="{FF2B5EF4-FFF2-40B4-BE49-F238E27FC236}">
                <a16:creationId xmlns:a16="http://schemas.microsoft.com/office/drawing/2014/main" id="{A04CD87A-5EA0-4344-90B8-4D8A53FF99FE}"/>
              </a:ext>
            </a:extLst>
          </p:cNvPr>
          <p:cNvSpPr txBox="1"/>
          <p:nvPr userDrawn="1"/>
        </p:nvSpPr>
        <p:spPr>
          <a:xfrm>
            <a:off x="3958532" y="3402693"/>
            <a:ext cx="713232" cy="338328"/>
          </a:xfrm>
          <a:prstGeom prst="rect">
            <a:avLst/>
          </a:prstGeom>
          <a:noFill/>
        </p:spPr>
        <p:txBody>
          <a:bodyPr wrap="square" lIns="0" rIns="0">
            <a:noAutofit/>
          </a:bodyPr>
          <a:lstStyle/>
          <a:p>
            <a:pPr algn="ctr"/>
            <a:r>
              <a:rPr lang="en-US" sz="800">
                <a:solidFill>
                  <a:schemeClr val="bg1"/>
                </a:solidFill>
              </a:rPr>
              <a:t>Read guidelines</a:t>
            </a:r>
          </a:p>
        </p:txBody>
      </p:sp>
      <p:sp>
        <p:nvSpPr>
          <p:cNvPr id="29" name="TextBox 28">
            <a:extLst>
              <a:ext uri="{FF2B5EF4-FFF2-40B4-BE49-F238E27FC236}">
                <a16:creationId xmlns:a16="http://schemas.microsoft.com/office/drawing/2014/main" id="{9F711ED1-7950-46AE-BD91-DA71677ECB0C}"/>
              </a:ext>
            </a:extLst>
          </p:cNvPr>
          <p:cNvSpPr txBox="1"/>
          <p:nvPr userDrawn="1"/>
        </p:nvSpPr>
        <p:spPr>
          <a:xfrm>
            <a:off x="8957400" y="3402693"/>
            <a:ext cx="713232" cy="338328"/>
          </a:xfrm>
          <a:prstGeom prst="rect">
            <a:avLst/>
          </a:prstGeom>
          <a:noFill/>
        </p:spPr>
        <p:txBody>
          <a:bodyPr wrap="square" lIns="0" rIns="0">
            <a:noAutofit/>
          </a:bodyPr>
          <a:lstStyle/>
          <a:p>
            <a:pPr algn="ctr"/>
            <a:r>
              <a:rPr lang="en-US" sz="800">
                <a:solidFill>
                  <a:schemeClr val="bg1"/>
                </a:solidFill>
              </a:rPr>
              <a:t>Reply</a:t>
            </a:r>
          </a:p>
        </p:txBody>
      </p:sp>
      <p:sp>
        <p:nvSpPr>
          <p:cNvPr id="31" name="TextBox 30">
            <a:extLst>
              <a:ext uri="{FF2B5EF4-FFF2-40B4-BE49-F238E27FC236}">
                <a16:creationId xmlns:a16="http://schemas.microsoft.com/office/drawing/2014/main" id="{05E03A70-E7B9-4F4E-9B94-59F759BE79B2}"/>
              </a:ext>
            </a:extLst>
          </p:cNvPr>
          <p:cNvSpPr txBox="1"/>
          <p:nvPr userDrawn="1"/>
        </p:nvSpPr>
        <p:spPr>
          <a:xfrm>
            <a:off x="9671524" y="3402693"/>
            <a:ext cx="713232" cy="338328"/>
          </a:xfrm>
          <a:prstGeom prst="rect">
            <a:avLst/>
          </a:prstGeom>
          <a:noFill/>
        </p:spPr>
        <p:txBody>
          <a:bodyPr wrap="square" lIns="0" rIns="0">
            <a:noAutofit/>
          </a:bodyPr>
          <a:lstStyle/>
          <a:p>
            <a:pPr algn="ctr"/>
            <a:r>
              <a:rPr lang="en-US" sz="800">
                <a:solidFill>
                  <a:schemeClr val="bg1"/>
                </a:solidFill>
              </a:rPr>
              <a:t>Resource</a:t>
            </a:r>
          </a:p>
        </p:txBody>
      </p:sp>
      <p:sp>
        <p:nvSpPr>
          <p:cNvPr id="33" name="TextBox 32">
            <a:extLst>
              <a:ext uri="{FF2B5EF4-FFF2-40B4-BE49-F238E27FC236}">
                <a16:creationId xmlns:a16="http://schemas.microsoft.com/office/drawing/2014/main" id="{AA5B1D6A-D929-44AF-8958-C0D70F8CFA4C}"/>
              </a:ext>
            </a:extLst>
          </p:cNvPr>
          <p:cNvSpPr txBox="1"/>
          <p:nvPr userDrawn="1"/>
        </p:nvSpPr>
        <p:spPr>
          <a:xfrm>
            <a:off x="4672656" y="3402693"/>
            <a:ext cx="713232" cy="338328"/>
          </a:xfrm>
          <a:prstGeom prst="rect">
            <a:avLst/>
          </a:prstGeom>
          <a:noFill/>
        </p:spPr>
        <p:txBody>
          <a:bodyPr wrap="square" lIns="0" rIns="0">
            <a:noAutofit/>
          </a:bodyPr>
          <a:lstStyle/>
          <a:p>
            <a:pPr algn="ctr"/>
            <a:r>
              <a:rPr lang="en-US" sz="800">
                <a:solidFill>
                  <a:schemeClr val="bg1"/>
                </a:solidFill>
              </a:rPr>
              <a:t>Redesign</a:t>
            </a:r>
          </a:p>
        </p:txBody>
      </p:sp>
      <p:sp>
        <p:nvSpPr>
          <p:cNvPr id="34" name="TextBox 33">
            <a:extLst>
              <a:ext uri="{FF2B5EF4-FFF2-40B4-BE49-F238E27FC236}">
                <a16:creationId xmlns:a16="http://schemas.microsoft.com/office/drawing/2014/main" id="{BB90B05D-3E58-40E3-93DD-6F4A143282D3}"/>
              </a:ext>
            </a:extLst>
          </p:cNvPr>
          <p:cNvSpPr txBox="1"/>
          <p:nvPr userDrawn="1"/>
        </p:nvSpPr>
        <p:spPr>
          <a:xfrm>
            <a:off x="5386780" y="3402693"/>
            <a:ext cx="713232" cy="338328"/>
          </a:xfrm>
          <a:prstGeom prst="rect">
            <a:avLst/>
          </a:prstGeom>
          <a:noFill/>
        </p:spPr>
        <p:txBody>
          <a:bodyPr wrap="square" lIns="0" rIns="0">
            <a:noAutofit/>
          </a:bodyPr>
          <a:lstStyle/>
          <a:p>
            <a:pPr algn="ctr"/>
            <a:r>
              <a:rPr lang="en-US" sz="800">
                <a:solidFill>
                  <a:schemeClr val="bg1"/>
                </a:solidFill>
              </a:rPr>
              <a:t>Redesign alt</a:t>
            </a:r>
          </a:p>
        </p:txBody>
      </p:sp>
      <p:sp>
        <p:nvSpPr>
          <p:cNvPr id="35" name="TextBox 34">
            <a:extLst>
              <a:ext uri="{FF2B5EF4-FFF2-40B4-BE49-F238E27FC236}">
                <a16:creationId xmlns:a16="http://schemas.microsoft.com/office/drawing/2014/main" id="{C4C194D1-4ABA-4A5E-9DF6-2029CE6306C5}"/>
              </a:ext>
            </a:extLst>
          </p:cNvPr>
          <p:cNvSpPr txBox="1"/>
          <p:nvPr userDrawn="1"/>
        </p:nvSpPr>
        <p:spPr>
          <a:xfrm>
            <a:off x="6100904" y="3402693"/>
            <a:ext cx="713232" cy="338328"/>
          </a:xfrm>
          <a:prstGeom prst="rect">
            <a:avLst/>
          </a:prstGeom>
          <a:noFill/>
        </p:spPr>
        <p:txBody>
          <a:bodyPr wrap="square" lIns="0" rIns="0">
            <a:noAutofit/>
          </a:bodyPr>
          <a:lstStyle/>
          <a:p>
            <a:pPr algn="ctr"/>
            <a:r>
              <a:rPr lang="en-US" sz="800">
                <a:solidFill>
                  <a:schemeClr val="bg1"/>
                </a:solidFill>
              </a:rPr>
              <a:t>Refresh</a:t>
            </a:r>
          </a:p>
        </p:txBody>
      </p:sp>
      <p:sp>
        <p:nvSpPr>
          <p:cNvPr id="36" name="TextBox 35">
            <a:extLst>
              <a:ext uri="{FF2B5EF4-FFF2-40B4-BE49-F238E27FC236}">
                <a16:creationId xmlns:a16="http://schemas.microsoft.com/office/drawing/2014/main" id="{84916C4D-95A1-43CC-9904-49E2F6A0347E}"/>
              </a:ext>
            </a:extLst>
          </p:cNvPr>
          <p:cNvSpPr txBox="1"/>
          <p:nvPr userDrawn="1"/>
        </p:nvSpPr>
        <p:spPr>
          <a:xfrm>
            <a:off x="6815028" y="3402693"/>
            <a:ext cx="713232" cy="338328"/>
          </a:xfrm>
          <a:prstGeom prst="rect">
            <a:avLst/>
          </a:prstGeom>
          <a:noFill/>
        </p:spPr>
        <p:txBody>
          <a:bodyPr wrap="square" lIns="0" rIns="0">
            <a:noAutofit/>
          </a:bodyPr>
          <a:lstStyle/>
          <a:p>
            <a:pPr algn="ctr"/>
            <a:r>
              <a:rPr lang="en-US" sz="800">
                <a:solidFill>
                  <a:schemeClr val="bg1"/>
                </a:solidFill>
              </a:rPr>
              <a:t>Refresh 2</a:t>
            </a:r>
          </a:p>
        </p:txBody>
      </p:sp>
      <p:sp>
        <p:nvSpPr>
          <p:cNvPr id="37" name="TextBox 36">
            <a:extLst>
              <a:ext uri="{FF2B5EF4-FFF2-40B4-BE49-F238E27FC236}">
                <a16:creationId xmlns:a16="http://schemas.microsoft.com/office/drawing/2014/main" id="{18939518-D257-4BA9-AE37-437474BA51D1}"/>
              </a:ext>
            </a:extLst>
          </p:cNvPr>
          <p:cNvSpPr txBox="1"/>
          <p:nvPr userDrawn="1"/>
        </p:nvSpPr>
        <p:spPr>
          <a:xfrm>
            <a:off x="7529152" y="3402693"/>
            <a:ext cx="713232" cy="338328"/>
          </a:xfrm>
          <a:prstGeom prst="rect">
            <a:avLst/>
          </a:prstGeom>
          <a:noFill/>
        </p:spPr>
        <p:txBody>
          <a:bodyPr wrap="square" lIns="0" rIns="0">
            <a:noAutofit/>
          </a:bodyPr>
          <a:lstStyle/>
          <a:p>
            <a:pPr algn="ctr"/>
            <a:r>
              <a:rPr lang="en-US" sz="800">
                <a:solidFill>
                  <a:schemeClr val="bg1"/>
                </a:solidFill>
              </a:rPr>
              <a:t>Remove</a:t>
            </a:r>
          </a:p>
        </p:txBody>
      </p:sp>
      <p:sp>
        <p:nvSpPr>
          <p:cNvPr id="38" name="TextBox 37">
            <a:extLst>
              <a:ext uri="{FF2B5EF4-FFF2-40B4-BE49-F238E27FC236}">
                <a16:creationId xmlns:a16="http://schemas.microsoft.com/office/drawing/2014/main" id="{AE174C2A-BB96-4E19-975A-CC2E6385660C}"/>
              </a:ext>
            </a:extLst>
          </p:cNvPr>
          <p:cNvSpPr txBox="1"/>
          <p:nvPr userDrawn="1"/>
        </p:nvSpPr>
        <p:spPr>
          <a:xfrm>
            <a:off x="8243276" y="3402693"/>
            <a:ext cx="713232" cy="338328"/>
          </a:xfrm>
          <a:prstGeom prst="rect">
            <a:avLst/>
          </a:prstGeom>
          <a:noFill/>
        </p:spPr>
        <p:txBody>
          <a:bodyPr wrap="square" lIns="0" rIns="0">
            <a:noAutofit/>
          </a:bodyPr>
          <a:lstStyle/>
          <a:p>
            <a:pPr algn="ctr"/>
            <a:r>
              <a:rPr lang="en-US" sz="800">
                <a:solidFill>
                  <a:schemeClr val="bg1"/>
                </a:solidFill>
              </a:rPr>
              <a:t>Remove alt</a:t>
            </a:r>
          </a:p>
        </p:txBody>
      </p:sp>
      <p:sp>
        <p:nvSpPr>
          <p:cNvPr id="39" name="TextBox 38">
            <a:extLst>
              <a:ext uri="{FF2B5EF4-FFF2-40B4-BE49-F238E27FC236}">
                <a16:creationId xmlns:a16="http://schemas.microsoft.com/office/drawing/2014/main" id="{9517A348-5A5C-4D78-BE48-CF2F87D6468D}"/>
              </a:ext>
            </a:extLst>
          </p:cNvPr>
          <p:cNvSpPr txBox="1"/>
          <p:nvPr userDrawn="1"/>
        </p:nvSpPr>
        <p:spPr>
          <a:xfrm>
            <a:off x="10385648" y="3402693"/>
            <a:ext cx="713232" cy="338328"/>
          </a:xfrm>
          <a:prstGeom prst="rect">
            <a:avLst/>
          </a:prstGeom>
          <a:noFill/>
        </p:spPr>
        <p:txBody>
          <a:bodyPr wrap="square" lIns="0" rIns="0">
            <a:noAutofit/>
          </a:bodyPr>
          <a:lstStyle/>
          <a:p>
            <a:pPr algn="ctr"/>
            <a:r>
              <a:rPr lang="en-US" sz="800">
                <a:solidFill>
                  <a:schemeClr val="bg1"/>
                </a:solidFill>
              </a:rPr>
              <a:t>RPA business analyst</a:t>
            </a:r>
          </a:p>
        </p:txBody>
      </p:sp>
      <p:sp>
        <p:nvSpPr>
          <p:cNvPr id="41" name="TextBox 40">
            <a:extLst>
              <a:ext uri="{FF2B5EF4-FFF2-40B4-BE49-F238E27FC236}">
                <a16:creationId xmlns:a16="http://schemas.microsoft.com/office/drawing/2014/main" id="{5E213064-FE24-4481-923E-87C3CA7815CD}"/>
              </a:ext>
            </a:extLst>
          </p:cNvPr>
          <p:cNvSpPr txBox="1"/>
          <p:nvPr userDrawn="1"/>
        </p:nvSpPr>
        <p:spPr>
          <a:xfrm>
            <a:off x="3244408" y="3402693"/>
            <a:ext cx="713232" cy="338328"/>
          </a:xfrm>
          <a:prstGeom prst="rect">
            <a:avLst/>
          </a:prstGeom>
          <a:noFill/>
        </p:spPr>
        <p:txBody>
          <a:bodyPr wrap="square" lIns="0" rIns="0">
            <a:noAutofit/>
          </a:bodyPr>
          <a:lstStyle/>
          <a:p>
            <a:pPr algn="ctr"/>
            <a:r>
              <a:rPr lang="en-US" sz="800">
                <a:solidFill>
                  <a:schemeClr val="bg1"/>
                </a:solidFill>
              </a:rPr>
              <a:t>Reader</a:t>
            </a:r>
          </a:p>
        </p:txBody>
      </p:sp>
      <p:sp>
        <p:nvSpPr>
          <p:cNvPr id="43" name="TextBox 42">
            <a:extLst>
              <a:ext uri="{FF2B5EF4-FFF2-40B4-BE49-F238E27FC236}">
                <a16:creationId xmlns:a16="http://schemas.microsoft.com/office/drawing/2014/main" id="{2522F10D-83D1-4480-BC2B-C3FFBD3443A1}"/>
              </a:ext>
            </a:extLst>
          </p:cNvPr>
          <p:cNvSpPr txBox="1"/>
          <p:nvPr userDrawn="1"/>
        </p:nvSpPr>
        <p:spPr>
          <a:xfrm>
            <a:off x="11099777" y="4225711"/>
            <a:ext cx="713232" cy="338328"/>
          </a:xfrm>
          <a:prstGeom prst="rect">
            <a:avLst/>
          </a:prstGeom>
          <a:noFill/>
        </p:spPr>
        <p:txBody>
          <a:bodyPr wrap="square" lIns="0" rIns="0">
            <a:noAutofit/>
          </a:bodyPr>
          <a:lstStyle/>
          <a:p>
            <a:pPr algn="ctr"/>
            <a:r>
              <a:rPr lang="en-US" sz="800">
                <a:solidFill>
                  <a:schemeClr val="bg1"/>
                </a:solidFill>
              </a:rPr>
              <a:t>Solutions 2</a:t>
            </a:r>
          </a:p>
        </p:txBody>
      </p:sp>
      <p:sp>
        <p:nvSpPr>
          <p:cNvPr id="45" name="TextBox 44">
            <a:extLst>
              <a:ext uri="{FF2B5EF4-FFF2-40B4-BE49-F238E27FC236}">
                <a16:creationId xmlns:a16="http://schemas.microsoft.com/office/drawing/2014/main" id="{92AC8B25-FF1B-43CF-B3BA-9C0D657E17CE}"/>
              </a:ext>
            </a:extLst>
          </p:cNvPr>
          <p:cNvSpPr txBox="1"/>
          <p:nvPr userDrawn="1"/>
        </p:nvSpPr>
        <p:spPr>
          <a:xfrm>
            <a:off x="387912"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developer</a:t>
            </a:r>
          </a:p>
        </p:txBody>
      </p:sp>
      <p:sp>
        <p:nvSpPr>
          <p:cNvPr id="47" name="TextBox 46">
            <a:extLst>
              <a:ext uri="{FF2B5EF4-FFF2-40B4-BE49-F238E27FC236}">
                <a16:creationId xmlns:a16="http://schemas.microsoft.com/office/drawing/2014/main" id="{AECEEDDB-2E54-4E30-A9F4-65C37AE1AE23}"/>
              </a:ext>
            </a:extLst>
          </p:cNvPr>
          <p:cNvSpPr txBox="1"/>
          <p:nvPr userDrawn="1"/>
        </p:nvSpPr>
        <p:spPr>
          <a:xfrm>
            <a:off x="1102036" y="4225711"/>
            <a:ext cx="713232" cy="338328"/>
          </a:xfrm>
          <a:prstGeom prst="rect">
            <a:avLst/>
          </a:prstGeom>
          <a:noFill/>
        </p:spPr>
        <p:txBody>
          <a:bodyPr wrap="square" lIns="0" rIns="0">
            <a:noAutofit/>
          </a:bodyPr>
          <a:lstStyle/>
          <a:p>
            <a:pPr algn="ctr"/>
            <a:r>
              <a:rPr lang="en-US" sz="800">
                <a:solidFill>
                  <a:schemeClr val="bg1"/>
                </a:solidFill>
              </a:rPr>
              <a:t>RPA infrastructure engineer</a:t>
            </a:r>
          </a:p>
        </p:txBody>
      </p:sp>
      <p:sp>
        <p:nvSpPr>
          <p:cNvPr id="49" name="TextBox 48">
            <a:extLst>
              <a:ext uri="{FF2B5EF4-FFF2-40B4-BE49-F238E27FC236}">
                <a16:creationId xmlns:a16="http://schemas.microsoft.com/office/drawing/2014/main" id="{B67306E7-458D-49A6-BBAC-933A18D63A55}"/>
              </a:ext>
            </a:extLst>
          </p:cNvPr>
          <p:cNvSpPr txBox="1"/>
          <p:nvPr userDrawn="1"/>
        </p:nvSpPr>
        <p:spPr>
          <a:xfrm>
            <a:off x="1816160" y="4225711"/>
            <a:ext cx="713232" cy="338328"/>
          </a:xfrm>
          <a:prstGeom prst="rect">
            <a:avLst/>
          </a:prstGeom>
          <a:noFill/>
        </p:spPr>
        <p:txBody>
          <a:bodyPr wrap="square" lIns="0" rIns="0">
            <a:noAutofit/>
          </a:bodyPr>
          <a:lstStyle/>
          <a:p>
            <a:pPr algn="ctr"/>
            <a:r>
              <a:rPr lang="en-US" sz="800">
                <a:solidFill>
                  <a:schemeClr val="bg1"/>
                </a:solidFill>
              </a:rPr>
              <a:t>RPA service support</a:t>
            </a:r>
          </a:p>
        </p:txBody>
      </p:sp>
      <p:sp>
        <p:nvSpPr>
          <p:cNvPr id="51" name="TextBox 50">
            <a:extLst>
              <a:ext uri="{FF2B5EF4-FFF2-40B4-BE49-F238E27FC236}">
                <a16:creationId xmlns:a16="http://schemas.microsoft.com/office/drawing/2014/main" id="{902D68D5-2AC1-4A82-9602-033F406E69FA}"/>
              </a:ext>
            </a:extLst>
          </p:cNvPr>
          <p:cNvSpPr txBox="1"/>
          <p:nvPr userDrawn="1"/>
        </p:nvSpPr>
        <p:spPr>
          <a:xfrm>
            <a:off x="2530284" y="4225711"/>
            <a:ext cx="713232" cy="338328"/>
          </a:xfrm>
          <a:prstGeom prst="rect">
            <a:avLst/>
          </a:prstGeom>
          <a:noFill/>
        </p:spPr>
        <p:txBody>
          <a:bodyPr wrap="square" lIns="0" rIns="0">
            <a:noAutofit/>
          </a:bodyPr>
          <a:lstStyle/>
          <a:p>
            <a:pPr algn="ctr"/>
            <a:r>
              <a:rPr lang="en-US" sz="800">
                <a:solidFill>
                  <a:schemeClr val="bg1"/>
                </a:solidFill>
              </a:rPr>
              <a:t>RPA solution architect</a:t>
            </a:r>
          </a:p>
        </p:txBody>
      </p:sp>
      <p:sp>
        <p:nvSpPr>
          <p:cNvPr id="53" name="TextBox 52">
            <a:extLst>
              <a:ext uri="{FF2B5EF4-FFF2-40B4-BE49-F238E27FC236}">
                <a16:creationId xmlns:a16="http://schemas.microsoft.com/office/drawing/2014/main" id="{5C82730C-D3AC-470F-A110-15092B022273}"/>
              </a:ext>
            </a:extLst>
          </p:cNvPr>
          <p:cNvSpPr txBox="1"/>
          <p:nvPr userDrawn="1"/>
        </p:nvSpPr>
        <p:spPr>
          <a:xfrm>
            <a:off x="3958532" y="4225711"/>
            <a:ext cx="713232" cy="338328"/>
          </a:xfrm>
          <a:prstGeom prst="rect">
            <a:avLst/>
          </a:prstGeom>
          <a:noFill/>
        </p:spPr>
        <p:txBody>
          <a:bodyPr wrap="square" lIns="0" rIns="0">
            <a:noAutofit/>
          </a:bodyPr>
          <a:lstStyle/>
          <a:p>
            <a:pPr algn="ctr"/>
            <a:r>
              <a:rPr lang="en-US" sz="800">
                <a:solidFill>
                  <a:schemeClr val="bg1"/>
                </a:solidFill>
              </a:rPr>
              <a:t>Satellite</a:t>
            </a:r>
          </a:p>
        </p:txBody>
      </p:sp>
      <p:sp>
        <p:nvSpPr>
          <p:cNvPr id="55" name="TextBox 54">
            <a:extLst>
              <a:ext uri="{FF2B5EF4-FFF2-40B4-BE49-F238E27FC236}">
                <a16:creationId xmlns:a16="http://schemas.microsoft.com/office/drawing/2014/main" id="{60C21AB4-BBA4-4650-A765-EA34F568644D}"/>
              </a:ext>
            </a:extLst>
          </p:cNvPr>
          <p:cNvSpPr txBox="1"/>
          <p:nvPr userDrawn="1"/>
        </p:nvSpPr>
        <p:spPr>
          <a:xfrm>
            <a:off x="8957400" y="4225711"/>
            <a:ext cx="713232" cy="338328"/>
          </a:xfrm>
          <a:prstGeom prst="rect">
            <a:avLst/>
          </a:prstGeom>
          <a:noFill/>
        </p:spPr>
        <p:txBody>
          <a:bodyPr wrap="square" lIns="0" rIns="0">
            <a:noAutofit/>
          </a:bodyPr>
          <a:lstStyle/>
          <a:p>
            <a:pPr algn="ctr"/>
            <a:r>
              <a:rPr lang="en-US" sz="800">
                <a:solidFill>
                  <a:schemeClr val="bg1"/>
                </a:solidFill>
              </a:rPr>
              <a:t>Share alt</a:t>
            </a:r>
          </a:p>
        </p:txBody>
      </p:sp>
      <p:sp>
        <p:nvSpPr>
          <p:cNvPr id="57" name="TextBox 56">
            <a:extLst>
              <a:ext uri="{FF2B5EF4-FFF2-40B4-BE49-F238E27FC236}">
                <a16:creationId xmlns:a16="http://schemas.microsoft.com/office/drawing/2014/main" id="{4C66B8EF-2125-451E-93D3-2428E1A7F8FF}"/>
              </a:ext>
            </a:extLst>
          </p:cNvPr>
          <p:cNvSpPr txBox="1"/>
          <p:nvPr userDrawn="1"/>
        </p:nvSpPr>
        <p:spPr>
          <a:xfrm>
            <a:off x="9671524" y="4225711"/>
            <a:ext cx="713232" cy="338328"/>
          </a:xfrm>
          <a:prstGeom prst="rect">
            <a:avLst/>
          </a:prstGeom>
          <a:noFill/>
        </p:spPr>
        <p:txBody>
          <a:bodyPr wrap="square" lIns="0" rIns="0">
            <a:noAutofit/>
          </a:bodyPr>
          <a:lstStyle/>
          <a:p>
            <a:pPr algn="ctr"/>
            <a:r>
              <a:rPr lang="en-US" sz="800">
                <a:solidFill>
                  <a:schemeClr val="bg1"/>
                </a:solidFill>
              </a:rPr>
              <a:t>Slideshow</a:t>
            </a:r>
          </a:p>
        </p:txBody>
      </p:sp>
      <p:sp>
        <p:nvSpPr>
          <p:cNvPr id="59" name="TextBox 58">
            <a:extLst>
              <a:ext uri="{FF2B5EF4-FFF2-40B4-BE49-F238E27FC236}">
                <a16:creationId xmlns:a16="http://schemas.microsoft.com/office/drawing/2014/main" id="{A0D34C36-2B96-493B-907C-B046F9B9E221}"/>
              </a:ext>
            </a:extLst>
          </p:cNvPr>
          <p:cNvSpPr txBox="1"/>
          <p:nvPr userDrawn="1"/>
        </p:nvSpPr>
        <p:spPr>
          <a:xfrm>
            <a:off x="4672656" y="4225711"/>
            <a:ext cx="713232" cy="338328"/>
          </a:xfrm>
          <a:prstGeom prst="rect">
            <a:avLst/>
          </a:prstGeom>
          <a:noFill/>
        </p:spPr>
        <p:txBody>
          <a:bodyPr wrap="square" lIns="0" rIns="0">
            <a:noAutofit/>
          </a:bodyPr>
          <a:lstStyle/>
          <a:p>
            <a:pPr algn="ctr"/>
            <a:r>
              <a:rPr lang="en-US" sz="800">
                <a:solidFill>
                  <a:schemeClr val="bg1"/>
                </a:solidFill>
              </a:rPr>
              <a:t>Seamless integration</a:t>
            </a:r>
          </a:p>
        </p:txBody>
      </p:sp>
      <p:sp>
        <p:nvSpPr>
          <p:cNvPr id="61" name="TextBox 60">
            <a:extLst>
              <a:ext uri="{FF2B5EF4-FFF2-40B4-BE49-F238E27FC236}">
                <a16:creationId xmlns:a16="http://schemas.microsoft.com/office/drawing/2014/main" id="{C4A80DA5-9586-4261-85DB-E9EC4412ABE8}"/>
              </a:ext>
            </a:extLst>
          </p:cNvPr>
          <p:cNvSpPr txBox="1"/>
          <p:nvPr userDrawn="1"/>
        </p:nvSpPr>
        <p:spPr>
          <a:xfrm>
            <a:off x="5386780" y="4225711"/>
            <a:ext cx="713232" cy="338328"/>
          </a:xfrm>
          <a:prstGeom prst="rect">
            <a:avLst/>
          </a:prstGeom>
          <a:noFill/>
        </p:spPr>
        <p:txBody>
          <a:bodyPr wrap="square" lIns="0" rIns="0">
            <a:noAutofit/>
          </a:bodyPr>
          <a:lstStyle/>
          <a:p>
            <a:pPr algn="ctr"/>
            <a:r>
              <a:rPr lang="en-US" sz="800">
                <a:solidFill>
                  <a:schemeClr val="bg1"/>
                </a:solidFill>
              </a:rPr>
              <a:t>Seamless integration alt</a:t>
            </a:r>
          </a:p>
        </p:txBody>
      </p:sp>
      <p:sp>
        <p:nvSpPr>
          <p:cNvPr id="63" name="TextBox 62">
            <a:extLst>
              <a:ext uri="{FF2B5EF4-FFF2-40B4-BE49-F238E27FC236}">
                <a16:creationId xmlns:a16="http://schemas.microsoft.com/office/drawing/2014/main" id="{4DA54841-3694-4B44-B428-0294041F5CCC}"/>
              </a:ext>
            </a:extLst>
          </p:cNvPr>
          <p:cNvSpPr txBox="1"/>
          <p:nvPr userDrawn="1"/>
        </p:nvSpPr>
        <p:spPr>
          <a:xfrm>
            <a:off x="6100904" y="4225711"/>
            <a:ext cx="713232" cy="338328"/>
          </a:xfrm>
          <a:prstGeom prst="rect">
            <a:avLst/>
          </a:prstGeom>
          <a:noFill/>
        </p:spPr>
        <p:txBody>
          <a:bodyPr wrap="square" lIns="0" rIns="0">
            <a:noAutofit/>
          </a:bodyPr>
          <a:lstStyle/>
          <a:p>
            <a:pPr algn="ctr"/>
            <a:r>
              <a:rPr lang="en-US" sz="800">
                <a:solidFill>
                  <a:schemeClr val="bg1"/>
                </a:solidFill>
              </a:rPr>
              <a:t>Search</a:t>
            </a:r>
          </a:p>
        </p:txBody>
      </p:sp>
      <p:sp>
        <p:nvSpPr>
          <p:cNvPr id="64" name="TextBox 63">
            <a:extLst>
              <a:ext uri="{FF2B5EF4-FFF2-40B4-BE49-F238E27FC236}">
                <a16:creationId xmlns:a16="http://schemas.microsoft.com/office/drawing/2014/main" id="{A8A21B57-3B9D-44D8-B259-EE052856F6A1}"/>
              </a:ext>
            </a:extLst>
          </p:cNvPr>
          <p:cNvSpPr txBox="1"/>
          <p:nvPr userDrawn="1"/>
        </p:nvSpPr>
        <p:spPr>
          <a:xfrm>
            <a:off x="6815028" y="4225711"/>
            <a:ext cx="713232" cy="338328"/>
          </a:xfrm>
          <a:prstGeom prst="rect">
            <a:avLst/>
          </a:prstGeom>
          <a:noFill/>
        </p:spPr>
        <p:txBody>
          <a:bodyPr wrap="square" lIns="0" rIns="0">
            <a:noAutofit/>
          </a:bodyPr>
          <a:lstStyle/>
          <a:p>
            <a:pPr algn="ctr"/>
            <a:r>
              <a:rPr lang="en-US" sz="800">
                <a:solidFill>
                  <a:schemeClr val="bg1"/>
                </a:solidFill>
              </a:rPr>
              <a:t>Secure </a:t>
            </a:r>
          </a:p>
          <a:p>
            <a:pPr algn="ctr"/>
            <a:r>
              <a:rPr lang="en-US" sz="800">
                <a:solidFill>
                  <a:schemeClr val="bg1"/>
                </a:solidFill>
              </a:rPr>
              <a:t>team collab</a:t>
            </a:r>
          </a:p>
        </p:txBody>
      </p:sp>
      <p:sp>
        <p:nvSpPr>
          <p:cNvPr id="65" name="TextBox 64">
            <a:extLst>
              <a:ext uri="{FF2B5EF4-FFF2-40B4-BE49-F238E27FC236}">
                <a16:creationId xmlns:a16="http://schemas.microsoft.com/office/drawing/2014/main" id="{46D658C5-DE66-49A9-9D7C-A9F26F42106D}"/>
              </a:ext>
            </a:extLst>
          </p:cNvPr>
          <p:cNvSpPr txBox="1"/>
          <p:nvPr userDrawn="1"/>
        </p:nvSpPr>
        <p:spPr>
          <a:xfrm>
            <a:off x="7529152" y="4225711"/>
            <a:ext cx="713232" cy="338328"/>
          </a:xfrm>
          <a:prstGeom prst="rect">
            <a:avLst/>
          </a:prstGeom>
          <a:noFill/>
        </p:spPr>
        <p:txBody>
          <a:bodyPr wrap="square" lIns="0" rIns="0">
            <a:noAutofit/>
          </a:bodyPr>
          <a:lstStyle/>
          <a:p>
            <a:pPr algn="ctr"/>
            <a:r>
              <a:rPr lang="en-US" sz="800">
                <a:solidFill>
                  <a:schemeClr val="bg1"/>
                </a:solidFill>
              </a:rPr>
              <a:t>Security</a:t>
            </a:r>
          </a:p>
        </p:txBody>
      </p:sp>
      <p:sp>
        <p:nvSpPr>
          <p:cNvPr id="67" name="TextBox 66">
            <a:extLst>
              <a:ext uri="{FF2B5EF4-FFF2-40B4-BE49-F238E27FC236}">
                <a16:creationId xmlns:a16="http://schemas.microsoft.com/office/drawing/2014/main" id="{01B6F18E-B252-42FE-83DD-4A8621AE8EA1}"/>
              </a:ext>
            </a:extLst>
          </p:cNvPr>
          <p:cNvSpPr txBox="1"/>
          <p:nvPr userDrawn="1"/>
        </p:nvSpPr>
        <p:spPr>
          <a:xfrm>
            <a:off x="8243276" y="4225711"/>
            <a:ext cx="713232" cy="338328"/>
          </a:xfrm>
          <a:prstGeom prst="rect">
            <a:avLst/>
          </a:prstGeom>
          <a:noFill/>
        </p:spPr>
        <p:txBody>
          <a:bodyPr wrap="square" lIns="0" rIns="0">
            <a:noAutofit/>
          </a:bodyPr>
          <a:lstStyle/>
          <a:p>
            <a:pPr algn="ctr"/>
            <a:r>
              <a:rPr lang="en-US" sz="800">
                <a:solidFill>
                  <a:schemeClr val="bg1"/>
                </a:solidFill>
              </a:rPr>
              <a:t>Share</a:t>
            </a:r>
          </a:p>
        </p:txBody>
      </p:sp>
      <p:sp>
        <p:nvSpPr>
          <p:cNvPr id="69" name="TextBox 68">
            <a:extLst>
              <a:ext uri="{FF2B5EF4-FFF2-40B4-BE49-F238E27FC236}">
                <a16:creationId xmlns:a16="http://schemas.microsoft.com/office/drawing/2014/main" id="{7B8A564C-73A6-4E1B-B0B2-E60A3875B23A}"/>
              </a:ext>
            </a:extLst>
          </p:cNvPr>
          <p:cNvSpPr txBox="1"/>
          <p:nvPr userDrawn="1"/>
        </p:nvSpPr>
        <p:spPr>
          <a:xfrm>
            <a:off x="10385648" y="4225711"/>
            <a:ext cx="713232" cy="338328"/>
          </a:xfrm>
          <a:prstGeom prst="rect">
            <a:avLst/>
          </a:prstGeom>
          <a:noFill/>
        </p:spPr>
        <p:txBody>
          <a:bodyPr wrap="square" lIns="0" rIns="0">
            <a:noAutofit/>
          </a:bodyPr>
          <a:lstStyle/>
          <a:p>
            <a:pPr algn="ctr"/>
            <a:r>
              <a:rPr lang="en-US" sz="800">
                <a:solidFill>
                  <a:schemeClr val="bg1"/>
                </a:solidFill>
              </a:rPr>
              <a:t>Solutions</a:t>
            </a:r>
          </a:p>
        </p:txBody>
      </p:sp>
      <p:sp>
        <p:nvSpPr>
          <p:cNvPr id="71" name="TextBox 70">
            <a:extLst>
              <a:ext uri="{FF2B5EF4-FFF2-40B4-BE49-F238E27FC236}">
                <a16:creationId xmlns:a16="http://schemas.microsoft.com/office/drawing/2014/main" id="{23322788-B0E8-4810-9F85-099E03294B34}"/>
              </a:ext>
            </a:extLst>
          </p:cNvPr>
          <p:cNvSpPr txBox="1"/>
          <p:nvPr userDrawn="1"/>
        </p:nvSpPr>
        <p:spPr>
          <a:xfrm>
            <a:off x="3244408" y="4225711"/>
            <a:ext cx="713232" cy="338328"/>
          </a:xfrm>
          <a:prstGeom prst="rect">
            <a:avLst/>
          </a:prstGeom>
          <a:noFill/>
        </p:spPr>
        <p:txBody>
          <a:bodyPr wrap="square" lIns="0" rIns="0">
            <a:noAutofit/>
          </a:bodyPr>
          <a:lstStyle/>
          <a:p>
            <a:pPr algn="ctr"/>
            <a:r>
              <a:rPr lang="en-US" sz="800">
                <a:solidFill>
                  <a:schemeClr val="bg1"/>
                </a:solidFill>
              </a:rPr>
              <a:t>RPA </a:t>
            </a:r>
          </a:p>
          <a:p>
            <a:pPr algn="ctr"/>
            <a:r>
              <a:rPr lang="en-US" sz="800">
                <a:solidFill>
                  <a:schemeClr val="bg1"/>
                </a:solidFill>
              </a:rPr>
              <a:t>sponsor</a:t>
            </a:r>
          </a:p>
        </p:txBody>
      </p:sp>
      <p:sp>
        <p:nvSpPr>
          <p:cNvPr id="73" name="TextBox 72">
            <a:extLst>
              <a:ext uri="{FF2B5EF4-FFF2-40B4-BE49-F238E27FC236}">
                <a16:creationId xmlns:a16="http://schemas.microsoft.com/office/drawing/2014/main" id="{D520B1DC-9673-453D-809A-04551CAA7DEB}"/>
              </a:ext>
            </a:extLst>
          </p:cNvPr>
          <p:cNvSpPr txBox="1"/>
          <p:nvPr userDrawn="1"/>
        </p:nvSpPr>
        <p:spPr>
          <a:xfrm>
            <a:off x="11099777" y="5048729"/>
            <a:ext cx="713232" cy="338328"/>
          </a:xfrm>
          <a:prstGeom prst="rect">
            <a:avLst/>
          </a:prstGeom>
          <a:noFill/>
        </p:spPr>
        <p:txBody>
          <a:bodyPr wrap="square" lIns="0" rIns="0">
            <a:noAutofit/>
          </a:bodyPr>
          <a:lstStyle/>
          <a:p>
            <a:pPr algn="ctr"/>
            <a:r>
              <a:rPr lang="en-US" sz="800">
                <a:solidFill>
                  <a:schemeClr val="bg1"/>
                </a:solidFill>
              </a:rPr>
              <a:t>Thank you</a:t>
            </a:r>
          </a:p>
        </p:txBody>
      </p:sp>
      <p:sp>
        <p:nvSpPr>
          <p:cNvPr id="75" name="TextBox 74">
            <a:extLst>
              <a:ext uri="{FF2B5EF4-FFF2-40B4-BE49-F238E27FC236}">
                <a16:creationId xmlns:a16="http://schemas.microsoft.com/office/drawing/2014/main" id="{560E4F95-46A1-4C63-B40C-8AF6F785075E}"/>
              </a:ext>
            </a:extLst>
          </p:cNvPr>
          <p:cNvSpPr txBox="1"/>
          <p:nvPr userDrawn="1"/>
        </p:nvSpPr>
        <p:spPr>
          <a:xfrm>
            <a:off x="387912" y="5048729"/>
            <a:ext cx="713232" cy="338328"/>
          </a:xfrm>
          <a:prstGeom prst="rect">
            <a:avLst/>
          </a:prstGeom>
          <a:noFill/>
        </p:spPr>
        <p:txBody>
          <a:bodyPr wrap="square" lIns="0" rIns="0">
            <a:noAutofit/>
          </a:bodyPr>
          <a:lstStyle/>
          <a:p>
            <a:pPr algn="ctr"/>
            <a:r>
              <a:rPr lang="en-US" sz="800">
                <a:solidFill>
                  <a:schemeClr val="bg1"/>
                </a:solidFill>
              </a:rPr>
              <a:t>Solutions alt</a:t>
            </a:r>
          </a:p>
        </p:txBody>
      </p:sp>
      <p:sp>
        <p:nvSpPr>
          <p:cNvPr id="77" name="TextBox 76">
            <a:extLst>
              <a:ext uri="{FF2B5EF4-FFF2-40B4-BE49-F238E27FC236}">
                <a16:creationId xmlns:a16="http://schemas.microsoft.com/office/drawing/2014/main" id="{F1584057-2144-400C-A3FB-CFF6BD8D7D8F}"/>
              </a:ext>
            </a:extLst>
          </p:cNvPr>
          <p:cNvSpPr txBox="1"/>
          <p:nvPr userDrawn="1"/>
        </p:nvSpPr>
        <p:spPr>
          <a:xfrm>
            <a:off x="1102036" y="5048729"/>
            <a:ext cx="713232" cy="338328"/>
          </a:xfrm>
          <a:prstGeom prst="rect">
            <a:avLst/>
          </a:prstGeom>
          <a:noFill/>
        </p:spPr>
        <p:txBody>
          <a:bodyPr wrap="square" lIns="0" rIns="0">
            <a:noAutofit/>
          </a:bodyPr>
          <a:lstStyle/>
          <a:p>
            <a:pPr algn="ctr"/>
            <a:r>
              <a:rPr lang="en-US" sz="800">
                <a:solidFill>
                  <a:schemeClr val="bg1"/>
                </a:solidFill>
              </a:rPr>
              <a:t>Speed</a:t>
            </a:r>
          </a:p>
        </p:txBody>
      </p:sp>
      <p:sp>
        <p:nvSpPr>
          <p:cNvPr id="79" name="TextBox 78">
            <a:extLst>
              <a:ext uri="{FF2B5EF4-FFF2-40B4-BE49-F238E27FC236}">
                <a16:creationId xmlns:a16="http://schemas.microsoft.com/office/drawing/2014/main" id="{7D991B7F-E7B6-4245-8A0B-1A4B6AD8287C}"/>
              </a:ext>
            </a:extLst>
          </p:cNvPr>
          <p:cNvSpPr txBox="1"/>
          <p:nvPr userDrawn="1"/>
        </p:nvSpPr>
        <p:spPr>
          <a:xfrm>
            <a:off x="1816160" y="5048729"/>
            <a:ext cx="713232" cy="338328"/>
          </a:xfrm>
          <a:prstGeom prst="rect">
            <a:avLst/>
          </a:prstGeom>
          <a:noFill/>
        </p:spPr>
        <p:txBody>
          <a:bodyPr wrap="square" lIns="0" rIns="0">
            <a:noAutofit/>
          </a:bodyPr>
          <a:lstStyle/>
          <a:p>
            <a:pPr algn="ctr"/>
            <a:r>
              <a:rPr lang="en-US" sz="800">
                <a:solidFill>
                  <a:schemeClr val="bg1"/>
                </a:solidFill>
              </a:rPr>
              <a:t>Stopwatch</a:t>
            </a:r>
          </a:p>
        </p:txBody>
      </p:sp>
      <p:sp>
        <p:nvSpPr>
          <p:cNvPr id="81" name="TextBox 80">
            <a:extLst>
              <a:ext uri="{FF2B5EF4-FFF2-40B4-BE49-F238E27FC236}">
                <a16:creationId xmlns:a16="http://schemas.microsoft.com/office/drawing/2014/main" id="{4AB04152-1628-4906-95CB-5201FFDED5AA}"/>
              </a:ext>
            </a:extLst>
          </p:cNvPr>
          <p:cNvSpPr txBox="1"/>
          <p:nvPr userDrawn="1"/>
        </p:nvSpPr>
        <p:spPr>
          <a:xfrm>
            <a:off x="2530284" y="5048729"/>
            <a:ext cx="713232" cy="338328"/>
          </a:xfrm>
          <a:prstGeom prst="rect">
            <a:avLst/>
          </a:prstGeom>
          <a:noFill/>
        </p:spPr>
        <p:txBody>
          <a:bodyPr wrap="square" lIns="0" rIns="0">
            <a:noAutofit/>
          </a:bodyPr>
          <a:lstStyle/>
          <a:p>
            <a:pPr algn="ctr"/>
            <a:r>
              <a:rPr lang="en-US" sz="800">
                <a:solidFill>
                  <a:schemeClr val="bg1"/>
                </a:solidFill>
              </a:rPr>
              <a:t>Stories</a:t>
            </a:r>
          </a:p>
        </p:txBody>
      </p:sp>
      <p:sp>
        <p:nvSpPr>
          <p:cNvPr id="83" name="TextBox 82">
            <a:extLst>
              <a:ext uri="{FF2B5EF4-FFF2-40B4-BE49-F238E27FC236}">
                <a16:creationId xmlns:a16="http://schemas.microsoft.com/office/drawing/2014/main" id="{3345DEDE-57AC-4564-88E4-728209D4D688}"/>
              </a:ext>
            </a:extLst>
          </p:cNvPr>
          <p:cNvSpPr txBox="1"/>
          <p:nvPr userDrawn="1"/>
        </p:nvSpPr>
        <p:spPr>
          <a:xfrm>
            <a:off x="3958532" y="5048729"/>
            <a:ext cx="713232" cy="338328"/>
          </a:xfrm>
          <a:prstGeom prst="rect">
            <a:avLst/>
          </a:prstGeom>
          <a:noFill/>
        </p:spPr>
        <p:txBody>
          <a:bodyPr wrap="square" lIns="0" rIns="0">
            <a:noAutofit/>
          </a:bodyPr>
          <a:lstStyle/>
          <a:p>
            <a:pPr algn="ctr"/>
            <a:r>
              <a:rPr lang="en-US" sz="800">
                <a:solidFill>
                  <a:schemeClr val="bg1"/>
                </a:solidFill>
              </a:rPr>
              <a:t>Success</a:t>
            </a:r>
          </a:p>
        </p:txBody>
      </p:sp>
      <p:sp>
        <p:nvSpPr>
          <p:cNvPr id="85" name="TextBox 84">
            <a:extLst>
              <a:ext uri="{FF2B5EF4-FFF2-40B4-BE49-F238E27FC236}">
                <a16:creationId xmlns:a16="http://schemas.microsoft.com/office/drawing/2014/main" id="{F99FC8D3-31C6-4006-BDED-1A10165E69BB}"/>
              </a:ext>
            </a:extLst>
          </p:cNvPr>
          <p:cNvSpPr txBox="1"/>
          <p:nvPr userDrawn="1"/>
        </p:nvSpPr>
        <p:spPr>
          <a:xfrm>
            <a:off x="8957400"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2</a:t>
            </a:r>
          </a:p>
        </p:txBody>
      </p:sp>
      <p:sp>
        <p:nvSpPr>
          <p:cNvPr id="87" name="TextBox 86">
            <a:extLst>
              <a:ext uri="{FF2B5EF4-FFF2-40B4-BE49-F238E27FC236}">
                <a16:creationId xmlns:a16="http://schemas.microsoft.com/office/drawing/2014/main" id="{0EB8FC8D-0A79-4319-9261-CD36B4ABB97D}"/>
              </a:ext>
            </a:extLst>
          </p:cNvPr>
          <p:cNvSpPr txBox="1"/>
          <p:nvPr userDrawn="1"/>
        </p:nvSpPr>
        <p:spPr>
          <a:xfrm>
            <a:off x="9671524" y="5048729"/>
            <a:ext cx="713232" cy="338328"/>
          </a:xfrm>
          <a:prstGeom prst="rect">
            <a:avLst/>
          </a:prstGeom>
          <a:noFill/>
        </p:spPr>
        <p:txBody>
          <a:bodyPr wrap="square" lIns="0" rIns="0">
            <a:noAutofit/>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800">
                <a:solidFill>
                  <a:schemeClr val="bg1"/>
                </a:solidFill>
              </a:rPr>
              <a:t>Technology</a:t>
            </a:r>
          </a:p>
          <a:p>
            <a:pPr algn="ctr"/>
            <a:r>
              <a:rPr lang="en-US" sz="800">
                <a:solidFill>
                  <a:schemeClr val="bg1"/>
                </a:solidFill>
              </a:rPr>
              <a:t>alt 3</a:t>
            </a:r>
          </a:p>
        </p:txBody>
      </p:sp>
      <p:sp>
        <p:nvSpPr>
          <p:cNvPr id="89" name="TextBox 88">
            <a:extLst>
              <a:ext uri="{FF2B5EF4-FFF2-40B4-BE49-F238E27FC236}">
                <a16:creationId xmlns:a16="http://schemas.microsoft.com/office/drawing/2014/main" id="{16B83C2F-B73D-4004-8DC2-17B0D1C49484}"/>
              </a:ext>
            </a:extLst>
          </p:cNvPr>
          <p:cNvSpPr txBox="1"/>
          <p:nvPr userDrawn="1"/>
        </p:nvSpPr>
        <p:spPr>
          <a:xfrm>
            <a:off x="4672656" y="5048729"/>
            <a:ext cx="713232" cy="338328"/>
          </a:xfrm>
          <a:prstGeom prst="rect">
            <a:avLst/>
          </a:prstGeom>
          <a:noFill/>
        </p:spPr>
        <p:txBody>
          <a:bodyPr wrap="square" lIns="0" rIns="0">
            <a:noAutofit/>
          </a:bodyPr>
          <a:lstStyle/>
          <a:p>
            <a:pPr algn="ctr"/>
            <a:r>
              <a:rPr lang="en-US" sz="800">
                <a:solidFill>
                  <a:schemeClr val="bg1"/>
                </a:solidFill>
              </a:rPr>
              <a:t>Support</a:t>
            </a:r>
          </a:p>
        </p:txBody>
      </p:sp>
      <p:sp>
        <p:nvSpPr>
          <p:cNvPr id="91" name="TextBox 90">
            <a:extLst>
              <a:ext uri="{FF2B5EF4-FFF2-40B4-BE49-F238E27FC236}">
                <a16:creationId xmlns:a16="http://schemas.microsoft.com/office/drawing/2014/main" id="{30196A34-1DAA-4E1C-BBDB-E2F5837A315D}"/>
              </a:ext>
            </a:extLst>
          </p:cNvPr>
          <p:cNvSpPr txBox="1"/>
          <p:nvPr userDrawn="1"/>
        </p:nvSpPr>
        <p:spPr>
          <a:xfrm>
            <a:off x="5386780" y="5048729"/>
            <a:ext cx="713232" cy="338328"/>
          </a:xfrm>
          <a:prstGeom prst="rect">
            <a:avLst/>
          </a:prstGeom>
          <a:noFill/>
        </p:spPr>
        <p:txBody>
          <a:bodyPr wrap="square" lIns="0" rIns="0">
            <a:noAutofit/>
          </a:bodyPr>
          <a:lstStyle/>
          <a:p>
            <a:pPr algn="ctr"/>
            <a:r>
              <a:rPr lang="en-US" sz="800">
                <a:solidFill>
                  <a:schemeClr val="bg1"/>
                </a:solidFill>
              </a:rPr>
              <a:t>Survey</a:t>
            </a:r>
          </a:p>
        </p:txBody>
      </p:sp>
      <p:sp>
        <p:nvSpPr>
          <p:cNvPr id="93" name="TextBox 92">
            <a:extLst>
              <a:ext uri="{FF2B5EF4-FFF2-40B4-BE49-F238E27FC236}">
                <a16:creationId xmlns:a16="http://schemas.microsoft.com/office/drawing/2014/main" id="{0C514B26-407F-4715-BFD2-7CDDED791699}"/>
              </a:ext>
            </a:extLst>
          </p:cNvPr>
          <p:cNvSpPr txBox="1"/>
          <p:nvPr userDrawn="1"/>
        </p:nvSpPr>
        <p:spPr>
          <a:xfrm>
            <a:off x="6100904" y="5048729"/>
            <a:ext cx="713232" cy="338328"/>
          </a:xfrm>
          <a:prstGeom prst="rect">
            <a:avLst/>
          </a:prstGeom>
          <a:noFill/>
        </p:spPr>
        <p:txBody>
          <a:bodyPr wrap="square" lIns="0" rIns="0">
            <a:noAutofit/>
          </a:bodyPr>
          <a:lstStyle/>
          <a:p>
            <a:pPr algn="ctr"/>
            <a:r>
              <a:rPr lang="en-US" sz="800">
                <a:solidFill>
                  <a:schemeClr val="bg1"/>
                </a:solidFill>
              </a:rPr>
              <a:t>Tap Touch</a:t>
            </a:r>
          </a:p>
        </p:txBody>
      </p:sp>
      <p:sp>
        <p:nvSpPr>
          <p:cNvPr id="95" name="TextBox 94">
            <a:extLst>
              <a:ext uri="{FF2B5EF4-FFF2-40B4-BE49-F238E27FC236}">
                <a16:creationId xmlns:a16="http://schemas.microsoft.com/office/drawing/2014/main" id="{D95D0E53-FB20-4E57-B9AE-D44137D79D2C}"/>
              </a:ext>
            </a:extLst>
          </p:cNvPr>
          <p:cNvSpPr txBox="1"/>
          <p:nvPr userDrawn="1"/>
        </p:nvSpPr>
        <p:spPr>
          <a:xfrm>
            <a:off x="6815028" y="5048729"/>
            <a:ext cx="713232" cy="338328"/>
          </a:xfrm>
          <a:prstGeom prst="rect">
            <a:avLst/>
          </a:prstGeom>
          <a:noFill/>
        </p:spPr>
        <p:txBody>
          <a:bodyPr wrap="square" lIns="0" rIns="0">
            <a:noAutofit/>
          </a:bodyPr>
          <a:lstStyle/>
          <a:p>
            <a:pPr algn="ctr"/>
            <a:r>
              <a:rPr lang="en-US" sz="800">
                <a:solidFill>
                  <a:schemeClr val="bg1"/>
                </a:solidFill>
              </a:rPr>
              <a:t>Target</a:t>
            </a:r>
          </a:p>
        </p:txBody>
      </p:sp>
      <p:sp>
        <p:nvSpPr>
          <p:cNvPr id="97" name="TextBox 96">
            <a:extLst>
              <a:ext uri="{FF2B5EF4-FFF2-40B4-BE49-F238E27FC236}">
                <a16:creationId xmlns:a16="http://schemas.microsoft.com/office/drawing/2014/main" id="{512526B0-C75B-49BD-A318-2D3A5990D94A}"/>
              </a:ext>
            </a:extLst>
          </p:cNvPr>
          <p:cNvSpPr txBox="1"/>
          <p:nvPr userDrawn="1"/>
        </p:nvSpPr>
        <p:spPr>
          <a:xfrm>
            <a:off x="7529152" y="5048729"/>
            <a:ext cx="713232" cy="338328"/>
          </a:xfrm>
          <a:prstGeom prst="rect">
            <a:avLst/>
          </a:prstGeom>
          <a:noFill/>
        </p:spPr>
        <p:txBody>
          <a:bodyPr wrap="square" lIns="0" rIns="0">
            <a:noAutofit/>
          </a:bodyPr>
          <a:lstStyle/>
          <a:p>
            <a:pPr algn="ctr"/>
            <a:r>
              <a:rPr lang="en-US" sz="800">
                <a:solidFill>
                  <a:schemeClr val="bg1"/>
                </a:solidFill>
              </a:rPr>
              <a:t>Technology</a:t>
            </a:r>
          </a:p>
        </p:txBody>
      </p:sp>
      <p:sp>
        <p:nvSpPr>
          <p:cNvPr id="132" name="TextBox 131">
            <a:extLst>
              <a:ext uri="{FF2B5EF4-FFF2-40B4-BE49-F238E27FC236}">
                <a16:creationId xmlns:a16="http://schemas.microsoft.com/office/drawing/2014/main" id="{3E6A5E6B-F338-4C46-AF63-8A5DF28B0486}"/>
              </a:ext>
            </a:extLst>
          </p:cNvPr>
          <p:cNvSpPr txBox="1"/>
          <p:nvPr userDrawn="1"/>
        </p:nvSpPr>
        <p:spPr>
          <a:xfrm>
            <a:off x="8243276" y="5048729"/>
            <a:ext cx="713232" cy="338328"/>
          </a:xfrm>
          <a:prstGeom prst="rect">
            <a:avLst/>
          </a:prstGeom>
          <a:noFill/>
        </p:spPr>
        <p:txBody>
          <a:bodyPr wrap="square" lIns="0" rIns="0">
            <a:noAutofit/>
          </a:bodyPr>
          <a:lstStyle/>
          <a:p>
            <a:pPr algn="ctr"/>
            <a:r>
              <a:rPr lang="en-US" sz="800">
                <a:solidFill>
                  <a:schemeClr val="bg1"/>
                </a:solidFill>
              </a:rPr>
              <a:t>Technology </a:t>
            </a:r>
          </a:p>
          <a:p>
            <a:pPr algn="ctr"/>
            <a:r>
              <a:rPr lang="en-US" sz="800">
                <a:solidFill>
                  <a:schemeClr val="bg1"/>
                </a:solidFill>
              </a:rPr>
              <a:t>alt</a:t>
            </a:r>
          </a:p>
        </p:txBody>
      </p:sp>
      <p:sp>
        <p:nvSpPr>
          <p:cNvPr id="134" name="TextBox 133">
            <a:extLst>
              <a:ext uri="{FF2B5EF4-FFF2-40B4-BE49-F238E27FC236}">
                <a16:creationId xmlns:a16="http://schemas.microsoft.com/office/drawing/2014/main" id="{0DCCDCF5-E8D7-4E41-BEC8-0334D020EFFA}"/>
              </a:ext>
            </a:extLst>
          </p:cNvPr>
          <p:cNvSpPr txBox="1"/>
          <p:nvPr userDrawn="1"/>
        </p:nvSpPr>
        <p:spPr>
          <a:xfrm>
            <a:off x="10385648" y="5048729"/>
            <a:ext cx="713232" cy="338328"/>
          </a:xfrm>
          <a:prstGeom prst="rect">
            <a:avLst/>
          </a:prstGeom>
          <a:noFill/>
        </p:spPr>
        <p:txBody>
          <a:bodyPr wrap="square" lIns="0" rIns="0">
            <a:noAutofit/>
          </a:bodyPr>
          <a:lstStyle/>
          <a:p>
            <a:pPr algn="ctr"/>
            <a:r>
              <a:rPr lang="en-US" sz="800">
                <a:solidFill>
                  <a:schemeClr val="bg1"/>
                </a:solidFill>
              </a:rPr>
              <a:t>Tent</a:t>
            </a:r>
          </a:p>
        </p:txBody>
      </p:sp>
      <p:sp>
        <p:nvSpPr>
          <p:cNvPr id="136" name="TextBox 135">
            <a:extLst>
              <a:ext uri="{FF2B5EF4-FFF2-40B4-BE49-F238E27FC236}">
                <a16:creationId xmlns:a16="http://schemas.microsoft.com/office/drawing/2014/main" id="{21BFBAFB-C564-42F2-B053-F6DCF22C9194}"/>
              </a:ext>
            </a:extLst>
          </p:cNvPr>
          <p:cNvSpPr txBox="1"/>
          <p:nvPr userDrawn="1"/>
        </p:nvSpPr>
        <p:spPr>
          <a:xfrm>
            <a:off x="3244408" y="5048729"/>
            <a:ext cx="713232" cy="338328"/>
          </a:xfrm>
          <a:prstGeom prst="rect">
            <a:avLst/>
          </a:prstGeom>
          <a:noFill/>
        </p:spPr>
        <p:txBody>
          <a:bodyPr wrap="square" lIns="0" rIns="0">
            <a:noAutofit/>
          </a:bodyPr>
          <a:lstStyle/>
          <a:p>
            <a:pPr algn="ctr"/>
            <a:r>
              <a:rPr lang="en-US" sz="800">
                <a:solidFill>
                  <a:schemeClr val="bg1"/>
                </a:solidFill>
              </a:rPr>
              <a:t>Student</a:t>
            </a:r>
          </a:p>
        </p:txBody>
      </p:sp>
      <p:sp>
        <p:nvSpPr>
          <p:cNvPr id="138" name="TextBox 137">
            <a:extLst>
              <a:ext uri="{FF2B5EF4-FFF2-40B4-BE49-F238E27FC236}">
                <a16:creationId xmlns:a16="http://schemas.microsoft.com/office/drawing/2014/main" id="{1CBE3880-04C9-47AE-8296-7D814D2476F0}"/>
              </a:ext>
            </a:extLst>
          </p:cNvPr>
          <p:cNvSpPr txBox="1"/>
          <p:nvPr userDrawn="1"/>
        </p:nvSpPr>
        <p:spPr>
          <a:xfrm>
            <a:off x="387912" y="5871746"/>
            <a:ext cx="713232" cy="338328"/>
          </a:xfrm>
          <a:prstGeom prst="rect">
            <a:avLst/>
          </a:prstGeom>
          <a:noFill/>
        </p:spPr>
        <p:txBody>
          <a:bodyPr wrap="square" lIns="0" rIns="0">
            <a:noAutofit/>
          </a:bodyPr>
          <a:lstStyle/>
          <a:p>
            <a:pPr algn="ctr"/>
            <a:r>
              <a:rPr lang="en-US" sz="800">
                <a:solidFill>
                  <a:schemeClr val="bg1"/>
                </a:solidFill>
              </a:rPr>
              <a:t>Time saver</a:t>
            </a:r>
          </a:p>
        </p:txBody>
      </p:sp>
      <p:sp>
        <p:nvSpPr>
          <p:cNvPr id="140" name="TextBox 139">
            <a:extLst>
              <a:ext uri="{FF2B5EF4-FFF2-40B4-BE49-F238E27FC236}">
                <a16:creationId xmlns:a16="http://schemas.microsoft.com/office/drawing/2014/main" id="{AEADC09C-0D4F-41A1-938E-4BA5DD932790}"/>
              </a:ext>
            </a:extLst>
          </p:cNvPr>
          <p:cNvSpPr txBox="1"/>
          <p:nvPr userDrawn="1"/>
        </p:nvSpPr>
        <p:spPr>
          <a:xfrm>
            <a:off x="1102963" y="5871746"/>
            <a:ext cx="713232" cy="338328"/>
          </a:xfrm>
          <a:prstGeom prst="rect">
            <a:avLst/>
          </a:prstGeom>
          <a:noFill/>
        </p:spPr>
        <p:txBody>
          <a:bodyPr wrap="square" lIns="0" rIns="0">
            <a:noAutofit/>
          </a:bodyPr>
          <a:lstStyle/>
          <a:p>
            <a:pPr algn="ctr"/>
            <a:r>
              <a:rPr lang="en-US" sz="800">
                <a:solidFill>
                  <a:schemeClr val="bg1"/>
                </a:solidFill>
              </a:rPr>
              <a:t>User</a:t>
            </a:r>
          </a:p>
        </p:txBody>
      </p:sp>
      <p:sp>
        <p:nvSpPr>
          <p:cNvPr id="142" name="TextBox 141">
            <a:extLst>
              <a:ext uri="{FF2B5EF4-FFF2-40B4-BE49-F238E27FC236}">
                <a16:creationId xmlns:a16="http://schemas.microsoft.com/office/drawing/2014/main" id="{C2BF9C2F-2C11-4BE5-9679-7ED3B905BD95}"/>
              </a:ext>
            </a:extLst>
          </p:cNvPr>
          <p:cNvSpPr txBox="1"/>
          <p:nvPr userDrawn="1"/>
        </p:nvSpPr>
        <p:spPr>
          <a:xfrm>
            <a:off x="1818014" y="5871746"/>
            <a:ext cx="713232" cy="338328"/>
          </a:xfrm>
          <a:prstGeom prst="rect">
            <a:avLst/>
          </a:prstGeom>
          <a:noFill/>
        </p:spPr>
        <p:txBody>
          <a:bodyPr wrap="square" lIns="0" rIns="0">
            <a:noAutofit/>
          </a:bodyPr>
          <a:lstStyle/>
          <a:p>
            <a:pPr algn="ctr"/>
            <a:r>
              <a:rPr lang="en-US" sz="800">
                <a:solidFill>
                  <a:schemeClr val="bg1"/>
                </a:solidFill>
              </a:rPr>
              <a:t>User-OTM</a:t>
            </a:r>
          </a:p>
        </p:txBody>
      </p:sp>
      <p:sp>
        <p:nvSpPr>
          <p:cNvPr id="144" name="TextBox 143">
            <a:extLst>
              <a:ext uri="{FF2B5EF4-FFF2-40B4-BE49-F238E27FC236}">
                <a16:creationId xmlns:a16="http://schemas.microsoft.com/office/drawing/2014/main" id="{A2CCD9FD-B36B-4E9A-9E86-5FA76D828702}"/>
              </a:ext>
            </a:extLst>
          </p:cNvPr>
          <p:cNvSpPr txBox="1"/>
          <p:nvPr userDrawn="1"/>
        </p:nvSpPr>
        <p:spPr>
          <a:xfrm>
            <a:off x="2533065" y="5871746"/>
            <a:ext cx="713232" cy="338328"/>
          </a:xfrm>
          <a:prstGeom prst="rect">
            <a:avLst/>
          </a:prstGeom>
          <a:noFill/>
        </p:spPr>
        <p:txBody>
          <a:bodyPr wrap="square" lIns="0" rIns="0">
            <a:noAutofit/>
          </a:bodyPr>
          <a:lstStyle/>
          <a:p>
            <a:pPr algn="ctr"/>
            <a:r>
              <a:rPr lang="en-US" sz="800">
                <a:solidFill>
                  <a:schemeClr val="bg1"/>
                </a:solidFill>
              </a:rPr>
              <a:t>Validate</a:t>
            </a:r>
          </a:p>
        </p:txBody>
      </p:sp>
      <p:sp>
        <p:nvSpPr>
          <p:cNvPr id="146" name="TextBox 145">
            <a:extLst>
              <a:ext uri="{FF2B5EF4-FFF2-40B4-BE49-F238E27FC236}">
                <a16:creationId xmlns:a16="http://schemas.microsoft.com/office/drawing/2014/main" id="{D27B6B10-EB62-41F8-A5E5-2132B65EF807}"/>
              </a:ext>
            </a:extLst>
          </p:cNvPr>
          <p:cNvSpPr txBox="1"/>
          <p:nvPr userDrawn="1"/>
        </p:nvSpPr>
        <p:spPr>
          <a:xfrm>
            <a:off x="3963167" y="5871746"/>
            <a:ext cx="713232" cy="338328"/>
          </a:xfrm>
          <a:prstGeom prst="rect">
            <a:avLst/>
          </a:prstGeom>
          <a:noFill/>
        </p:spPr>
        <p:txBody>
          <a:bodyPr wrap="square" lIns="0" rIns="0">
            <a:noAutofit/>
          </a:bodyPr>
          <a:lstStyle/>
          <a:p>
            <a:pPr algn="ctr"/>
            <a:r>
              <a:rPr lang="en-US" sz="800">
                <a:solidFill>
                  <a:schemeClr val="bg1"/>
                </a:solidFill>
              </a:rPr>
              <a:t>Vendor</a:t>
            </a:r>
          </a:p>
        </p:txBody>
      </p:sp>
      <p:sp>
        <p:nvSpPr>
          <p:cNvPr id="148" name="TextBox 147">
            <a:extLst>
              <a:ext uri="{FF2B5EF4-FFF2-40B4-BE49-F238E27FC236}">
                <a16:creationId xmlns:a16="http://schemas.microsoft.com/office/drawing/2014/main" id="{47237AC3-0089-46CF-8AB5-24E9AC06306C}"/>
              </a:ext>
            </a:extLst>
          </p:cNvPr>
          <p:cNvSpPr txBox="1"/>
          <p:nvPr userDrawn="1"/>
        </p:nvSpPr>
        <p:spPr>
          <a:xfrm>
            <a:off x="8968524" y="5871746"/>
            <a:ext cx="713232" cy="338328"/>
          </a:xfrm>
          <a:prstGeom prst="rect">
            <a:avLst/>
          </a:prstGeom>
          <a:noFill/>
        </p:spPr>
        <p:txBody>
          <a:bodyPr wrap="square" lIns="0" rIns="0">
            <a:noAutofit/>
          </a:bodyPr>
          <a:lstStyle/>
          <a:p>
            <a:pPr algn="ctr"/>
            <a:r>
              <a:rPr lang="en-US" sz="800">
                <a:solidFill>
                  <a:schemeClr val="bg1"/>
                </a:solidFill>
              </a:rPr>
              <a:t>Welcome</a:t>
            </a:r>
          </a:p>
        </p:txBody>
      </p:sp>
      <p:sp>
        <p:nvSpPr>
          <p:cNvPr id="150" name="TextBox 149">
            <a:extLst>
              <a:ext uri="{FF2B5EF4-FFF2-40B4-BE49-F238E27FC236}">
                <a16:creationId xmlns:a16="http://schemas.microsoft.com/office/drawing/2014/main" id="{11626867-B4FE-4CC2-B478-8953FA7E0F8F}"/>
              </a:ext>
            </a:extLst>
          </p:cNvPr>
          <p:cNvSpPr txBox="1"/>
          <p:nvPr userDrawn="1"/>
        </p:nvSpPr>
        <p:spPr>
          <a:xfrm>
            <a:off x="9683575" y="5871746"/>
            <a:ext cx="713232" cy="338328"/>
          </a:xfrm>
          <a:prstGeom prst="rect">
            <a:avLst/>
          </a:prstGeom>
          <a:noFill/>
        </p:spPr>
        <p:txBody>
          <a:bodyPr wrap="square" lIns="0" rIns="0">
            <a:noAutofit/>
          </a:bodyPr>
          <a:lstStyle/>
          <a:p>
            <a:pPr algn="ctr"/>
            <a:r>
              <a:rPr lang="en-US" sz="800">
                <a:solidFill>
                  <a:schemeClr val="bg1"/>
                </a:solidFill>
              </a:rPr>
              <a:t>Zoom in</a:t>
            </a:r>
          </a:p>
        </p:txBody>
      </p:sp>
      <p:sp>
        <p:nvSpPr>
          <p:cNvPr id="152" name="TextBox 151">
            <a:extLst>
              <a:ext uri="{FF2B5EF4-FFF2-40B4-BE49-F238E27FC236}">
                <a16:creationId xmlns:a16="http://schemas.microsoft.com/office/drawing/2014/main" id="{E54DA6C6-2A86-4E90-A670-8F55A2BE8EC3}"/>
              </a:ext>
            </a:extLst>
          </p:cNvPr>
          <p:cNvSpPr txBox="1"/>
          <p:nvPr userDrawn="1"/>
        </p:nvSpPr>
        <p:spPr>
          <a:xfrm>
            <a:off x="4678218" y="5871746"/>
            <a:ext cx="713232" cy="338328"/>
          </a:xfrm>
          <a:prstGeom prst="rect">
            <a:avLst/>
          </a:prstGeom>
          <a:noFill/>
        </p:spPr>
        <p:txBody>
          <a:bodyPr wrap="square" lIns="0" rIns="0">
            <a:noAutofit/>
          </a:bodyPr>
          <a:lstStyle/>
          <a:p>
            <a:pPr algn="ctr"/>
            <a:r>
              <a:rPr lang="en-US" sz="800">
                <a:solidFill>
                  <a:schemeClr val="bg1"/>
                </a:solidFill>
              </a:rPr>
              <a:t>Visibility off</a:t>
            </a:r>
          </a:p>
        </p:txBody>
      </p:sp>
      <p:sp>
        <p:nvSpPr>
          <p:cNvPr id="154" name="TextBox 153">
            <a:extLst>
              <a:ext uri="{FF2B5EF4-FFF2-40B4-BE49-F238E27FC236}">
                <a16:creationId xmlns:a16="http://schemas.microsoft.com/office/drawing/2014/main" id="{8B5A50D2-643E-444C-91AD-908719D83369}"/>
              </a:ext>
            </a:extLst>
          </p:cNvPr>
          <p:cNvSpPr txBox="1"/>
          <p:nvPr userDrawn="1"/>
        </p:nvSpPr>
        <p:spPr>
          <a:xfrm>
            <a:off x="5393269" y="5871746"/>
            <a:ext cx="713232" cy="338328"/>
          </a:xfrm>
          <a:prstGeom prst="rect">
            <a:avLst/>
          </a:prstGeom>
          <a:noFill/>
        </p:spPr>
        <p:txBody>
          <a:bodyPr wrap="square" lIns="0" rIns="0">
            <a:noAutofit/>
          </a:bodyPr>
          <a:lstStyle/>
          <a:p>
            <a:pPr algn="ctr"/>
            <a:r>
              <a:rPr lang="en-US" sz="800">
                <a:solidFill>
                  <a:schemeClr val="bg1"/>
                </a:solidFill>
              </a:rPr>
              <a:t>Visibility on</a:t>
            </a:r>
          </a:p>
        </p:txBody>
      </p:sp>
      <p:sp>
        <p:nvSpPr>
          <p:cNvPr id="156" name="TextBox 155">
            <a:extLst>
              <a:ext uri="{FF2B5EF4-FFF2-40B4-BE49-F238E27FC236}">
                <a16:creationId xmlns:a16="http://schemas.microsoft.com/office/drawing/2014/main" id="{B4EF8EA4-DD3B-49C3-BB80-D59E4635EC30}"/>
              </a:ext>
            </a:extLst>
          </p:cNvPr>
          <p:cNvSpPr txBox="1"/>
          <p:nvPr userDrawn="1"/>
        </p:nvSpPr>
        <p:spPr>
          <a:xfrm>
            <a:off x="6108320" y="5871746"/>
            <a:ext cx="713232" cy="338328"/>
          </a:xfrm>
          <a:prstGeom prst="rect">
            <a:avLst/>
          </a:prstGeom>
          <a:noFill/>
        </p:spPr>
        <p:txBody>
          <a:bodyPr wrap="square" lIns="0" rIns="0">
            <a:noAutofit/>
          </a:bodyPr>
          <a:lstStyle/>
          <a:p>
            <a:pPr algn="ctr"/>
            <a:r>
              <a:rPr lang="en-US" sz="800">
                <a:solidFill>
                  <a:schemeClr val="bg1"/>
                </a:solidFill>
              </a:rPr>
              <a:t>Warning</a:t>
            </a:r>
          </a:p>
        </p:txBody>
      </p:sp>
      <p:sp>
        <p:nvSpPr>
          <p:cNvPr id="158" name="TextBox 157">
            <a:extLst>
              <a:ext uri="{FF2B5EF4-FFF2-40B4-BE49-F238E27FC236}">
                <a16:creationId xmlns:a16="http://schemas.microsoft.com/office/drawing/2014/main" id="{7CC97ABF-8490-46A4-99AD-5DE36CE56F10}"/>
              </a:ext>
            </a:extLst>
          </p:cNvPr>
          <p:cNvSpPr txBox="1"/>
          <p:nvPr userDrawn="1"/>
        </p:nvSpPr>
        <p:spPr>
          <a:xfrm>
            <a:off x="6823371"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expert</a:t>
            </a:r>
          </a:p>
        </p:txBody>
      </p:sp>
      <p:sp>
        <p:nvSpPr>
          <p:cNvPr id="160" name="TextBox 159">
            <a:extLst>
              <a:ext uri="{FF2B5EF4-FFF2-40B4-BE49-F238E27FC236}">
                <a16:creationId xmlns:a16="http://schemas.microsoft.com/office/drawing/2014/main" id="{3848EC07-2C98-4BFC-8908-633AC4D09790}"/>
              </a:ext>
            </a:extLst>
          </p:cNvPr>
          <p:cNvSpPr txBox="1"/>
          <p:nvPr userDrawn="1"/>
        </p:nvSpPr>
        <p:spPr>
          <a:xfrm>
            <a:off x="7538422"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scraping</a:t>
            </a:r>
          </a:p>
        </p:txBody>
      </p:sp>
      <p:sp>
        <p:nvSpPr>
          <p:cNvPr id="162" name="TextBox 161">
            <a:extLst>
              <a:ext uri="{FF2B5EF4-FFF2-40B4-BE49-F238E27FC236}">
                <a16:creationId xmlns:a16="http://schemas.microsoft.com/office/drawing/2014/main" id="{1ACEBDC3-AAFD-453A-A449-A30BCDA7D302}"/>
              </a:ext>
            </a:extLst>
          </p:cNvPr>
          <p:cNvSpPr txBox="1"/>
          <p:nvPr userDrawn="1"/>
        </p:nvSpPr>
        <p:spPr>
          <a:xfrm>
            <a:off x="8253473" y="5871746"/>
            <a:ext cx="713232" cy="338328"/>
          </a:xfrm>
          <a:prstGeom prst="rect">
            <a:avLst/>
          </a:prstGeom>
          <a:noFill/>
        </p:spPr>
        <p:txBody>
          <a:bodyPr wrap="square" lIns="0" rIns="0">
            <a:noAutofit/>
          </a:bodyPr>
          <a:lstStyle/>
          <a:p>
            <a:pPr algn="ctr"/>
            <a:r>
              <a:rPr lang="en-US" sz="800">
                <a:solidFill>
                  <a:schemeClr val="bg1"/>
                </a:solidFill>
              </a:rPr>
              <a:t>Web</a:t>
            </a:r>
          </a:p>
          <a:p>
            <a:pPr algn="ctr"/>
            <a:r>
              <a:rPr lang="en-US" sz="800">
                <a:solidFill>
                  <a:schemeClr val="bg1"/>
                </a:solidFill>
              </a:rPr>
              <a:t>testing</a:t>
            </a:r>
          </a:p>
        </p:txBody>
      </p:sp>
      <p:sp>
        <p:nvSpPr>
          <p:cNvPr id="164" name="TextBox 163">
            <a:extLst>
              <a:ext uri="{FF2B5EF4-FFF2-40B4-BE49-F238E27FC236}">
                <a16:creationId xmlns:a16="http://schemas.microsoft.com/office/drawing/2014/main" id="{4EB718B1-D19F-4956-A99B-00E654FCC9FD}"/>
              </a:ext>
            </a:extLst>
          </p:cNvPr>
          <p:cNvSpPr txBox="1"/>
          <p:nvPr userDrawn="1"/>
        </p:nvSpPr>
        <p:spPr>
          <a:xfrm>
            <a:off x="10398626" y="5871746"/>
            <a:ext cx="713232" cy="338328"/>
          </a:xfrm>
          <a:prstGeom prst="rect">
            <a:avLst/>
          </a:prstGeom>
          <a:noFill/>
        </p:spPr>
        <p:txBody>
          <a:bodyPr wrap="square" lIns="0" rIns="0">
            <a:noAutofit/>
          </a:bodyPr>
          <a:lstStyle/>
          <a:p>
            <a:pPr algn="ctr"/>
            <a:r>
              <a:rPr lang="en-US" sz="800">
                <a:solidFill>
                  <a:schemeClr val="bg1"/>
                </a:solidFill>
              </a:rPr>
              <a:t>Zoom out</a:t>
            </a:r>
          </a:p>
        </p:txBody>
      </p:sp>
      <p:sp>
        <p:nvSpPr>
          <p:cNvPr id="166" name="TextBox 165">
            <a:extLst>
              <a:ext uri="{FF2B5EF4-FFF2-40B4-BE49-F238E27FC236}">
                <a16:creationId xmlns:a16="http://schemas.microsoft.com/office/drawing/2014/main" id="{003C8875-E82C-44D5-AE45-3DA1CA41D21D}"/>
              </a:ext>
            </a:extLst>
          </p:cNvPr>
          <p:cNvSpPr txBox="1"/>
          <p:nvPr userDrawn="1"/>
        </p:nvSpPr>
        <p:spPr>
          <a:xfrm>
            <a:off x="3248116" y="5871746"/>
            <a:ext cx="713232" cy="338328"/>
          </a:xfrm>
          <a:prstGeom prst="rect">
            <a:avLst/>
          </a:prstGeom>
          <a:noFill/>
        </p:spPr>
        <p:txBody>
          <a:bodyPr wrap="square" lIns="0" rIns="0">
            <a:noAutofit/>
          </a:bodyPr>
          <a:lstStyle/>
          <a:p>
            <a:pPr algn="ctr"/>
            <a:r>
              <a:rPr lang="en-US" sz="800">
                <a:solidFill>
                  <a:schemeClr val="bg1"/>
                </a:solidFill>
              </a:rPr>
              <a:t>Vector </a:t>
            </a:r>
          </a:p>
          <a:p>
            <a:pPr algn="ctr"/>
            <a:r>
              <a:rPr lang="en-US" sz="800">
                <a:solidFill>
                  <a:schemeClr val="bg1"/>
                </a:solidFill>
              </a:rPr>
              <a:t>anchor</a:t>
            </a:r>
          </a:p>
        </p:txBody>
      </p:sp>
      <p:sp>
        <p:nvSpPr>
          <p:cNvPr id="168" name="TextBox 167">
            <a:extLst>
              <a:ext uri="{FF2B5EF4-FFF2-40B4-BE49-F238E27FC236}">
                <a16:creationId xmlns:a16="http://schemas.microsoft.com/office/drawing/2014/main" id="{7A4B47BD-0D93-4B99-B459-C2B7D07FCD7C}"/>
              </a:ext>
            </a:extLst>
          </p:cNvPr>
          <p:cNvSpPr txBox="1"/>
          <p:nvPr userDrawn="1"/>
        </p:nvSpPr>
        <p:spPr>
          <a:xfrm>
            <a:off x="11099777"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square</a:t>
            </a:r>
          </a:p>
        </p:txBody>
      </p:sp>
      <p:sp>
        <p:nvSpPr>
          <p:cNvPr id="170" name="TextBox 169">
            <a:extLst>
              <a:ext uri="{FF2B5EF4-FFF2-40B4-BE49-F238E27FC236}">
                <a16:creationId xmlns:a16="http://schemas.microsoft.com/office/drawing/2014/main" id="{DFC15D34-358D-4DEA-8E8D-C48B07C37AB8}"/>
              </a:ext>
            </a:extLst>
          </p:cNvPr>
          <p:cNvSpPr txBox="1"/>
          <p:nvPr userDrawn="1"/>
        </p:nvSpPr>
        <p:spPr>
          <a:xfrm>
            <a:off x="387913" y="1756657"/>
            <a:ext cx="709636" cy="338328"/>
          </a:xfrm>
          <a:prstGeom prst="rect">
            <a:avLst/>
          </a:prstGeom>
          <a:noFill/>
        </p:spPr>
        <p:txBody>
          <a:bodyPr wrap="square" lIns="0" rIns="0">
            <a:noAutofit/>
          </a:bodyPr>
          <a:lstStyle/>
          <a:p>
            <a:pPr algn="ctr"/>
            <a:r>
              <a:rPr lang="en-US" sz="800">
                <a:solidFill>
                  <a:schemeClr val="bg1"/>
                </a:solidFill>
              </a:rPr>
              <a:t>Location </a:t>
            </a:r>
          </a:p>
          <a:p>
            <a:pPr algn="ctr"/>
            <a:r>
              <a:rPr lang="en-US" sz="800">
                <a:solidFill>
                  <a:schemeClr val="bg1"/>
                </a:solidFill>
              </a:rPr>
              <a:t>pin</a:t>
            </a:r>
          </a:p>
        </p:txBody>
      </p:sp>
      <p:sp>
        <p:nvSpPr>
          <p:cNvPr id="172" name="TextBox 171">
            <a:extLst>
              <a:ext uri="{FF2B5EF4-FFF2-40B4-BE49-F238E27FC236}">
                <a16:creationId xmlns:a16="http://schemas.microsoft.com/office/drawing/2014/main" id="{87F72BE3-D534-4284-A70C-3BD278F6C1A4}"/>
              </a:ext>
            </a:extLst>
          </p:cNvPr>
          <p:cNvSpPr txBox="1"/>
          <p:nvPr userDrawn="1"/>
        </p:nvSpPr>
        <p:spPr>
          <a:xfrm>
            <a:off x="1098680" y="1756657"/>
            <a:ext cx="713232" cy="338328"/>
          </a:xfrm>
          <a:prstGeom prst="rect">
            <a:avLst/>
          </a:prstGeom>
          <a:noFill/>
        </p:spPr>
        <p:txBody>
          <a:bodyPr wrap="square" lIns="0" rIns="0">
            <a:noAutofit/>
          </a:bodyPr>
          <a:lstStyle/>
          <a:p>
            <a:pPr algn="ctr"/>
            <a:r>
              <a:rPr lang="en-US" sz="800">
                <a:solidFill>
                  <a:schemeClr val="bg1"/>
                </a:solidFill>
              </a:rPr>
              <a:t>Lock</a:t>
            </a:r>
          </a:p>
        </p:txBody>
      </p:sp>
      <p:sp>
        <p:nvSpPr>
          <p:cNvPr id="174" name="TextBox 173">
            <a:extLst>
              <a:ext uri="{FF2B5EF4-FFF2-40B4-BE49-F238E27FC236}">
                <a16:creationId xmlns:a16="http://schemas.microsoft.com/office/drawing/2014/main" id="{FEE01BD9-6139-4E0D-B922-67C867A9BDBE}"/>
              </a:ext>
            </a:extLst>
          </p:cNvPr>
          <p:cNvSpPr txBox="1"/>
          <p:nvPr userDrawn="1"/>
        </p:nvSpPr>
        <p:spPr>
          <a:xfrm>
            <a:off x="1813044" y="1756657"/>
            <a:ext cx="713232" cy="338328"/>
          </a:xfrm>
          <a:prstGeom prst="rect">
            <a:avLst/>
          </a:prstGeom>
          <a:noFill/>
        </p:spPr>
        <p:txBody>
          <a:bodyPr wrap="square" lIns="0" rIns="0">
            <a:noAutofit/>
          </a:bodyPr>
          <a:lstStyle/>
          <a:p>
            <a:pPr algn="ctr"/>
            <a:r>
              <a:rPr lang="en-US" sz="800">
                <a:solidFill>
                  <a:schemeClr val="bg1"/>
                </a:solidFill>
              </a:rPr>
              <a:t>Lock</a:t>
            </a:r>
          </a:p>
          <a:p>
            <a:pPr algn="ctr"/>
            <a:r>
              <a:rPr lang="en-US" sz="800">
                <a:solidFill>
                  <a:schemeClr val="bg1"/>
                </a:solidFill>
              </a:rPr>
              <a:t>open</a:t>
            </a:r>
          </a:p>
        </p:txBody>
      </p:sp>
      <p:sp>
        <p:nvSpPr>
          <p:cNvPr id="176" name="TextBox 175">
            <a:extLst>
              <a:ext uri="{FF2B5EF4-FFF2-40B4-BE49-F238E27FC236}">
                <a16:creationId xmlns:a16="http://schemas.microsoft.com/office/drawing/2014/main" id="{ADBCD4F3-C8FC-43A4-AAFF-D1488F9A2591}"/>
              </a:ext>
            </a:extLst>
          </p:cNvPr>
          <p:cNvSpPr txBox="1"/>
          <p:nvPr userDrawn="1"/>
        </p:nvSpPr>
        <p:spPr>
          <a:xfrm>
            <a:off x="2527408" y="1756657"/>
            <a:ext cx="713232" cy="338328"/>
          </a:xfrm>
          <a:prstGeom prst="rect">
            <a:avLst/>
          </a:prstGeom>
          <a:noFill/>
        </p:spPr>
        <p:txBody>
          <a:bodyPr wrap="square" lIns="0" rIns="0">
            <a:noAutofit/>
          </a:bodyPr>
          <a:lstStyle/>
          <a:p>
            <a:pPr algn="ctr"/>
            <a:r>
              <a:rPr lang="en-US" sz="800">
                <a:solidFill>
                  <a:schemeClr val="bg1"/>
                </a:solidFill>
              </a:rPr>
              <a:t>Macro recording</a:t>
            </a:r>
          </a:p>
        </p:txBody>
      </p:sp>
      <p:sp>
        <p:nvSpPr>
          <p:cNvPr id="178" name="TextBox 177">
            <a:extLst>
              <a:ext uri="{FF2B5EF4-FFF2-40B4-BE49-F238E27FC236}">
                <a16:creationId xmlns:a16="http://schemas.microsoft.com/office/drawing/2014/main" id="{6710C5FD-8886-40FE-8C9A-B8D7DA353CA4}"/>
              </a:ext>
            </a:extLst>
          </p:cNvPr>
          <p:cNvSpPr txBox="1"/>
          <p:nvPr userDrawn="1"/>
        </p:nvSpPr>
        <p:spPr>
          <a:xfrm>
            <a:off x="3956136" y="1756657"/>
            <a:ext cx="713232" cy="338328"/>
          </a:xfrm>
          <a:prstGeom prst="rect">
            <a:avLst/>
          </a:prstGeom>
          <a:noFill/>
        </p:spPr>
        <p:txBody>
          <a:bodyPr wrap="square" lIns="0" rIns="0">
            <a:noAutofit/>
          </a:bodyPr>
          <a:lstStyle/>
          <a:p>
            <a:pPr algn="ctr"/>
            <a:r>
              <a:rPr lang="en-US" sz="800">
                <a:solidFill>
                  <a:schemeClr val="bg1"/>
                </a:solidFill>
              </a:rPr>
              <a:t>Managing</a:t>
            </a:r>
          </a:p>
        </p:txBody>
      </p:sp>
      <p:sp>
        <p:nvSpPr>
          <p:cNvPr id="180" name="TextBox 179">
            <a:extLst>
              <a:ext uri="{FF2B5EF4-FFF2-40B4-BE49-F238E27FC236}">
                <a16:creationId xmlns:a16="http://schemas.microsoft.com/office/drawing/2014/main" id="{07E21B9D-BD01-496C-A9DA-98E8D7B650A0}"/>
              </a:ext>
            </a:extLst>
          </p:cNvPr>
          <p:cNvSpPr txBox="1"/>
          <p:nvPr userDrawn="1"/>
        </p:nvSpPr>
        <p:spPr>
          <a:xfrm>
            <a:off x="8956684" y="1756657"/>
            <a:ext cx="713232" cy="338328"/>
          </a:xfrm>
          <a:prstGeom prst="rect">
            <a:avLst/>
          </a:prstGeom>
          <a:noFill/>
        </p:spPr>
        <p:txBody>
          <a:bodyPr wrap="square" lIns="0" rIns="0">
            <a:noAutofit/>
          </a:bodyPr>
          <a:lstStyle/>
          <a:p>
            <a:pPr algn="ctr"/>
            <a:r>
              <a:rPr lang="en-US" sz="800">
                <a:solidFill>
                  <a:schemeClr val="bg1"/>
                </a:solidFill>
              </a:rPr>
              <a:t>Mobile</a:t>
            </a:r>
          </a:p>
          <a:p>
            <a:pPr algn="ctr"/>
            <a:r>
              <a:rPr lang="en-US" sz="800">
                <a:solidFill>
                  <a:schemeClr val="bg1"/>
                </a:solidFill>
              </a:rPr>
              <a:t>device</a:t>
            </a:r>
          </a:p>
        </p:txBody>
      </p:sp>
      <p:sp>
        <p:nvSpPr>
          <p:cNvPr id="182" name="TextBox 181">
            <a:extLst>
              <a:ext uri="{FF2B5EF4-FFF2-40B4-BE49-F238E27FC236}">
                <a16:creationId xmlns:a16="http://schemas.microsoft.com/office/drawing/2014/main" id="{2D8B9542-7916-443E-B1A3-250CE6082D41}"/>
              </a:ext>
            </a:extLst>
          </p:cNvPr>
          <p:cNvSpPr txBox="1"/>
          <p:nvPr userDrawn="1"/>
        </p:nvSpPr>
        <p:spPr>
          <a:xfrm>
            <a:off x="9671048" y="1756657"/>
            <a:ext cx="713232" cy="338328"/>
          </a:xfrm>
          <a:prstGeom prst="rect">
            <a:avLst/>
          </a:prstGeom>
          <a:noFill/>
        </p:spPr>
        <p:txBody>
          <a:bodyPr wrap="square" lIns="0" rIns="0">
            <a:noAutofit/>
          </a:bodyPr>
          <a:lstStyle/>
          <a:p>
            <a:pPr algn="ctr"/>
            <a:r>
              <a:rPr lang="en-US" sz="800">
                <a:solidFill>
                  <a:schemeClr val="bg1"/>
                </a:solidFill>
              </a:rPr>
              <a:t>Money </a:t>
            </a:r>
          </a:p>
        </p:txBody>
      </p:sp>
      <p:sp>
        <p:nvSpPr>
          <p:cNvPr id="184" name="TextBox 183">
            <a:extLst>
              <a:ext uri="{FF2B5EF4-FFF2-40B4-BE49-F238E27FC236}">
                <a16:creationId xmlns:a16="http://schemas.microsoft.com/office/drawing/2014/main" id="{1DA33D66-306C-4341-B511-6EA3533FE605}"/>
              </a:ext>
            </a:extLst>
          </p:cNvPr>
          <p:cNvSpPr txBox="1"/>
          <p:nvPr userDrawn="1"/>
        </p:nvSpPr>
        <p:spPr>
          <a:xfrm>
            <a:off x="4670500" y="1756657"/>
            <a:ext cx="713232" cy="338328"/>
          </a:xfrm>
          <a:prstGeom prst="rect">
            <a:avLst/>
          </a:prstGeom>
          <a:noFill/>
        </p:spPr>
        <p:txBody>
          <a:bodyPr wrap="square" lIns="0" rIns="0">
            <a:noAutofit/>
          </a:bodyPr>
          <a:lstStyle/>
          <a:p>
            <a:pPr algn="ctr"/>
            <a:r>
              <a:rPr lang="en-US" sz="800">
                <a:solidFill>
                  <a:schemeClr val="bg1"/>
                </a:solidFill>
              </a:rPr>
              <a:t>Managing alt</a:t>
            </a:r>
          </a:p>
        </p:txBody>
      </p:sp>
      <p:sp>
        <p:nvSpPr>
          <p:cNvPr id="186" name="TextBox 185">
            <a:extLst>
              <a:ext uri="{FF2B5EF4-FFF2-40B4-BE49-F238E27FC236}">
                <a16:creationId xmlns:a16="http://schemas.microsoft.com/office/drawing/2014/main" id="{B0898FAB-686C-4280-A6D4-F5D12F028047}"/>
              </a:ext>
            </a:extLst>
          </p:cNvPr>
          <p:cNvSpPr txBox="1"/>
          <p:nvPr userDrawn="1"/>
        </p:nvSpPr>
        <p:spPr>
          <a:xfrm>
            <a:off x="5384864" y="1756657"/>
            <a:ext cx="713232" cy="338328"/>
          </a:xfrm>
          <a:prstGeom prst="rect">
            <a:avLst/>
          </a:prstGeom>
          <a:noFill/>
        </p:spPr>
        <p:txBody>
          <a:bodyPr wrap="square" lIns="0" rIns="0">
            <a:noAutofit/>
          </a:bodyPr>
          <a:lstStyle/>
          <a:p>
            <a:pPr algn="ctr"/>
            <a:r>
              <a:rPr lang="en-US" sz="800">
                <a:solidFill>
                  <a:schemeClr val="bg1"/>
                </a:solidFill>
              </a:rPr>
              <a:t>Map</a:t>
            </a:r>
          </a:p>
        </p:txBody>
      </p:sp>
      <p:sp>
        <p:nvSpPr>
          <p:cNvPr id="188" name="TextBox 187">
            <a:extLst>
              <a:ext uri="{FF2B5EF4-FFF2-40B4-BE49-F238E27FC236}">
                <a16:creationId xmlns:a16="http://schemas.microsoft.com/office/drawing/2014/main" id="{626A58BC-4A74-4B0B-9BDD-B20225A2AB4E}"/>
              </a:ext>
            </a:extLst>
          </p:cNvPr>
          <p:cNvSpPr txBox="1"/>
          <p:nvPr userDrawn="1"/>
        </p:nvSpPr>
        <p:spPr>
          <a:xfrm>
            <a:off x="6099228" y="1756657"/>
            <a:ext cx="713232" cy="338328"/>
          </a:xfrm>
          <a:prstGeom prst="rect">
            <a:avLst/>
          </a:prstGeom>
          <a:noFill/>
        </p:spPr>
        <p:txBody>
          <a:bodyPr wrap="square" lIns="0" rIns="0">
            <a:noAutofit/>
          </a:bodyPr>
          <a:lstStyle/>
          <a:p>
            <a:pPr algn="ctr"/>
            <a:r>
              <a:rPr lang="en-US" sz="800">
                <a:solidFill>
                  <a:schemeClr val="bg1"/>
                </a:solidFill>
              </a:rPr>
              <a:t>Map alt</a:t>
            </a:r>
          </a:p>
        </p:txBody>
      </p:sp>
      <p:sp>
        <p:nvSpPr>
          <p:cNvPr id="190" name="TextBox 189">
            <a:extLst>
              <a:ext uri="{FF2B5EF4-FFF2-40B4-BE49-F238E27FC236}">
                <a16:creationId xmlns:a16="http://schemas.microsoft.com/office/drawing/2014/main" id="{B9813E16-B767-4B6B-BE03-EC86A2401856}"/>
              </a:ext>
            </a:extLst>
          </p:cNvPr>
          <p:cNvSpPr txBox="1"/>
          <p:nvPr userDrawn="1"/>
        </p:nvSpPr>
        <p:spPr>
          <a:xfrm>
            <a:off x="6813592" y="1756657"/>
            <a:ext cx="713232" cy="338328"/>
          </a:xfrm>
          <a:prstGeom prst="rect">
            <a:avLst/>
          </a:prstGeom>
          <a:noFill/>
        </p:spPr>
        <p:txBody>
          <a:bodyPr wrap="square" lIns="0" rIns="0">
            <a:noAutofit/>
          </a:bodyPr>
          <a:lstStyle/>
          <a:p>
            <a:pPr algn="ctr"/>
            <a:r>
              <a:rPr lang="en-US" sz="800">
                <a:solidFill>
                  <a:schemeClr val="bg1"/>
                </a:solidFill>
              </a:rPr>
              <a:t>Map alt 2</a:t>
            </a:r>
          </a:p>
        </p:txBody>
      </p:sp>
      <p:sp>
        <p:nvSpPr>
          <p:cNvPr id="192" name="TextBox 191">
            <a:extLst>
              <a:ext uri="{FF2B5EF4-FFF2-40B4-BE49-F238E27FC236}">
                <a16:creationId xmlns:a16="http://schemas.microsoft.com/office/drawing/2014/main" id="{A6BF823C-A6F1-4E4F-AAA0-58396BB94E70}"/>
              </a:ext>
            </a:extLst>
          </p:cNvPr>
          <p:cNvSpPr txBox="1"/>
          <p:nvPr userDrawn="1"/>
        </p:nvSpPr>
        <p:spPr>
          <a:xfrm>
            <a:off x="7527956" y="1756657"/>
            <a:ext cx="713232" cy="338328"/>
          </a:xfrm>
          <a:prstGeom prst="rect">
            <a:avLst/>
          </a:prstGeom>
          <a:noFill/>
        </p:spPr>
        <p:txBody>
          <a:bodyPr wrap="square" lIns="0" rIns="0">
            <a:noAutofit/>
          </a:bodyPr>
          <a:lstStyle/>
          <a:p>
            <a:pPr algn="ctr"/>
            <a:r>
              <a:rPr lang="en-US" sz="800">
                <a:solidFill>
                  <a:schemeClr val="bg1"/>
                </a:solidFill>
              </a:rPr>
              <a:t>Media</a:t>
            </a:r>
          </a:p>
        </p:txBody>
      </p:sp>
      <p:sp>
        <p:nvSpPr>
          <p:cNvPr id="194" name="TextBox 193">
            <a:extLst>
              <a:ext uri="{FF2B5EF4-FFF2-40B4-BE49-F238E27FC236}">
                <a16:creationId xmlns:a16="http://schemas.microsoft.com/office/drawing/2014/main" id="{DD510BAC-608B-4F7C-A5A0-054A20957EAC}"/>
              </a:ext>
            </a:extLst>
          </p:cNvPr>
          <p:cNvSpPr txBox="1"/>
          <p:nvPr userDrawn="1"/>
        </p:nvSpPr>
        <p:spPr>
          <a:xfrm>
            <a:off x="8242320" y="1756657"/>
            <a:ext cx="713232" cy="338328"/>
          </a:xfrm>
          <a:prstGeom prst="rect">
            <a:avLst/>
          </a:prstGeom>
          <a:noFill/>
        </p:spPr>
        <p:txBody>
          <a:bodyPr wrap="square" lIns="0" rIns="0">
            <a:noAutofit/>
          </a:bodyPr>
          <a:lstStyle/>
          <a:p>
            <a:pPr algn="ctr"/>
            <a:r>
              <a:rPr lang="en-US" sz="800">
                <a:solidFill>
                  <a:schemeClr val="bg1"/>
                </a:solidFill>
              </a:rPr>
              <a:t>Mismatch</a:t>
            </a:r>
          </a:p>
        </p:txBody>
      </p:sp>
      <p:sp>
        <p:nvSpPr>
          <p:cNvPr id="196" name="TextBox 195">
            <a:extLst>
              <a:ext uri="{FF2B5EF4-FFF2-40B4-BE49-F238E27FC236}">
                <a16:creationId xmlns:a16="http://schemas.microsoft.com/office/drawing/2014/main" id="{D9E3D3D7-6725-4E37-9635-FC5B09249358}"/>
              </a:ext>
            </a:extLst>
          </p:cNvPr>
          <p:cNvSpPr txBox="1"/>
          <p:nvPr userDrawn="1"/>
        </p:nvSpPr>
        <p:spPr>
          <a:xfrm>
            <a:off x="10385412" y="1756657"/>
            <a:ext cx="713232" cy="338328"/>
          </a:xfrm>
          <a:prstGeom prst="rect">
            <a:avLst/>
          </a:prstGeom>
          <a:noFill/>
        </p:spPr>
        <p:txBody>
          <a:bodyPr wrap="square" lIns="0" rIns="0">
            <a:noAutofit/>
          </a:bodyPr>
          <a:lstStyle/>
          <a:p>
            <a:pPr algn="ctr"/>
            <a:r>
              <a:rPr lang="en-US" sz="800">
                <a:solidFill>
                  <a:schemeClr val="bg1"/>
                </a:solidFill>
              </a:rPr>
              <a:t>Money </a:t>
            </a:r>
          </a:p>
          <a:p>
            <a:pPr algn="ctr"/>
            <a:r>
              <a:rPr lang="en-US" sz="800">
                <a:solidFill>
                  <a:schemeClr val="bg1"/>
                </a:solidFill>
              </a:rPr>
              <a:t>circle</a:t>
            </a:r>
          </a:p>
        </p:txBody>
      </p:sp>
      <p:sp>
        <p:nvSpPr>
          <p:cNvPr id="280" name="TextBox 279">
            <a:extLst>
              <a:ext uri="{FF2B5EF4-FFF2-40B4-BE49-F238E27FC236}">
                <a16:creationId xmlns:a16="http://schemas.microsoft.com/office/drawing/2014/main" id="{8B12A267-EBFE-40F7-816C-56D9CF3A6A4C}"/>
              </a:ext>
            </a:extLst>
          </p:cNvPr>
          <p:cNvSpPr txBox="1"/>
          <p:nvPr userDrawn="1"/>
        </p:nvSpPr>
        <p:spPr>
          <a:xfrm>
            <a:off x="3241772" y="1756657"/>
            <a:ext cx="713232" cy="338328"/>
          </a:xfrm>
          <a:prstGeom prst="rect">
            <a:avLst/>
          </a:prstGeom>
          <a:noFill/>
        </p:spPr>
        <p:txBody>
          <a:bodyPr wrap="square" lIns="0" rIns="0">
            <a:noAutofit/>
          </a:bodyPr>
          <a:lstStyle/>
          <a:p>
            <a:pPr algn="ctr"/>
            <a:r>
              <a:rPr lang="en-US" sz="800">
                <a:solidFill>
                  <a:schemeClr val="bg1"/>
                </a:solidFill>
              </a:rPr>
              <a:t>Manage documents</a:t>
            </a:r>
          </a:p>
        </p:txBody>
      </p:sp>
      <p:sp>
        <p:nvSpPr>
          <p:cNvPr id="282" name="TextBox 281">
            <a:extLst>
              <a:ext uri="{FF2B5EF4-FFF2-40B4-BE49-F238E27FC236}">
                <a16:creationId xmlns:a16="http://schemas.microsoft.com/office/drawing/2014/main" id="{8C781E9F-1076-49CA-BB35-8678770FE9E2}"/>
              </a:ext>
            </a:extLst>
          </p:cNvPr>
          <p:cNvSpPr txBox="1"/>
          <p:nvPr userDrawn="1"/>
        </p:nvSpPr>
        <p:spPr>
          <a:xfrm>
            <a:off x="11099777" y="2579675"/>
            <a:ext cx="713232" cy="338328"/>
          </a:xfrm>
          <a:prstGeom prst="rect">
            <a:avLst/>
          </a:prstGeom>
          <a:noFill/>
        </p:spPr>
        <p:txBody>
          <a:bodyPr wrap="square" lIns="0" rIns="0">
            <a:noAutofit/>
          </a:bodyPr>
          <a:lstStyle/>
          <a:p>
            <a:pPr algn="ctr"/>
            <a:r>
              <a:rPr lang="en-US" sz="800">
                <a:solidFill>
                  <a:schemeClr val="bg1"/>
                </a:solidFill>
              </a:rPr>
              <a:t>QA</a:t>
            </a:r>
          </a:p>
        </p:txBody>
      </p:sp>
      <p:sp>
        <p:nvSpPr>
          <p:cNvPr id="284" name="TextBox 283">
            <a:extLst>
              <a:ext uri="{FF2B5EF4-FFF2-40B4-BE49-F238E27FC236}">
                <a16:creationId xmlns:a16="http://schemas.microsoft.com/office/drawing/2014/main" id="{87AD569D-B8FC-4487-84C9-AE656107FC79}"/>
              </a:ext>
            </a:extLst>
          </p:cNvPr>
          <p:cNvSpPr txBox="1"/>
          <p:nvPr userDrawn="1"/>
        </p:nvSpPr>
        <p:spPr>
          <a:xfrm>
            <a:off x="387912" y="2579675"/>
            <a:ext cx="713232" cy="338328"/>
          </a:xfrm>
          <a:prstGeom prst="rect">
            <a:avLst/>
          </a:prstGeom>
          <a:noFill/>
        </p:spPr>
        <p:txBody>
          <a:bodyPr wrap="square" lIns="0" rIns="0">
            <a:noAutofit/>
          </a:bodyPr>
          <a:lstStyle/>
          <a:p>
            <a:pPr algn="ctr"/>
            <a:r>
              <a:rPr lang="en-US" sz="800">
                <a:solidFill>
                  <a:schemeClr val="bg1"/>
                </a:solidFill>
              </a:rPr>
              <a:t>Monitoring</a:t>
            </a:r>
          </a:p>
        </p:txBody>
      </p:sp>
      <p:sp>
        <p:nvSpPr>
          <p:cNvPr id="286" name="TextBox 285">
            <a:extLst>
              <a:ext uri="{FF2B5EF4-FFF2-40B4-BE49-F238E27FC236}">
                <a16:creationId xmlns:a16="http://schemas.microsoft.com/office/drawing/2014/main" id="{BACCC718-E1BB-422E-849F-998C4DE74CEA}"/>
              </a:ext>
            </a:extLst>
          </p:cNvPr>
          <p:cNvSpPr txBox="1"/>
          <p:nvPr userDrawn="1"/>
        </p:nvSpPr>
        <p:spPr>
          <a:xfrm>
            <a:off x="1102036" y="2579675"/>
            <a:ext cx="713232" cy="338328"/>
          </a:xfrm>
          <a:prstGeom prst="rect">
            <a:avLst/>
          </a:prstGeom>
          <a:noFill/>
        </p:spPr>
        <p:txBody>
          <a:bodyPr wrap="square" lIns="0" rIns="0">
            <a:noAutofit/>
          </a:bodyPr>
          <a:lstStyle/>
          <a:p>
            <a:pPr algn="ctr"/>
            <a:r>
              <a:rPr lang="en-US" sz="800">
                <a:solidFill>
                  <a:schemeClr val="bg1"/>
                </a:solidFill>
              </a:rPr>
              <a:t>Monitoring alt</a:t>
            </a:r>
          </a:p>
        </p:txBody>
      </p:sp>
      <p:sp>
        <p:nvSpPr>
          <p:cNvPr id="288" name="TextBox 287">
            <a:extLst>
              <a:ext uri="{FF2B5EF4-FFF2-40B4-BE49-F238E27FC236}">
                <a16:creationId xmlns:a16="http://schemas.microsoft.com/office/drawing/2014/main" id="{A6FCE92B-D40F-4839-8CB0-E2AC188CC26F}"/>
              </a:ext>
            </a:extLst>
          </p:cNvPr>
          <p:cNvSpPr txBox="1"/>
          <p:nvPr userDrawn="1"/>
        </p:nvSpPr>
        <p:spPr>
          <a:xfrm>
            <a:off x="1816160" y="2579675"/>
            <a:ext cx="713232" cy="338328"/>
          </a:xfrm>
          <a:prstGeom prst="rect">
            <a:avLst/>
          </a:prstGeom>
          <a:noFill/>
        </p:spPr>
        <p:txBody>
          <a:bodyPr wrap="square" lIns="0" rIns="0">
            <a:noAutofit/>
          </a:bodyPr>
          <a:lstStyle/>
          <a:p>
            <a:pPr algn="ctr"/>
            <a:r>
              <a:rPr lang="en-US" sz="800">
                <a:solidFill>
                  <a:schemeClr val="bg1"/>
                </a:solidFill>
              </a:rPr>
              <a:t>Note</a:t>
            </a:r>
          </a:p>
        </p:txBody>
      </p:sp>
      <p:sp>
        <p:nvSpPr>
          <p:cNvPr id="290" name="TextBox 289">
            <a:extLst>
              <a:ext uri="{FF2B5EF4-FFF2-40B4-BE49-F238E27FC236}">
                <a16:creationId xmlns:a16="http://schemas.microsoft.com/office/drawing/2014/main" id="{A6C222AB-6D20-414D-9842-28E1ABAAD794}"/>
              </a:ext>
            </a:extLst>
          </p:cNvPr>
          <p:cNvSpPr txBox="1"/>
          <p:nvPr userDrawn="1"/>
        </p:nvSpPr>
        <p:spPr>
          <a:xfrm>
            <a:off x="2530284" y="2579675"/>
            <a:ext cx="713232" cy="338328"/>
          </a:xfrm>
          <a:prstGeom prst="rect">
            <a:avLst/>
          </a:prstGeom>
          <a:noFill/>
        </p:spPr>
        <p:txBody>
          <a:bodyPr wrap="square" lIns="0" rIns="0">
            <a:noAutofit/>
          </a:bodyPr>
          <a:lstStyle/>
          <a:p>
            <a:pPr algn="ctr"/>
            <a:r>
              <a:rPr lang="en-US" sz="800">
                <a:solidFill>
                  <a:schemeClr val="bg1"/>
                </a:solidFill>
              </a:rPr>
              <a:t>OCR</a:t>
            </a:r>
          </a:p>
        </p:txBody>
      </p:sp>
      <p:sp>
        <p:nvSpPr>
          <p:cNvPr id="292" name="TextBox 291">
            <a:extLst>
              <a:ext uri="{FF2B5EF4-FFF2-40B4-BE49-F238E27FC236}">
                <a16:creationId xmlns:a16="http://schemas.microsoft.com/office/drawing/2014/main" id="{F87B50F6-2F12-4815-92CF-AE2F27483131}"/>
              </a:ext>
            </a:extLst>
          </p:cNvPr>
          <p:cNvSpPr txBox="1"/>
          <p:nvPr userDrawn="1"/>
        </p:nvSpPr>
        <p:spPr>
          <a:xfrm>
            <a:off x="3958532" y="2579675"/>
            <a:ext cx="713232" cy="338328"/>
          </a:xfrm>
          <a:prstGeom prst="rect">
            <a:avLst/>
          </a:prstGeom>
          <a:noFill/>
        </p:spPr>
        <p:txBody>
          <a:bodyPr wrap="square" lIns="0" rIns="0">
            <a:noAutofit/>
          </a:bodyPr>
          <a:lstStyle/>
          <a:p>
            <a:pPr algn="ctr"/>
            <a:r>
              <a:rPr lang="en-US" sz="800">
                <a:solidFill>
                  <a:schemeClr val="bg1"/>
                </a:solidFill>
              </a:rPr>
              <a:t>Phone </a:t>
            </a:r>
          </a:p>
          <a:p>
            <a:pPr algn="ctr"/>
            <a:r>
              <a:rPr lang="en-US" sz="800">
                <a:solidFill>
                  <a:schemeClr val="bg1"/>
                </a:solidFill>
              </a:rPr>
              <a:t>call</a:t>
            </a:r>
          </a:p>
        </p:txBody>
      </p:sp>
      <p:sp>
        <p:nvSpPr>
          <p:cNvPr id="294" name="TextBox 293">
            <a:extLst>
              <a:ext uri="{FF2B5EF4-FFF2-40B4-BE49-F238E27FC236}">
                <a16:creationId xmlns:a16="http://schemas.microsoft.com/office/drawing/2014/main" id="{D1CB2122-73A8-4064-8D09-D7BE6E5D5C9E}"/>
              </a:ext>
            </a:extLst>
          </p:cNvPr>
          <p:cNvSpPr txBox="1"/>
          <p:nvPr userDrawn="1"/>
        </p:nvSpPr>
        <p:spPr>
          <a:xfrm>
            <a:off x="8957400" y="2579675"/>
            <a:ext cx="713232" cy="338328"/>
          </a:xfrm>
          <a:prstGeom prst="rect">
            <a:avLst/>
          </a:prstGeom>
          <a:noFill/>
        </p:spPr>
        <p:txBody>
          <a:bodyPr wrap="square" lIns="0" rIns="0">
            <a:noAutofit/>
          </a:bodyPr>
          <a:lstStyle/>
          <a:p>
            <a:pPr algn="ctr"/>
            <a:r>
              <a:rPr lang="en-US" sz="800">
                <a:solidFill>
                  <a:schemeClr val="bg1"/>
                </a:solidFill>
              </a:rPr>
              <a:t>Proof of concept</a:t>
            </a:r>
          </a:p>
        </p:txBody>
      </p:sp>
      <p:sp>
        <p:nvSpPr>
          <p:cNvPr id="296" name="TextBox 295">
            <a:extLst>
              <a:ext uri="{FF2B5EF4-FFF2-40B4-BE49-F238E27FC236}">
                <a16:creationId xmlns:a16="http://schemas.microsoft.com/office/drawing/2014/main" id="{A1C428B7-37E2-4CB8-BAB2-A06F67DC831A}"/>
              </a:ext>
            </a:extLst>
          </p:cNvPr>
          <p:cNvSpPr txBox="1"/>
          <p:nvPr userDrawn="1"/>
        </p:nvSpPr>
        <p:spPr>
          <a:xfrm>
            <a:off x="9671524" y="2579675"/>
            <a:ext cx="713232" cy="338328"/>
          </a:xfrm>
          <a:prstGeom prst="rect">
            <a:avLst/>
          </a:prstGeom>
          <a:noFill/>
        </p:spPr>
        <p:txBody>
          <a:bodyPr wrap="square" lIns="0" rIns="0">
            <a:noAutofit/>
          </a:bodyPr>
          <a:lstStyle/>
          <a:p>
            <a:pPr algn="ctr"/>
            <a:r>
              <a:rPr lang="en-US" sz="800">
                <a:solidFill>
                  <a:schemeClr val="bg1"/>
                </a:solidFill>
              </a:rPr>
              <a:t>Proof of concept 2</a:t>
            </a:r>
          </a:p>
        </p:txBody>
      </p:sp>
      <p:sp>
        <p:nvSpPr>
          <p:cNvPr id="298" name="TextBox 297">
            <a:extLst>
              <a:ext uri="{FF2B5EF4-FFF2-40B4-BE49-F238E27FC236}">
                <a16:creationId xmlns:a16="http://schemas.microsoft.com/office/drawing/2014/main" id="{5F61578E-78C4-4B2D-9AD7-E0AED486CB0F}"/>
              </a:ext>
            </a:extLst>
          </p:cNvPr>
          <p:cNvSpPr txBox="1"/>
          <p:nvPr userDrawn="1"/>
        </p:nvSpPr>
        <p:spPr>
          <a:xfrm>
            <a:off x="4672656" y="2579675"/>
            <a:ext cx="713232" cy="338328"/>
          </a:xfrm>
          <a:prstGeom prst="rect">
            <a:avLst/>
          </a:prstGeom>
          <a:noFill/>
        </p:spPr>
        <p:txBody>
          <a:bodyPr wrap="square" lIns="0" rIns="0">
            <a:noAutofit/>
          </a:bodyPr>
          <a:lstStyle/>
          <a:p>
            <a:pPr algn="ctr"/>
            <a:r>
              <a:rPr lang="en-US" sz="800">
                <a:solidFill>
                  <a:schemeClr val="bg1"/>
                </a:solidFill>
              </a:rPr>
              <a:t>Pivot</a:t>
            </a:r>
          </a:p>
        </p:txBody>
      </p:sp>
      <p:sp>
        <p:nvSpPr>
          <p:cNvPr id="300" name="TextBox 299">
            <a:extLst>
              <a:ext uri="{FF2B5EF4-FFF2-40B4-BE49-F238E27FC236}">
                <a16:creationId xmlns:a16="http://schemas.microsoft.com/office/drawing/2014/main" id="{62FA26B4-DED1-45C5-AD24-A088DF12A9C2}"/>
              </a:ext>
            </a:extLst>
          </p:cNvPr>
          <p:cNvSpPr txBox="1"/>
          <p:nvPr userDrawn="1"/>
        </p:nvSpPr>
        <p:spPr>
          <a:xfrm>
            <a:off x="5386780" y="2579675"/>
            <a:ext cx="713232" cy="338328"/>
          </a:xfrm>
          <a:prstGeom prst="rect">
            <a:avLst/>
          </a:prstGeom>
          <a:noFill/>
        </p:spPr>
        <p:txBody>
          <a:bodyPr wrap="square" lIns="0" rIns="0">
            <a:noAutofit/>
          </a:bodyPr>
          <a:lstStyle/>
          <a:p>
            <a:pPr algn="ctr"/>
            <a:r>
              <a:rPr lang="en-US" sz="800">
                <a:solidFill>
                  <a:schemeClr val="bg1"/>
                </a:solidFill>
              </a:rPr>
              <a:t>Plugin</a:t>
            </a:r>
          </a:p>
        </p:txBody>
      </p:sp>
      <p:sp>
        <p:nvSpPr>
          <p:cNvPr id="302" name="TextBox 301">
            <a:extLst>
              <a:ext uri="{FF2B5EF4-FFF2-40B4-BE49-F238E27FC236}">
                <a16:creationId xmlns:a16="http://schemas.microsoft.com/office/drawing/2014/main" id="{59579CF6-371E-4D6D-AEE6-B151B8789EB4}"/>
              </a:ext>
            </a:extLst>
          </p:cNvPr>
          <p:cNvSpPr txBox="1"/>
          <p:nvPr userDrawn="1"/>
        </p:nvSpPr>
        <p:spPr>
          <a:xfrm>
            <a:off x="6100904" y="2579675"/>
            <a:ext cx="713232" cy="338328"/>
          </a:xfrm>
          <a:prstGeom prst="rect">
            <a:avLst/>
          </a:prstGeom>
          <a:noFill/>
        </p:spPr>
        <p:txBody>
          <a:bodyPr wrap="square" lIns="0" rIns="0">
            <a:noAutofit/>
          </a:bodyPr>
          <a:lstStyle/>
          <a:p>
            <a:pPr algn="ctr"/>
            <a:r>
              <a:rPr lang="en-US" sz="800">
                <a:solidFill>
                  <a:schemeClr val="bg1"/>
                </a:solidFill>
              </a:rPr>
              <a:t>Process identification</a:t>
            </a:r>
          </a:p>
        </p:txBody>
      </p:sp>
      <p:sp>
        <p:nvSpPr>
          <p:cNvPr id="304" name="TextBox 303">
            <a:extLst>
              <a:ext uri="{FF2B5EF4-FFF2-40B4-BE49-F238E27FC236}">
                <a16:creationId xmlns:a16="http://schemas.microsoft.com/office/drawing/2014/main" id="{21CFD8E2-5605-4046-A0EB-ED006A0E0DB1}"/>
              </a:ext>
            </a:extLst>
          </p:cNvPr>
          <p:cNvSpPr txBox="1"/>
          <p:nvPr userDrawn="1"/>
        </p:nvSpPr>
        <p:spPr>
          <a:xfrm>
            <a:off x="6815028" y="2579675"/>
            <a:ext cx="713232" cy="338328"/>
          </a:xfrm>
          <a:prstGeom prst="rect">
            <a:avLst/>
          </a:prstGeom>
          <a:noFill/>
        </p:spPr>
        <p:txBody>
          <a:bodyPr wrap="square" lIns="0" rIns="0">
            <a:noAutofit/>
          </a:bodyPr>
          <a:lstStyle/>
          <a:p>
            <a:pPr algn="ctr"/>
            <a:r>
              <a:rPr lang="en-US" sz="800">
                <a:solidFill>
                  <a:schemeClr val="bg1"/>
                </a:solidFill>
              </a:rPr>
              <a:t>Process identification 2</a:t>
            </a:r>
          </a:p>
        </p:txBody>
      </p:sp>
      <p:sp>
        <p:nvSpPr>
          <p:cNvPr id="306" name="TextBox 305">
            <a:extLst>
              <a:ext uri="{FF2B5EF4-FFF2-40B4-BE49-F238E27FC236}">
                <a16:creationId xmlns:a16="http://schemas.microsoft.com/office/drawing/2014/main" id="{B1754DEB-2B82-418D-82D8-CB8E0EB41F22}"/>
              </a:ext>
            </a:extLst>
          </p:cNvPr>
          <p:cNvSpPr txBox="1"/>
          <p:nvPr userDrawn="1"/>
        </p:nvSpPr>
        <p:spPr>
          <a:xfrm>
            <a:off x="7529152" y="2579675"/>
            <a:ext cx="713232" cy="338328"/>
          </a:xfrm>
          <a:prstGeom prst="rect">
            <a:avLst/>
          </a:prstGeom>
          <a:noFill/>
        </p:spPr>
        <p:txBody>
          <a:bodyPr wrap="square" lIns="0" rIns="0">
            <a:no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26F11A8C-BB88-412C-B933-23AA36C9F2F7}"/>
              </a:ext>
            </a:extLst>
          </p:cNvPr>
          <p:cNvSpPr txBox="1"/>
          <p:nvPr userDrawn="1"/>
        </p:nvSpPr>
        <p:spPr>
          <a:xfrm>
            <a:off x="8243276" y="2579675"/>
            <a:ext cx="713232" cy="338328"/>
          </a:xfrm>
          <a:prstGeom prst="rect">
            <a:avLst/>
          </a:prstGeom>
          <a:noFill/>
        </p:spPr>
        <p:txBody>
          <a:bodyPr wrap="square" lIns="0" rIns="0">
            <a:noAutofit/>
          </a:bodyPr>
          <a:lstStyle/>
          <a:p>
            <a:pPr algn="ctr"/>
            <a:r>
              <a:rPr lang="en-US" sz="800">
                <a:solidFill>
                  <a:schemeClr val="bg1"/>
                </a:solidFill>
              </a:rPr>
              <a:t>Promoter bullhorn</a:t>
            </a:r>
          </a:p>
        </p:txBody>
      </p:sp>
      <p:sp>
        <p:nvSpPr>
          <p:cNvPr id="310" name="TextBox 309">
            <a:extLst>
              <a:ext uri="{FF2B5EF4-FFF2-40B4-BE49-F238E27FC236}">
                <a16:creationId xmlns:a16="http://schemas.microsoft.com/office/drawing/2014/main" id="{2D9CC8AD-B318-4429-8371-611D8CAE132B}"/>
              </a:ext>
            </a:extLst>
          </p:cNvPr>
          <p:cNvSpPr txBox="1"/>
          <p:nvPr userDrawn="1"/>
        </p:nvSpPr>
        <p:spPr>
          <a:xfrm>
            <a:off x="10385648" y="2579675"/>
            <a:ext cx="713232" cy="338328"/>
          </a:xfrm>
          <a:prstGeom prst="rect">
            <a:avLst/>
          </a:prstGeom>
          <a:noFill/>
        </p:spPr>
        <p:txBody>
          <a:bodyPr wrap="square" lIns="0" rIns="0">
            <a:noAutofit/>
          </a:bodyPr>
          <a:lstStyle/>
          <a:p>
            <a:pPr algn="ctr"/>
            <a:r>
              <a:rPr lang="en-US" sz="800">
                <a:solidFill>
                  <a:schemeClr val="bg1"/>
                </a:solidFill>
              </a:rPr>
              <a:t>Public </a:t>
            </a:r>
          </a:p>
          <a:p>
            <a:pPr algn="ctr"/>
            <a:r>
              <a:rPr lang="en-US" sz="800">
                <a:solidFill>
                  <a:schemeClr val="bg1"/>
                </a:solidFill>
              </a:rPr>
              <a:t>sector</a:t>
            </a:r>
          </a:p>
        </p:txBody>
      </p:sp>
      <p:sp>
        <p:nvSpPr>
          <p:cNvPr id="312" name="TextBox 311">
            <a:extLst>
              <a:ext uri="{FF2B5EF4-FFF2-40B4-BE49-F238E27FC236}">
                <a16:creationId xmlns:a16="http://schemas.microsoft.com/office/drawing/2014/main" id="{AE385186-759D-4797-A591-88E53792751C}"/>
              </a:ext>
            </a:extLst>
          </p:cNvPr>
          <p:cNvSpPr txBox="1"/>
          <p:nvPr userDrawn="1"/>
        </p:nvSpPr>
        <p:spPr>
          <a:xfrm>
            <a:off x="3244408" y="2579675"/>
            <a:ext cx="713232" cy="338328"/>
          </a:xfrm>
          <a:prstGeom prst="rect">
            <a:avLst/>
          </a:prstGeom>
          <a:noFill/>
        </p:spPr>
        <p:txBody>
          <a:bodyPr wrap="square" lIns="0" rIns="0">
            <a:noAutofit/>
          </a:bodyPr>
          <a:lstStyle/>
          <a:p>
            <a:pPr algn="ctr"/>
            <a:r>
              <a:rPr lang="en-US" sz="800">
                <a:solidFill>
                  <a:schemeClr val="bg1"/>
                </a:solidFill>
              </a:rPr>
              <a:t>OCR alt</a:t>
            </a:r>
          </a:p>
        </p:txBody>
      </p:sp>
    </p:spTree>
    <p:extLst>
      <p:ext uri="{BB962C8B-B14F-4D97-AF65-F5344CB8AC3E}">
        <p14:creationId xmlns:p14="http://schemas.microsoft.com/office/powerpoint/2010/main" val="17599503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Icon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026C5A-1148-4A65-A2E6-87A142686441}"/>
              </a:ext>
            </a:extLst>
          </p:cNvPr>
          <p:cNvSpPr/>
          <p:nvPr userDrawn="1"/>
        </p:nvSpPr>
        <p:spPr>
          <a:xfrm>
            <a:off x="1" y="1143002"/>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34735C1A-1459-487F-B7D7-404BA0480FFE}"/>
              </a:ext>
            </a:extLst>
          </p:cNvPr>
          <p:cNvSpPr txBox="1"/>
          <p:nvPr userDrawn="1"/>
        </p:nvSpPr>
        <p:spPr>
          <a:xfrm>
            <a:off x="440509"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6" name="TextBox 5">
            <a:extLst>
              <a:ext uri="{FF2B5EF4-FFF2-40B4-BE49-F238E27FC236}">
                <a16:creationId xmlns:a16="http://schemas.microsoft.com/office/drawing/2014/main" id="{4EAB2A13-7FE6-48D5-9361-839B1F913D0B}"/>
              </a:ext>
            </a:extLst>
          </p:cNvPr>
          <p:cNvSpPr txBox="1"/>
          <p:nvPr userDrawn="1"/>
        </p:nvSpPr>
        <p:spPr>
          <a:xfrm>
            <a:off x="1147054"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8" name="TextBox 7">
            <a:extLst>
              <a:ext uri="{FF2B5EF4-FFF2-40B4-BE49-F238E27FC236}">
                <a16:creationId xmlns:a16="http://schemas.microsoft.com/office/drawing/2014/main" id="{C241002E-AE5F-438D-9DB5-7BE0D2447496}"/>
              </a:ext>
            </a:extLst>
          </p:cNvPr>
          <p:cNvSpPr txBox="1"/>
          <p:nvPr userDrawn="1"/>
        </p:nvSpPr>
        <p:spPr>
          <a:xfrm>
            <a:off x="1853599"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9" name="TextBox 8">
            <a:extLst>
              <a:ext uri="{FF2B5EF4-FFF2-40B4-BE49-F238E27FC236}">
                <a16:creationId xmlns:a16="http://schemas.microsoft.com/office/drawing/2014/main" id="{366A7C67-43D3-4811-8C64-6740A8C77E72}"/>
              </a:ext>
            </a:extLst>
          </p:cNvPr>
          <p:cNvSpPr txBox="1"/>
          <p:nvPr userDrawn="1"/>
        </p:nvSpPr>
        <p:spPr>
          <a:xfrm>
            <a:off x="2560144"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10" name="TextBox 9">
            <a:extLst>
              <a:ext uri="{FF2B5EF4-FFF2-40B4-BE49-F238E27FC236}">
                <a16:creationId xmlns:a16="http://schemas.microsoft.com/office/drawing/2014/main" id="{8F995122-54A9-4FF5-80BF-827DEA5BD63C}"/>
              </a:ext>
            </a:extLst>
          </p:cNvPr>
          <p:cNvSpPr txBox="1"/>
          <p:nvPr userDrawn="1"/>
        </p:nvSpPr>
        <p:spPr>
          <a:xfrm>
            <a:off x="3266689"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12" name="TextBox 11">
            <a:extLst>
              <a:ext uri="{FF2B5EF4-FFF2-40B4-BE49-F238E27FC236}">
                <a16:creationId xmlns:a16="http://schemas.microsoft.com/office/drawing/2014/main" id="{EF237658-3743-4349-9D3A-F64B49456FFB}"/>
              </a:ext>
            </a:extLst>
          </p:cNvPr>
          <p:cNvSpPr txBox="1"/>
          <p:nvPr userDrawn="1"/>
        </p:nvSpPr>
        <p:spPr>
          <a:xfrm>
            <a:off x="3973234"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14" name="TextBox 13">
            <a:extLst>
              <a:ext uri="{FF2B5EF4-FFF2-40B4-BE49-F238E27FC236}">
                <a16:creationId xmlns:a16="http://schemas.microsoft.com/office/drawing/2014/main" id="{F3D45A5B-0395-453B-A8E3-7CB5154800EA}"/>
              </a:ext>
            </a:extLst>
          </p:cNvPr>
          <p:cNvSpPr txBox="1"/>
          <p:nvPr userDrawn="1"/>
        </p:nvSpPr>
        <p:spPr>
          <a:xfrm>
            <a:off x="4679779"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16" name="TextBox 15">
            <a:extLst>
              <a:ext uri="{FF2B5EF4-FFF2-40B4-BE49-F238E27FC236}">
                <a16:creationId xmlns:a16="http://schemas.microsoft.com/office/drawing/2014/main" id="{3A186D34-FDA7-4E20-807B-28BA06F5FC7D}"/>
              </a:ext>
            </a:extLst>
          </p:cNvPr>
          <p:cNvSpPr txBox="1"/>
          <p:nvPr userDrawn="1"/>
        </p:nvSpPr>
        <p:spPr>
          <a:xfrm>
            <a:off x="5386324"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18" name="TextBox 17">
            <a:extLst>
              <a:ext uri="{FF2B5EF4-FFF2-40B4-BE49-F238E27FC236}">
                <a16:creationId xmlns:a16="http://schemas.microsoft.com/office/drawing/2014/main" id="{BEE869D7-13A9-405D-BC63-717725A7AE66}"/>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0" name="TextBox 19">
            <a:extLst>
              <a:ext uri="{FF2B5EF4-FFF2-40B4-BE49-F238E27FC236}">
                <a16:creationId xmlns:a16="http://schemas.microsoft.com/office/drawing/2014/main" id="{83586A05-EBB5-425E-8FA2-6CDA1AA910BA}"/>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2" name="TextBox 21">
            <a:extLst>
              <a:ext uri="{FF2B5EF4-FFF2-40B4-BE49-F238E27FC236}">
                <a16:creationId xmlns:a16="http://schemas.microsoft.com/office/drawing/2014/main" id="{52D3B3AB-F9AF-4929-844A-F0598940116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 name="TextBox 23">
            <a:extLst>
              <a:ext uri="{FF2B5EF4-FFF2-40B4-BE49-F238E27FC236}">
                <a16:creationId xmlns:a16="http://schemas.microsoft.com/office/drawing/2014/main" id="{65C7AAFE-A53B-4BBE-BEAC-222BF94F9B9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6" name="TextBox 25">
            <a:extLst>
              <a:ext uri="{FF2B5EF4-FFF2-40B4-BE49-F238E27FC236}">
                <a16:creationId xmlns:a16="http://schemas.microsoft.com/office/drawing/2014/main" id="{5D645E55-7C1A-4830-85F9-43E1DBDFC48F}"/>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8" name="TextBox 27">
            <a:extLst>
              <a:ext uri="{FF2B5EF4-FFF2-40B4-BE49-F238E27FC236}">
                <a16:creationId xmlns:a16="http://schemas.microsoft.com/office/drawing/2014/main" id="{1CD59EBB-E444-4C1E-B9D5-971F2D28E120}"/>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30" name="TextBox 29">
            <a:extLst>
              <a:ext uri="{FF2B5EF4-FFF2-40B4-BE49-F238E27FC236}">
                <a16:creationId xmlns:a16="http://schemas.microsoft.com/office/drawing/2014/main" id="{40C6EC6E-4185-4BF7-8559-A4BF42C3F6C7}"/>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32" name="TextBox 31">
            <a:extLst>
              <a:ext uri="{FF2B5EF4-FFF2-40B4-BE49-F238E27FC236}">
                <a16:creationId xmlns:a16="http://schemas.microsoft.com/office/drawing/2014/main" id="{7047B854-7EDD-4D19-A957-8B334E1210D6}"/>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34" name="TextBox 33">
            <a:extLst>
              <a:ext uri="{FF2B5EF4-FFF2-40B4-BE49-F238E27FC236}">
                <a16:creationId xmlns:a16="http://schemas.microsoft.com/office/drawing/2014/main" id="{ADEE8021-E9E5-460F-84B0-5A4B52E44EC9}"/>
              </a:ext>
            </a:extLst>
          </p:cNvPr>
          <p:cNvSpPr txBox="1"/>
          <p:nvPr userDrawn="1"/>
        </p:nvSpPr>
        <p:spPr>
          <a:xfrm>
            <a:off x="440509"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36" name="TextBox 35">
            <a:extLst>
              <a:ext uri="{FF2B5EF4-FFF2-40B4-BE49-F238E27FC236}">
                <a16:creationId xmlns:a16="http://schemas.microsoft.com/office/drawing/2014/main" id="{94BBFC25-4898-440A-A476-B43161B78208}"/>
              </a:ext>
            </a:extLst>
          </p:cNvPr>
          <p:cNvSpPr txBox="1"/>
          <p:nvPr userDrawn="1"/>
        </p:nvSpPr>
        <p:spPr>
          <a:xfrm>
            <a:off x="1147054"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38" name="TextBox 37">
            <a:extLst>
              <a:ext uri="{FF2B5EF4-FFF2-40B4-BE49-F238E27FC236}">
                <a16:creationId xmlns:a16="http://schemas.microsoft.com/office/drawing/2014/main" id="{CA745A70-9984-47FA-AA05-88FFB4303870}"/>
              </a:ext>
            </a:extLst>
          </p:cNvPr>
          <p:cNvSpPr txBox="1"/>
          <p:nvPr userDrawn="1"/>
        </p:nvSpPr>
        <p:spPr>
          <a:xfrm>
            <a:off x="1853599"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40" name="TextBox 39">
            <a:extLst>
              <a:ext uri="{FF2B5EF4-FFF2-40B4-BE49-F238E27FC236}">
                <a16:creationId xmlns:a16="http://schemas.microsoft.com/office/drawing/2014/main" id="{762B05EC-9AC5-4D80-8563-C6D8703F992D}"/>
              </a:ext>
            </a:extLst>
          </p:cNvPr>
          <p:cNvSpPr txBox="1"/>
          <p:nvPr userDrawn="1"/>
        </p:nvSpPr>
        <p:spPr>
          <a:xfrm>
            <a:off x="2560144"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42" name="TextBox 41">
            <a:extLst>
              <a:ext uri="{FF2B5EF4-FFF2-40B4-BE49-F238E27FC236}">
                <a16:creationId xmlns:a16="http://schemas.microsoft.com/office/drawing/2014/main" id="{DA7BFF46-4653-4019-8ED0-8F2D35EE11E0}"/>
              </a:ext>
            </a:extLst>
          </p:cNvPr>
          <p:cNvSpPr txBox="1"/>
          <p:nvPr userDrawn="1"/>
        </p:nvSpPr>
        <p:spPr>
          <a:xfrm>
            <a:off x="3266689"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44" name="TextBox 43">
            <a:extLst>
              <a:ext uri="{FF2B5EF4-FFF2-40B4-BE49-F238E27FC236}">
                <a16:creationId xmlns:a16="http://schemas.microsoft.com/office/drawing/2014/main" id="{4C54EA5B-B3FC-40F8-8EFC-CA9924E13F31}"/>
              </a:ext>
            </a:extLst>
          </p:cNvPr>
          <p:cNvSpPr txBox="1"/>
          <p:nvPr userDrawn="1"/>
        </p:nvSpPr>
        <p:spPr>
          <a:xfrm>
            <a:off x="3973234"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46" name="TextBox 45">
            <a:extLst>
              <a:ext uri="{FF2B5EF4-FFF2-40B4-BE49-F238E27FC236}">
                <a16:creationId xmlns:a16="http://schemas.microsoft.com/office/drawing/2014/main" id="{C16E407F-DC88-4046-826A-AE9A29377D1C}"/>
              </a:ext>
            </a:extLst>
          </p:cNvPr>
          <p:cNvSpPr txBox="1"/>
          <p:nvPr userDrawn="1"/>
        </p:nvSpPr>
        <p:spPr>
          <a:xfrm>
            <a:off x="4679779"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48" name="TextBox 47">
            <a:extLst>
              <a:ext uri="{FF2B5EF4-FFF2-40B4-BE49-F238E27FC236}">
                <a16:creationId xmlns:a16="http://schemas.microsoft.com/office/drawing/2014/main" id="{48A44460-3AAE-4A1E-BB67-82F4C5A83A9A}"/>
              </a:ext>
            </a:extLst>
          </p:cNvPr>
          <p:cNvSpPr txBox="1"/>
          <p:nvPr userDrawn="1"/>
        </p:nvSpPr>
        <p:spPr>
          <a:xfrm>
            <a:off x="5386324"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50" name="TextBox 49">
            <a:extLst>
              <a:ext uri="{FF2B5EF4-FFF2-40B4-BE49-F238E27FC236}">
                <a16:creationId xmlns:a16="http://schemas.microsoft.com/office/drawing/2014/main" id="{3202F53F-7CEB-499D-A223-DC746FE9B184}"/>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52" name="TextBox 51">
            <a:extLst>
              <a:ext uri="{FF2B5EF4-FFF2-40B4-BE49-F238E27FC236}">
                <a16:creationId xmlns:a16="http://schemas.microsoft.com/office/drawing/2014/main" id="{CD2F218A-0F5D-42BF-964F-C454BBDD6490}"/>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54" name="TextBox 53">
            <a:extLst>
              <a:ext uri="{FF2B5EF4-FFF2-40B4-BE49-F238E27FC236}">
                <a16:creationId xmlns:a16="http://schemas.microsoft.com/office/drawing/2014/main" id="{8184C06B-6D8D-4DA8-B0FD-B05EB6D10A1D}"/>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56" name="TextBox 55">
            <a:extLst>
              <a:ext uri="{FF2B5EF4-FFF2-40B4-BE49-F238E27FC236}">
                <a16:creationId xmlns:a16="http://schemas.microsoft.com/office/drawing/2014/main" id="{51D63145-D224-40DE-AA12-96A17DECBE47}"/>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58" name="TextBox 57">
            <a:extLst>
              <a:ext uri="{FF2B5EF4-FFF2-40B4-BE49-F238E27FC236}">
                <a16:creationId xmlns:a16="http://schemas.microsoft.com/office/drawing/2014/main" id="{1C4078FA-C21A-4541-BA24-404A9784CEC0}"/>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60" name="TextBox 59">
            <a:extLst>
              <a:ext uri="{FF2B5EF4-FFF2-40B4-BE49-F238E27FC236}">
                <a16:creationId xmlns:a16="http://schemas.microsoft.com/office/drawing/2014/main" id="{54970EF4-C647-4417-93D1-39AE774E8F6F}"/>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62" name="TextBox 61">
            <a:extLst>
              <a:ext uri="{FF2B5EF4-FFF2-40B4-BE49-F238E27FC236}">
                <a16:creationId xmlns:a16="http://schemas.microsoft.com/office/drawing/2014/main" id="{0A744182-CD7E-46CF-ABB0-A393B3D7AD24}"/>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64" name="TextBox 63">
            <a:extLst>
              <a:ext uri="{FF2B5EF4-FFF2-40B4-BE49-F238E27FC236}">
                <a16:creationId xmlns:a16="http://schemas.microsoft.com/office/drawing/2014/main" id="{64D42C3B-921B-4C83-A94C-4140598236E4}"/>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66" name="TextBox 65">
            <a:extLst>
              <a:ext uri="{FF2B5EF4-FFF2-40B4-BE49-F238E27FC236}">
                <a16:creationId xmlns:a16="http://schemas.microsoft.com/office/drawing/2014/main" id="{3E1DB32B-AF89-4992-8C24-B8EDA0F8AD6F}"/>
              </a:ext>
            </a:extLst>
          </p:cNvPr>
          <p:cNvSpPr txBox="1"/>
          <p:nvPr userDrawn="1"/>
        </p:nvSpPr>
        <p:spPr>
          <a:xfrm>
            <a:off x="440509"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68" name="TextBox 67">
            <a:extLst>
              <a:ext uri="{FF2B5EF4-FFF2-40B4-BE49-F238E27FC236}">
                <a16:creationId xmlns:a16="http://schemas.microsoft.com/office/drawing/2014/main" id="{F48C5EA2-B519-4C71-A507-F6F3AF7FD185}"/>
              </a:ext>
            </a:extLst>
          </p:cNvPr>
          <p:cNvSpPr txBox="1"/>
          <p:nvPr userDrawn="1"/>
        </p:nvSpPr>
        <p:spPr>
          <a:xfrm>
            <a:off x="1147054"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70" name="TextBox 69">
            <a:extLst>
              <a:ext uri="{FF2B5EF4-FFF2-40B4-BE49-F238E27FC236}">
                <a16:creationId xmlns:a16="http://schemas.microsoft.com/office/drawing/2014/main" id="{C859ED8F-B82F-4351-833A-9C9CD4B7F48C}"/>
              </a:ext>
            </a:extLst>
          </p:cNvPr>
          <p:cNvSpPr txBox="1"/>
          <p:nvPr userDrawn="1"/>
        </p:nvSpPr>
        <p:spPr>
          <a:xfrm>
            <a:off x="1853599"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72" name="TextBox 71">
            <a:extLst>
              <a:ext uri="{FF2B5EF4-FFF2-40B4-BE49-F238E27FC236}">
                <a16:creationId xmlns:a16="http://schemas.microsoft.com/office/drawing/2014/main" id="{D78953F3-F86B-4671-B3FE-F3006D8E2379}"/>
              </a:ext>
            </a:extLst>
          </p:cNvPr>
          <p:cNvSpPr txBox="1"/>
          <p:nvPr userDrawn="1"/>
        </p:nvSpPr>
        <p:spPr>
          <a:xfrm>
            <a:off x="2560144"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74" name="TextBox 73">
            <a:extLst>
              <a:ext uri="{FF2B5EF4-FFF2-40B4-BE49-F238E27FC236}">
                <a16:creationId xmlns:a16="http://schemas.microsoft.com/office/drawing/2014/main" id="{F66B8559-1994-478B-BB7D-C72A5E8D5EC2}"/>
              </a:ext>
            </a:extLst>
          </p:cNvPr>
          <p:cNvSpPr txBox="1"/>
          <p:nvPr userDrawn="1"/>
        </p:nvSpPr>
        <p:spPr>
          <a:xfrm>
            <a:off x="3266689"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76" name="TextBox 75">
            <a:extLst>
              <a:ext uri="{FF2B5EF4-FFF2-40B4-BE49-F238E27FC236}">
                <a16:creationId xmlns:a16="http://schemas.microsoft.com/office/drawing/2014/main" id="{09B9ABE2-E67C-4F75-A13E-D4DFABFA5BB2}"/>
              </a:ext>
            </a:extLst>
          </p:cNvPr>
          <p:cNvSpPr txBox="1"/>
          <p:nvPr userDrawn="1"/>
        </p:nvSpPr>
        <p:spPr>
          <a:xfrm>
            <a:off x="3973234"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78" name="TextBox 77">
            <a:extLst>
              <a:ext uri="{FF2B5EF4-FFF2-40B4-BE49-F238E27FC236}">
                <a16:creationId xmlns:a16="http://schemas.microsoft.com/office/drawing/2014/main" id="{7809A5B7-AFEA-41B2-ADB3-FA9D1C1AA4AE}"/>
              </a:ext>
            </a:extLst>
          </p:cNvPr>
          <p:cNvSpPr txBox="1"/>
          <p:nvPr userDrawn="1"/>
        </p:nvSpPr>
        <p:spPr>
          <a:xfrm>
            <a:off x="4679779"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80" name="TextBox 79">
            <a:extLst>
              <a:ext uri="{FF2B5EF4-FFF2-40B4-BE49-F238E27FC236}">
                <a16:creationId xmlns:a16="http://schemas.microsoft.com/office/drawing/2014/main" id="{C230728C-8679-4A91-AF71-266750C0A7AC}"/>
              </a:ext>
            </a:extLst>
          </p:cNvPr>
          <p:cNvSpPr txBox="1"/>
          <p:nvPr userDrawn="1"/>
        </p:nvSpPr>
        <p:spPr>
          <a:xfrm>
            <a:off x="5386324"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82" name="TextBox 81">
            <a:extLst>
              <a:ext uri="{FF2B5EF4-FFF2-40B4-BE49-F238E27FC236}">
                <a16:creationId xmlns:a16="http://schemas.microsoft.com/office/drawing/2014/main" id="{7A434D91-306E-4111-8D2F-B1FFF18985BB}"/>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84" name="TextBox 83">
            <a:extLst>
              <a:ext uri="{FF2B5EF4-FFF2-40B4-BE49-F238E27FC236}">
                <a16:creationId xmlns:a16="http://schemas.microsoft.com/office/drawing/2014/main" id="{40108284-6465-4E74-8F93-668FD74DD425}"/>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86" name="TextBox 85">
            <a:extLst>
              <a:ext uri="{FF2B5EF4-FFF2-40B4-BE49-F238E27FC236}">
                <a16:creationId xmlns:a16="http://schemas.microsoft.com/office/drawing/2014/main" id="{56A2CD65-7A01-410D-B214-AB1926F18DA6}"/>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88" name="TextBox 87">
            <a:extLst>
              <a:ext uri="{FF2B5EF4-FFF2-40B4-BE49-F238E27FC236}">
                <a16:creationId xmlns:a16="http://schemas.microsoft.com/office/drawing/2014/main" id="{6F79565D-F962-4F84-86D4-26F6BAEA99B8}"/>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90" name="TextBox 89">
            <a:extLst>
              <a:ext uri="{FF2B5EF4-FFF2-40B4-BE49-F238E27FC236}">
                <a16:creationId xmlns:a16="http://schemas.microsoft.com/office/drawing/2014/main" id="{75D03FB3-54F9-4E1F-B18C-DE1FCAFE35E6}"/>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92" name="TextBox 91">
            <a:extLst>
              <a:ext uri="{FF2B5EF4-FFF2-40B4-BE49-F238E27FC236}">
                <a16:creationId xmlns:a16="http://schemas.microsoft.com/office/drawing/2014/main" id="{25571C6F-CA6F-4C96-B0D5-00C9E7A78FF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94" name="TextBox 93">
            <a:extLst>
              <a:ext uri="{FF2B5EF4-FFF2-40B4-BE49-F238E27FC236}">
                <a16:creationId xmlns:a16="http://schemas.microsoft.com/office/drawing/2014/main" id="{2600ADF8-1047-499D-A5EF-183FA0A4E87E}"/>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96" name="TextBox 95">
            <a:extLst>
              <a:ext uri="{FF2B5EF4-FFF2-40B4-BE49-F238E27FC236}">
                <a16:creationId xmlns:a16="http://schemas.microsoft.com/office/drawing/2014/main" id="{645D9247-BE71-4639-8008-A7DA99DF3BBC}"/>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98" name="TextBox 97">
            <a:extLst>
              <a:ext uri="{FF2B5EF4-FFF2-40B4-BE49-F238E27FC236}">
                <a16:creationId xmlns:a16="http://schemas.microsoft.com/office/drawing/2014/main" id="{5B5BFF1C-A8AE-4F6F-9FAD-9885DC3F05B1}"/>
              </a:ext>
            </a:extLst>
          </p:cNvPr>
          <p:cNvSpPr txBox="1"/>
          <p:nvPr userDrawn="1"/>
        </p:nvSpPr>
        <p:spPr>
          <a:xfrm>
            <a:off x="440509"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198" name="TextBox 197">
            <a:extLst>
              <a:ext uri="{FF2B5EF4-FFF2-40B4-BE49-F238E27FC236}">
                <a16:creationId xmlns:a16="http://schemas.microsoft.com/office/drawing/2014/main" id="{BCFB4821-85FB-4659-B55E-18C0B566F3E0}"/>
              </a:ext>
            </a:extLst>
          </p:cNvPr>
          <p:cNvSpPr txBox="1"/>
          <p:nvPr userDrawn="1"/>
        </p:nvSpPr>
        <p:spPr>
          <a:xfrm>
            <a:off x="1147054"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200" name="TextBox 199">
            <a:extLst>
              <a:ext uri="{FF2B5EF4-FFF2-40B4-BE49-F238E27FC236}">
                <a16:creationId xmlns:a16="http://schemas.microsoft.com/office/drawing/2014/main" id="{CF63A17F-E293-4467-9B2D-495B979AD6A7}"/>
              </a:ext>
            </a:extLst>
          </p:cNvPr>
          <p:cNvSpPr txBox="1"/>
          <p:nvPr userDrawn="1"/>
        </p:nvSpPr>
        <p:spPr>
          <a:xfrm>
            <a:off x="1853599"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202" name="TextBox 201">
            <a:extLst>
              <a:ext uri="{FF2B5EF4-FFF2-40B4-BE49-F238E27FC236}">
                <a16:creationId xmlns:a16="http://schemas.microsoft.com/office/drawing/2014/main" id="{8E1BEFD3-8BA4-4CDB-A5F3-E6D381E13E79}"/>
              </a:ext>
            </a:extLst>
          </p:cNvPr>
          <p:cNvSpPr txBox="1"/>
          <p:nvPr userDrawn="1"/>
        </p:nvSpPr>
        <p:spPr>
          <a:xfrm>
            <a:off x="2560144"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204" name="TextBox 203">
            <a:extLst>
              <a:ext uri="{FF2B5EF4-FFF2-40B4-BE49-F238E27FC236}">
                <a16:creationId xmlns:a16="http://schemas.microsoft.com/office/drawing/2014/main" id="{B95B47FC-58B3-42E8-B23D-678AFF1E4AB6}"/>
              </a:ext>
            </a:extLst>
          </p:cNvPr>
          <p:cNvSpPr txBox="1"/>
          <p:nvPr userDrawn="1"/>
        </p:nvSpPr>
        <p:spPr>
          <a:xfrm>
            <a:off x="3266689"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206" name="TextBox 205">
            <a:extLst>
              <a:ext uri="{FF2B5EF4-FFF2-40B4-BE49-F238E27FC236}">
                <a16:creationId xmlns:a16="http://schemas.microsoft.com/office/drawing/2014/main" id="{98997819-EE61-4D13-B298-E073FDD23D6E}"/>
              </a:ext>
            </a:extLst>
          </p:cNvPr>
          <p:cNvSpPr txBox="1"/>
          <p:nvPr userDrawn="1"/>
        </p:nvSpPr>
        <p:spPr>
          <a:xfrm>
            <a:off x="3941378"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208" name="TextBox 207">
            <a:extLst>
              <a:ext uri="{FF2B5EF4-FFF2-40B4-BE49-F238E27FC236}">
                <a16:creationId xmlns:a16="http://schemas.microsoft.com/office/drawing/2014/main" id="{1CDD5422-11D0-4043-AAB6-888DE949676B}"/>
              </a:ext>
            </a:extLst>
          </p:cNvPr>
          <p:cNvSpPr txBox="1"/>
          <p:nvPr userDrawn="1"/>
        </p:nvSpPr>
        <p:spPr>
          <a:xfrm>
            <a:off x="4679779"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210" name="TextBox 209">
            <a:extLst>
              <a:ext uri="{FF2B5EF4-FFF2-40B4-BE49-F238E27FC236}">
                <a16:creationId xmlns:a16="http://schemas.microsoft.com/office/drawing/2014/main" id="{2EE6C031-4A38-4E6E-859D-58161894EDDF}"/>
              </a:ext>
            </a:extLst>
          </p:cNvPr>
          <p:cNvSpPr txBox="1"/>
          <p:nvPr userDrawn="1"/>
        </p:nvSpPr>
        <p:spPr>
          <a:xfrm>
            <a:off x="5386324"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212" name="TextBox 211">
            <a:extLst>
              <a:ext uri="{FF2B5EF4-FFF2-40B4-BE49-F238E27FC236}">
                <a16:creationId xmlns:a16="http://schemas.microsoft.com/office/drawing/2014/main" id="{F82642C0-8812-4C82-B6AE-F5C1B49AF463}"/>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214" name="TextBox 213">
            <a:extLst>
              <a:ext uri="{FF2B5EF4-FFF2-40B4-BE49-F238E27FC236}">
                <a16:creationId xmlns:a16="http://schemas.microsoft.com/office/drawing/2014/main" id="{83246CFA-8D1B-4222-9178-25FBF0482CD2}"/>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216" name="TextBox 215">
            <a:extLst>
              <a:ext uri="{FF2B5EF4-FFF2-40B4-BE49-F238E27FC236}">
                <a16:creationId xmlns:a16="http://schemas.microsoft.com/office/drawing/2014/main" id="{740A0D44-7809-49A1-9A38-0803FBA70458}"/>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218" name="TextBox 217">
            <a:extLst>
              <a:ext uri="{FF2B5EF4-FFF2-40B4-BE49-F238E27FC236}">
                <a16:creationId xmlns:a16="http://schemas.microsoft.com/office/drawing/2014/main" id="{8304B48C-2421-469B-8A1D-F1599025579D}"/>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220" name="TextBox 219">
            <a:extLst>
              <a:ext uri="{FF2B5EF4-FFF2-40B4-BE49-F238E27FC236}">
                <a16:creationId xmlns:a16="http://schemas.microsoft.com/office/drawing/2014/main" id="{1FE09C38-6EDE-4340-BACE-59D2B169979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222" name="TextBox 221">
            <a:extLst>
              <a:ext uri="{FF2B5EF4-FFF2-40B4-BE49-F238E27FC236}">
                <a16:creationId xmlns:a16="http://schemas.microsoft.com/office/drawing/2014/main" id="{1D7EB514-5B33-42C5-859F-E57E91B7010E}"/>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224" name="TextBox 223">
            <a:extLst>
              <a:ext uri="{FF2B5EF4-FFF2-40B4-BE49-F238E27FC236}">
                <a16:creationId xmlns:a16="http://schemas.microsoft.com/office/drawing/2014/main" id="{26FD5748-DC45-40A0-8C47-272C00614B7F}"/>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226" name="TextBox 225">
            <a:extLst>
              <a:ext uri="{FF2B5EF4-FFF2-40B4-BE49-F238E27FC236}">
                <a16:creationId xmlns:a16="http://schemas.microsoft.com/office/drawing/2014/main" id="{80DA9FC6-6CEC-4DAC-AF65-4C37430BC240}"/>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228" name="TextBox 227">
            <a:extLst>
              <a:ext uri="{FF2B5EF4-FFF2-40B4-BE49-F238E27FC236}">
                <a16:creationId xmlns:a16="http://schemas.microsoft.com/office/drawing/2014/main" id="{871895F0-62BA-429F-B560-A37C251D2143}"/>
              </a:ext>
            </a:extLst>
          </p:cNvPr>
          <p:cNvSpPr txBox="1"/>
          <p:nvPr userDrawn="1"/>
        </p:nvSpPr>
        <p:spPr>
          <a:xfrm>
            <a:off x="440509"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230" name="TextBox 229">
            <a:extLst>
              <a:ext uri="{FF2B5EF4-FFF2-40B4-BE49-F238E27FC236}">
                <a16:creationId xmlns:a16="http://schemas.microsoft.com/office/drawing/2014/main" id="{E6E0E300-18C9-4350-8B65-0A4C0DB50655}"/>
              </a:ext>
            </a:extLst>
          </p:cNvPr>
          <p:cNvSpPr txBox="1"/>
          <p:nvPr userDrawn="1"/>
        </p:nvSpPr>
        <p:spPr>
          <a:xfrm>
            <a:off x="1147054"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232" name="TextBox 231">
            <a:extLst>
              <a:ext uri="{FF2B5EF4-FFF2-40B4-BE49-F238E27FC236}">
                <a16:creationId xmlns:a16="http://schemas.microsoft.com/office/drawing/2014/main" id="{34CBF41C-9C51-431C-9983-170FD099272D}"/>
              </a:ext>
            </a:extLst>
          </p:cNvPr>
          <p:cNvSpPr txBox="1"/>
          <p:nvPr userDrawn="1"/>
        </p:nvSpPr>
        <p:spPr>
          <a:xfrm>
            <a:off x="1853599"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234" name="TextBox 233">
            <a:extLst>
              <a:ext uri="{FF2B5EF4-FFF2-40B4-BE49-F238E27FC236}">
                <a16:creationId xmlns:a16="http://schemas.microsoft.com/office/drawing/2014/main" id="{68CAB6FB-1DFE-4103-AB9B-F3C7DE146FB2}"/>
              </a:ext>
            </a:extLst>
          </p:cNvPr>
          <p:cNvSpPr txBox="1"/>
          <p:nvPr userDrawn="1"/>
        </p:nvSpPr>
        <p:spPr>
          <a:xfrm>
            <a:off x="256014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236" name="TextBox 235">
            <a:extLst>
              <a:ext uri="{FF2B5EF4-FFF2-40B4-BE49-F238E27FC236}">
                <a16:creationId xmlns:a16="http://schemas.microsoft.com/office/drawing/2014/main" id="{1D198AB7-3307-40BC-B6AD-160ECCF5FC1F}"/>
              </a:ext>
            </a:extLst>
          </p:cNvPr>
          <p:cNvSpPr txBox="1"/>
          <p:nvPr userDrawn="1"/>
        </p:nvSpPr>
        <p:spPr>
          <a:xfrm>
            <a:off x="3201238"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238" name="TextBox 237">
            <a:extLst>
              <a:ext uri="{FF2B5EF4-FFF2-40B4-BE49-F238E27FC236}">
                <a16:creationId xmlns:a16="http://schemas.microsoft.com/office/drawing/2014/main" id="{D849EC34-9669-4E97-9A37-CA5898B30FB0}"/>
              </a:ext>
            </a:extLst>
          </p:cNvPr>
          <p:cNvSpPr txBox="1"/>
          <p:nvPr userDrawn="1"/>
        </p:nvSpPr>
        <p:spPr>
          <a:xfrm>
            <a:off x="397323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240" name="TextBox 239">
            <a:extLst>
              <a:ext uri="{FF2B5EF4-FFF2-40B4-BE49-F238E27FC236}">
                <a16:creationId xmlns:a16="http://schemas.microsoft.com/office/drawing/2014/main" id="{D09870EA-E114-4B94-AF27-2E8257B35D1E}"/>
              </a:ext>
            </a:extLst>
          </p:cNvPr>
          <p:cNvSpPr txBox="1"/>
          <p:nvPr userDrawn="1"/>
        </p:nvSpPr>
        <p:spPr>
          <a:xfrm>
            <a:off x="4679779"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242" name="TextBox 241">
            <a:extLst>
              <a:ext uri="{FF2B5EF4-FFF2-40B4-BE49-F238E27FC236}">
                <a16:creationId xmlns:a16="http://schemas.microsoft.com/office/drawing/2014/main" id="{32C18630-236B-499B-A8D6-6A459A6DDCC2}"/>
              </a:ext>
            </a:extLst>
          </p:cNvPr>
          <p:cNvSpPr txBox="1"/>
          <p:nvPr userDrawn="1"/>
        </p:nvSpPr>
        <p:spPr>
          <a:xfrm>
            <a:off x="5386324"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244" name="TextBox 243">
            <a:extLst>
              <a:ext uri="{FF2B5EF4-FFF2-40B4-BE49-F238E27FC236}">
                <a16:creationId xmlns:a16="http://schemas.microsoft.com/office/drawing/2014/main" id="{2678FFA1-843A-487A-B87A-6853078F47C0}"/>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246" name="TextBox 245">
            <a:extLst>
              <a:ext uri="{FF2B5EF4-FFF2-40B4-BE49-F238E27FC236}">
                <a16:creationId xmlns:a16="http://schemas.microsoft.com/office/drawing/2014/main" id="{A961AA5A-BF9B-481B-88F9-9B8CC3B571A6}"/>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248" name="TextBox 247">
            <a:extLst>
              <a:ext uri="{FF2B5EF4-FFF2-40B4-BE49-F238E27FC236}">
                <a16:creationId xmlns:a16="http://schemas.microsoft.com/office/drawing/2014/main" id="{1A0314A5-DC5B-4BEE-A184-77149F49C0B0}"/>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250" name="TextBox 249">
            <a:extLst>
              <a:ext uri="{FF2B5EF4-FFF2-40B4-BE49-F238E27FC236}">
                <a16:creationId xmlns:a16="http://schemas.microsoft.com/office/drawing/2014/main" id="{627533C7-1D71-47D6-AA9C-71B830FD88FC}"/>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252" name="TextBox 251">
            <a:extLst>
              <a:ext uri="{FF2B5EF4-FFF2-40B4-BE49-F238E27FC236}">
                <a16:creationId xmlns:a16="http://schemas.microsoft.com/office/drawing/2014/main" id="{2A20D7AD-5CCE-4234-8AC2-63F719E1FB64}"/>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254" name="TextBox 253">
            <a:extLst>
              <a:ext uri="{FF2B5EF4-FFF2-40B4-BE49-F238E27FC236}">
                <a16:creationId xmlns:a16="http://schemas.microsoft.com/office/drawing/2014/main" id="{5311950C-2490-4477-AEC4-736D9E48C38C}"/>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256" name="TextBox 255">
            <a:extLst>
              <a:ext uri="{FF2B5EF4-FFF2-40B4-BE49-F238E27FC236}">
                <a16:creationId xmlns:a16="http://schemas.microsoft.com/office/drawing/2014/main" id="{2E349008-28F9-401B-8C6A-F32F0B710736}"/>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258" name="TextBox 257">
            <a:extLst>
              <a:ext uri="{FF2B5EF4-FFF2-40B4-BE49-F238E27FC236}">
                <a16:creationId xmlns:a16="http://schemas.microsoft.com/office/drawing/2014/main" id="{62CA415E-A75C-4D03-AFF9-DB3BCDD405DF}"/>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260" name="TextBox 259">
            <a:extLst>
              <a:ext uri="{FF2B5EF4-FFF2-40B4-BE49-F238E27FC236}">
                <a16:creationId xmlns:a16="http://schemas.microsoft.com/office/drawing/2014/main" id="{92CFAC5C-F24D-40B1-8D9F-7E389D46961F}"/>
              </a:ext>
            </a:extLst>
          </p:cNvPr>
          <p:cNvSpPr txBox="1"/>
          <p:nvPr userDrawn="1"/>
        </p:nvSpPr>
        <p:spPr>
          <a:xfrm>
            <a:off x="440509"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262" name="TextBox 261">
            <a:extLst>
              <a:ext uri="{FF2B5EF4-FFF2-40B4-BE49-F238E27FC236}">
                <a16:creationId xmlns:a16="http://schemas.microsoft.com/office/drawing/2014/main" id="{0B71278A-9ABD-451D-8A25-D6537A066D3C}"/>
              </a:ext>
            </a:extLst>
          </p:cNvPr>
          <p:cNvSpPr txBox="1"/>
          <p:nvPr userDrawn="1"/>
        </p:nvSpPr>
        <p:spPr>
          <a:xfrm>
            <a:off x="1147054"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264" name="TextBox 263">
            <a:extLst>
              <a:ext uri="{FF2B5EF4-FFF2-40B4-BE49-F238E27FC236}">
                <a16:creationId xmlns:a16="http://schemas.microsoft.com/office/drawing/2014/main" id="{BC73EE8E-9FAA-432E-80EC-A28BF96CA3C3}"/>
              </a:ext>
            </a:extLst>
          </p:cNvPr>
          <p:cNvSpPr txBox="1"/>
          <p:nvPr userDrawn="1"/>
        </p:nvSpPr>
        <p:spPr>
          <a:xfrm>
            <a:off x="1853599"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266" name="TextBox 265">
            <a:extLst>
              <a:ext uri="{FF2B5EF4-FFF2-40B4-BE49-F238E27FC236}">
                <a16:creationId xmlns:a16="http://schemas.microsoft.com/office/drawing/2014/main" id="{4C7B5761-F19C-427A-9DF0-597FAD1AA4C6}"/>
              </a:ext>
            </a:extLst>
          </p:cNvPr>
          <p:cNvSpPr txBox="1"/>
          <p:nvPr userDrawn="1"/>
        </p:nvSpPr>
        <p:spPr>
          <a:xfrm>
            <a:off x="2560144"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268" name="TextBox 267">
            <a:extLst>
              <a:ext uri="{FF2B5EF4-FFF2-40B4-BE49-F238E27FC236}">
                <a16:creationId xmlns:a16="http://schemas.microsoft.com/office/drawing/2014/main" id="{17648D4F-B521-47FF-8E16-5588B33CF67F}"/>
              </a:ext>
            </a:extLst>
          </p:cNvPr>
          <p:cNvSpPr txBox="1"/>
          <p:nvPr userDrawn="1"/>
        </p:nvSpPr>
        <p:spPr>
          <a:xfrm>
            <a:off x="3266689"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270" name="TextBox 269">
            <a:extLst>
              <a:ext uri="{FF2B5EF4-FFF2-40B4-BE49-F238E27FC236}">
                <a16:creationId xmlns:a16="http://schemas.microsoft.com/office/drawing/2014/main" id="{B87B9F61-0B8F-402A-B580-96D5EE62DC70}"/>
              </a:ext>
            </a:extLst>
          </p:cNvPr>
          <p:cNvSpPr txBox="1"/>
          <p:nvPr userDrawn="1"/>
        </p:nvSpPr>
        <p:spPr>
          <a:xfrm>
            <a:off x="3973234"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272" name="TextBox 271">
            <a:extLst>
              <a:ext uri="{FF2B5EF4-FFF2-40B4-BE49-F238E27FC236}">
                <a16:creationId xmlns:a16="http://schemas.microsoft.com/office/drawing/2014/main" id="{58F439FC-8441-45FB-A3C2-AC25B8CA23FF}"/>
              </a:ext>
            </a:extLst>
          </p:cNvPr>
          <p:cNvSpPr txBox="1"/>
          <p:nvPr userDrawn="1"/>
        </p:nvSpPr>
        <p:spPr>
          <a:xfrm>
            <a:off x="4679779"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274" name="TextBox 273">
            <a:extLst>
              <a:ext uri="{FF2B5EF4-FFF2-40B4-BE49-F238E27FC236}">
                <a16:creationId xmlns:a16="http://schemas.microsoft.com/office/drawing/2014/main" id="{44774E2F-1398-4506-8C56-E844ADDADB5B}"/>
              </a:ext>
            </a:extLst>
          </p:cNvPr>
          <p:cNvSpPr txBox="1"/>
          <p:nvPr userDrawn="1"/>
        </p:nvSpPr>
        <p:spPr>
          <a:xfrm>
            <a:off x="5386324"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276" name="TextBox 275">
            <a:extLst>
              <a:ext uri="{FF2B5EF4-FFF2-40B4-BE49-F238E27FC236}">
                <a16:creationId xmlns:a16="http://schemas.microsoft.com/office/drawing/2014/main" id="{EBFBE6C0-E9BE-48ED-B7FC-E2A49FD6BB0D}"/>
              </a:ext>
            </a:extLst>
          </p:cNvPr>
          <p:cNvSpPr txBox="1"/>
          <p:nvPr userDrawn="1"/>
        </p:nvSpPr>
        <p:spPr>
          <a:xfrm>
            <a:off x="6088790"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 name="Rectangle 2">
            <a:extLst>
              <a:ext uri="{FF2B5EF4-FFF2-40B4-BE49-F238E27FC236}">
                <a16:creationId xmlns:a16="http://schemas.microsoft.com/office/drawing/2014/main" id="{E167703B-BA4F-4ED1-9AC4-CBA9A29BC30A}"/>
              </a:ext>
            </a:extLst>
          </p:cNvPr>
          <p:cNvSpPr/>
          <p:nvPr userDrawn="1"/>
        </p:nvSpPr>
        <p:spPr>
          <a:xfrm>
            <a:off x="-1" y="6812283"/>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7" name="TextBox 96">
            <a:extLst>
              <a:ext uri="{FF2B5EF4-FFF2-40B4-BE49-F238E27FC236}">
                <a16:creationId xmlns:a16="http://schemas.microsoft.com/office/drawing/2014/main" id="{9B1773EF-27C8-4D24-BE7C-A2EE62DF2B33}"/>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Tree>
    <p:extLst>
      <p:ext uri="{BB962C8B-B14F-4D97-AF65-F5344CB8AC3E}">
        <p14:creationId xmlns:p14="http://schemas.microsoft.com/office/powerpoint/2010/main" val="36762944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userDrawn="1"/>
        </p:nvGrpSpPr>
        <p:grpSpPr bwMode="auto">
          <a:xfrm>
            <a:off x="1478931" y="1386942"/>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sz="1799"/>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sz="1799"/>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sz="1799"/>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sz="1799"/>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sz="1799"/>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sz="1799"/>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sz="1799"/>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sz="1799"/>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sz="1799"/>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sz="1799"/>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sz="1799"/>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sz="1799"/>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sz="1799"/>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sz="1799"/>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sz="1799"/>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sz="1799"/>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sz="1799"/>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sz="1799"/>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sz="1799"/>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sz="1799"/>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sz="1799"/>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sz="1799"/>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sz="1799"/>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sz="1799"/>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sz="1799"/>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sz="1799"/>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sz="1799"/>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sz="1799"/>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sz="1799"/>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sz="1799"/>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sz="1799"/>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sz="1799"/>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sz="1799"/>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sz="1799"/>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sz="1799"/>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sz="1799"/>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sz="1799"/>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sz="1799"/>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sz="1799"/>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sz="1799"/>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sz="1799"/>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sz="1799"/>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sz="1799"/>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sz="1799"/>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sz="1799"/>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sz="1799"/>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sz="1799"/>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sz="1799"/>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sz="1799"/>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sz="1799"/>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sz="1799"/>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8387760" y="2363006"/>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399"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702262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userDrawn="1"/>
        </p:nvGrpSpPr>
        <p:grpSpPr>
          <a:xfrm>
            <a:off x="751231" y="1258518"/>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5" name="Freeform 126">
              <a:extLst>
                <a:ext uri="{FF2B5EF4-FFF2-40B4-BE49-F238E27FC236}">
                  <a16:creationId xmlns:a16="http://schemas.microsoft.com/office/drawing/2014/main" id="{848972A3-EB5C-4BEF-B7CA-8E392D2607A4}"/>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6" name="Freeform 158">
              <a:extLst>
                <a:ext uri="{FF2B5EF4-FFF2-40B4-BE49-F238E27FC236}">
                  <a16:creationId xmlns:a16="http://schemas.microsoft.com/office/drawing/2014/main" id="{338C85C8-08F6-4EDE-83F5-54D1493FC4EE}"/>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07" name="Freeform 164">
              <a:extLst>
                <a:ext uri="{FF2B5EF4-FFF2-40B4-BE49-F238E27FC236}">
                  <a16:creationId xmlns:a16="http://schemas.microsoft.com/office/drawing/2014/main" id="{58CA43E4-FD01-43B2-8F01-50B4EFB243F4}"/>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grpSp>
          <p:nvGrpSpPr>
            <p:cNvPr id="208" name="Group 207">
              <a:extLst>
                <a:ext uri="{FF2B5EF4-FFF2-40B4-BE49-F238E27FC236}">
                  <a16:creationId xmlns:a16="http://schemas.microsoft.com/office/drawing/2014/main" id="{2780527C-2773-45AF-BFC0-428E07C24C92}"/>
                </a:ext>
              </a:extLst>
            </p:cNvPr>
            <p:cNvGrpSpPr/>
            <p:nvPr userDrawn="1"/>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99"/>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108111" y="2605401"/>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399" b="1"/>
            </a:lvl1pPr>
          </a:lstStyle>
          <a:p>
            <a:pPr lvl="0"/>
            <a:r>
              <a:rPr lang="en-US"/>
              <a:t>Bucharest, Romania</a:t>
            </a:r>
          </a:p>
        </p:txBody>
      </p:sp>
      <p:sp>
        <p:nvSpPr>
          <p:cNvPr id="2" name="Title 1">
            <a:extLst>
              <a:ext uri="{FF2B5EF4-FFF2-40B4-BE49-F238E27FC236}">
                <a16:creationId xmlns:a16="http://schemas.microsoft.com/office/drawing/2014/main" id="{72AE62B8-76B4-48AF-BECC-7E8965977A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14632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sktop Screensho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2C32A2-735E-4F61-B7C3-7EDF7AB8BD88}"/>
              </a:ext>
            </a:extLst>
          </p:cNvPr>
          <p:cNvPicPr>
            <a:picLocks noChangeAspect="1"/>
          </p:cNvPicPr>
          <p:nvPr userDrawn="1"/>
        </p:nvPicPr>
        <p:blipFill>
          <a:blip r:embed="rId2"/>
          <a:srcRect/>
          <a:stretch/>
        </p:blipFill>
        <p:spPr>
          <a:xfrm>
            <a:off x="2526764" y="1040665"/>
            <a:ext cx="6579136" cy="5534114"/>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795588" y="1400177"/>
            <a:ext cx="6029325" cy="3386137"/>
          </a:xfrm>
        </p:spPr>
        <p:txBody>
          <a:bodyPr anchor="ctr"/>
          <a:lstStyle>
            <a:lvl1pPr algn="ctr">
              <a:defRPr/>
            </a:lvl1pPr>
          </a:lstStyle>
          <a:p>
            <a:endParaRPr lang="en-US"/>
          </a:p>
        </p:txBody>
      </p:sp>
    </p:spTree>
    <p:extLst>
      <p:ext uri="{BB962C8B-B14F-4D97-AF65-F5344CB8AC3E}">
        <p14:creationId xmlns:p14="http://schemas.microsoft.com/office/powerpoint/2010/main" val="35660685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ptop Screensho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8AA178-7695-486F-AE3D-C1BB3F583729}"/>
              </a:ext>
            </a:extLst>
          </p:cNvPr>
          <p:cNvSpPr/>
          <p:nvPr userDrawn="1"/>
        </p:nvSpPr>
        <p:spPr>
          <a:xfrm>
            <a:off x="2778011" y="1296369"/>
            <a:ext cx="6805516" cy="44114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pic>
        <p:nvPicPr>
          <p:cNvPr id="4" name="Picture 3">
            <a:extLst>
              <a:ext uri="{FF2B5EF4-FFF2-40B4-BE49-F238E27FC236}">
                <a16:creationId xmlns:a16="http://schemas.microsoft.com/office/drawing/2014/main" id="{C3ED9E8F-DE34-408C-8ECF-DE7BEEA6A1A0}"/>
              </a:ext>
            </a:extLst>
          </p:cNvPr>
          <p:cNvPicPr>
            <a:picLocks noChangeAspect="1"/>
          </p:cNvPicPr>
          <p:nvPr userDrawn="1"/>
        </p:nvPicPr>
        <p:blipFill>
          <a:blip r:embed="rId2"/>
          <a:srcRect/>
          <a:stretch/>
        </p:blipFill>
        <p:spPr>
          <a:xfrm>
            <a:off x="1445418" y="862802"/>
            <a:ext cx="9297988" cy="5609576"/>
          </a:xfrm>
          <a:prstGeom prst="rect">
            <a:avLst/>
          </a:prstGeom>
        </p:spPr>
      </p:pic>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2814044" y="1523760"/>
            <a:ext cx="6568082" cy="4092359"/>
          </a:xfrm>
        </p:spPr>
        <p:txBody>
          <a:bodyPr anchor="ctr"/>
          <a:lstStyle>
            <a:lvl1pPr algn="ctr">
              <a:defRPr/>
            </a:lvl1pPr>
          </a:lstStyle>
          <a:p>
            <a:endParaRPr lang="en-US"/>
          </a:p>
        </p:txBody>
      </p:sp>
      <p:pic>
        <p:nvPicPr>
          <p:cNvPr id="10" name="Graphic 9" hidden="1">
            <a:extLst>
              <a:ext uri="{FF2B5EF4-FFF2-40B4-BE49-F238E27FC236}">
                <a16:creationId xmlns:a16="http://schemas.microsoft.com/office/drawing/2014/main" id="{17CDA781-D5FC-4C3F-93B0-299A1CC43D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12104" y="715198"/>
            <a:ext cx="9301845" cy="5352540"/>
          </a:xfrm>
          <a:prstGeom prst="rect">
            <a:avLst/>
          </a:prstGeom>
        </p:spPr>
      </p:pic>
    </p:spTree>
    <p:extLst>
      <p:ext uri="{BB962C8B-B14F-4D97-AF65-F5344CB8AC3E}">
        <p14:creationId xmlns:p14="http://schemas.microsoft.com/office/powerpoint/2010/main" val="929394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endParaRPr lang="en-US"/>
          </a:p>
        </p:txBody>
      </p:sp>
    </p:spTree>
    <p:extLst>
      <p:ext uri="{BB962C8B-B14F-4D97-AF65-F5344CB8AC3E}">
        <p14:creationId xmlns:p14="http://schemas.microsoft.com/office/powerpoint/2010/main" val="14595596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4C30CE9-D26C-43F4-8C71-DDC8B8D2AEC5}"/>
              </a:ext>
            </a:extLst>
          </p:cNvPr>
          <p:cNvSpPr>
            <a:spLocks noGrp="1"/>
          </p:cNvSpPr>
          <p:nvPr>
            <p:ph idx="1"/>
          </p:nvPr>
        </p:nvSpPr>
        <p:spPr>
          <a:xfrm>
            <a:off x="379414" y="1322388"/>
            <a:ext cx="11430000" cy="4895532"/>
          </a:xfrm>
        </p:spPr>
        <p:txBody>
          <a:bodyPr tIns="0"/>
          <a:lstStyle>
            <a:lvl1pPr>
              <a:defRPr sz="1999"/>
            </a:lvl1pPr>
            <a:lvl2pPr>
              <a:buClr>
                <a:schemeClr val="accent1"/>
              </a:buClr>
              <a:defRPr sz="1999" baseline="0"/>
            </a:lvl2pPr>
            <a:lvl3pPr>
              <a:buClr>
                <a:schemeClr val="accent1"/>
              </a:buClr>
              <a:defRPr sz="1999"/>
            </a:lvl3pPr>
            <a:lvl4pPr>
              <a:buClr>
                <a:schemeClr val="accent1"/>
              </a:buClr>
              <a:defRPr sz="1999"/>
            </a:lvl4pPr>
            <a:lvl5pPr>
              <a:buClr>
                <a:schemeClr val="accent1"/>
              </a:buClr>
              <a:defRPr sz="19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FDA7E3-68DA-4728-93BB-9346E0541E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895332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Content 1">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3522685"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3522685"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6665956" y="1171575"/>
            <a:ext cx="2857459" cy="489737"/>
          </a:xfrm>
        </p:spPr>
        <p:txBody>
          <a:bodyPr tIns="0" anchor="b" anchorCtr="0"/>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6665956" y="1781174"/>
            <a:ext cx="2861989" cy="4412464"/>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88D512D-A346-40F8-9E98-DF63FB670E8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92771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1161078" y="1171577"/>
            <a:ext cx="5179503"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630881" y="1171577"/>
            <a:ext cx="5179503"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1160464" y="1781174"/>
            <a:ext cx="5180119" cy="43910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630266" y="1781174"/>
            <a:ext cx="5180119" cy="4391026"/>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87531C1-F1BB-4CFB-AE4B-213ADE2666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51963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60463" y="1785139"/>
            <a:ext cx="10648950" cy="4387063"/>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583" y="1171577"/>
            <a:ext cx="10647468"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C3649FBC-93E5-4D8B-93CB-3D81E660FC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99161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Agenda_3">
  <p:cSld name="Agenda_3">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656551" y="489703"/>
            <a:ext cx="1213478" cy="729430"/>
          </a:xfrm>
          <a:prstGeom prst="rect">
            <a:avLst/>
          </a:prstGeom>
          <a:noFill/>
          <a:ln>
            <a:noFill/>
          </a:ln>
        </p:spPr>
        <p:txBody>
          <a:bodyPr spcFirstLastPara="1" wrap="square" lIns="91425" tIns="91425" rIns="91425" bIns="91425" anchor="t" anchorCtr="0"/>
          <a:lstStyle>
            <a:lvl1pPr marL="456789" marR="0" lvl="0" indent="-228393" algn="l" rtl="0">
              <a:lnSpc>
                <a:spcPct val="90000"/>
              </a:lnSpc>
              <a:spcBef>
                <a:spcPts val="1000"/>
              </a:spcBef>
              <a:spcAft>
                <a:spcPts val="0"/>
              </a:spcAft>
              <a:buClr>
                <a:schemeClr val="dk1"/>
              </a:buClr>
              <a:buSzPts val="4600"/>
              <a:buFont typeface="Arial"/>
              <a:buNone/>
              <a:defRPr sz="4597" b="1" i="0" u="none" strike="noStrike" cap="none">
                <a:solidFill>
                  <a:schemeClr val="dk1"/>
                </a:solidFill>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3" name="Shape 23"/>
          <p:cNvSpPr txBox="1">
            <a:spLocks noGrp="1"/>
          </p:cNvSpPr>
          <p:nvPr>
            <p:ph type="body" idx="2"/>
          </p:nvPr>
        </p:nvSpPr>
        <p:spPr>
          <a:xfrm>
            <a:off x="708475" y="1714500"/>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4" name="Shape 24"/>
          <p:cNvSpPr txBox="1">
            <a:spLocks noGrp="1"/>
          </p:cNvSpPr>
          <p:nvPr>
            <p:ph type="body" idx="3"/>
          </p:nvPr>
        </p:nvSpPr>
        <p:spPr>
          <a:xfrm>
            <a:off x="2021155" y="1714500"/>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body" idx="4"/>
          </p:nvPr>
        </p:nvSpPr>
        <p:spPr>
          <a:xfrm>
            <a:off x="708475" y="3277157"/>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body" idx="5"/>
          </p:nvPr>
        </p:nvSpPr>
        <p:spPr>
          <a:xfrm>
            <a:off x="2021155" y="3277157"/>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7" name="Shape 27"/>
          <p:cNvSpPr txBox="1">
            <a:spLocks noGrp="1"/>
          </p:cNvSpPr>
          <p:nvPr>
            <p:ph type="body" idx="6"/>
          </p:nvPr>
        </p:nvSpPr>
        <p:spPr>
          <a:xfrm>
            <a:off x="708475" y="4839813"/>
            <a:ext cx="1312680" cy="131445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8" name="Shape 28"/>
          <p:cNvSpPr txBox="1">
            <a:spLocks noGrp="1"/>
          </p:cNvSpPr>
          <p:nvPr>
            <p:ph type="body" idx="7"/>
          </p:nvPr>
        </p:nvSpPr>
        <p:spPr>
          <a:xfrm>
            <a:off x="2021155" y="4839813"/>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29" name="Shape 29"/>
          <p:cNvSpPr txBox="1">
            <a:spLocks noGrp="1"/>
          </p:cNvSpPr>
          <p:nvPr>
            <p:ph type="body" idx="8"/>
          </p:nvPr>
        </p:nvSpPr>
        <p:spPr>
          <a:xfrm>
            <a:off x="6361256" y="1714500"/>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0" name="Shape 30"/>
          <p:cNvSpPr txBox="1">
            <a:spLocks noGrp="1"/>
          </p:cNvSpPr>
          <p:nvPr>
            <p:ph type="body" idx="9"/>
          </p:nvPr>
        </p:nvSpPr>
        <p:spPr>
          <a:xfrm>
            <a:off x="7673939" y="1714500"/>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1" name="Shape 31"/>
          <p:cNvSpPr txBox="1">
            <a:spLocks noGrp="1"/>
          </p:cNvSpPr>
          <p:nvPr>
            <p:ph type="body" idx="13"/>
          </p:nvPr>
        </p:nvSpPr>
        <p:spPr>
          <a:xfrm>
            <a:off x="6361256" y="3277157"/>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2" name="Shape 32"/>
          <p:cNvSpPr txBox="1">
            <a:spLocks noGrp="1"/>
          </p:cNvSpPr>
          <p:nvPr>
            <p:ph type="body" idx="14"/>
          </p:nvPr>
        </p:nvSpPr>
        <p:spPr>
          <a:xfrm>
            <a:off x="7673939" y="3277157"/>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3" name="Shape 33"/>
          <p:cNvSpPr txBox="1">
            <a:spLocks noGrp="1"/>
          </p:cNvSpPr>
          <p:nvPr>
            <p:ph type="body" idx="15"/>
          </p:nvPr>
        </p:nvSpPr>
        <p:spPr>
          <a:xfrm>
            <a:off x="6361256" y="4839813"/>
            <a:ext cx="1312680" cy="1314450"/>
          </a:xfrm>
          <a:prstGeom prst="rect">
            <a:avLst/>
          </a:pr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
        <p:nvSpPr>
          <p:cNvPr id="34" name="Shape 34"/>
          <p:cNvSpPr txBox="1">
            <a:spLocks noGrp="1"/>
          </p:cNvSpPr>
          <p:nvPr>
            <p:ph type="body" idx="16"/>
          </p:nvPr>
        </p:nvSpPr>
        <p:spPr>
          <a:xfrm>
            <a:off x="7673939" y="4839813"/>
            <a:ext cx="3810436" cy="131445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t" anchorCtr="0"/>
          <a:lstStyle>
            <a:lvl1pPr marL="456789" marR="0" lvl="0" indent="-228393" algn="l" rtl="0">
              <a:lnSpc>
                <a:spcPct val="90000"/>
              </a:lnSpc>
              <a:spcBef>
                <a:spcPts val="1000"/>
              </a:spcBef>
              <a:spcAft>
                <a:spcPts val="0"/>
              </a:spcAft>
              <a:buSzPts val="2800"/>
              <a:buFont typeface="Arial"/>
              <a:buNone/>
              <a:defRPr sz="2797" b="0" i="0" u="none" strike="noStrike" cap="none">
                <a:latin typeface="Calibri"/>
                <a:ea typeface="Calibri"/>
                <a:cs typeface="Calibri"/>
                <a:sym typeface="Calibri"/>
              </a:defRPr>
            </a:lvl1pPr>
            <a:lvl2pPr marL="913578" marR="0" lvl="1" indent="-380658" algn="l" rtl="0">
              <a:lnSpc>
                <a:spcPct val="90000"/>
              </a:lnSpc>
              <a:spcBef>
                <a:spcPts val="500"/>
              </a:spcBef>
              <a:spcAft>
                <a:spcPts val="0"/>
              </a:spcAft>
              <a:buClr>
                <a:schemeClr val="dk1"/>
              </a:buClr>
              <a:buSzPts val="2400"/>
              <a:buFont typeface="Arial"/>
              <a:buChar char="•"/>
              <a:defRPr sz="2397" b="0" i="0" u="none" strike="noStrike" cap="none">
                <a:solidFill>
                  <a:schemeClr val="dk1"/>
                </a:solidFill>
                <a:latin typeface="Calibri"/>
                <a:ea typeface="Calibri"/>
                <a:cs typeface="Calibri"/>
                <a:sym typeface="Calibri"/>
              </a:defRPr>
            </a:lvl2pPr>
            <a:lvl3pPr marL="1370367" marR="0" lvl="2" indent="-355279" algn="l" rtl="0">
              <a:lnSpc>
                <a:spcPct val="90000"/>
              </a:lnSpc>
              <a:spcBef>
                <a:spcPts val="500"/>
              </a:spcBef>
              <a:spcAft>
                <a:spcPts val="0"/>
              </a:spcAft>
              <a:buClr>
                <a:schemeClr val="dk1"/>
              </a:buClr>
              <a:buSzPts val="2000"/>
              <a:buFont typeface="Arial"/>
              <a:buChar char="•"/>
              <a:defRPr sz="1997" b="0" i="0" u="none" strike="noStrike" cap="none">
                <a:solidFill>
                  <a:schemeClr val="dk1"/>
                </a:solidFill>
                <a:latin typeface="Calibri"/>
                <a:ea typeface="Calibri"/>
                <a:cs typeface="Calibri"/>
                <a:sym typeface="Calibri"/>
              </a:defRPr>
            </a:lvl3pPr>
            <a:lvl4pPr marL="1827155" marR="0" lvl="3"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4pPr>
            <a:lvl5pPr marL="2283943" marR="0" lvl="4"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5pPr>
            <a:lvl6pPr marL="2740732" marR="0" lvl="5"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6pPr>
            <a:lvl7pPr marL="3197520" marR="0" lvl="6"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7pPr>
            <a:lvl8pPr marL="3654309" marR="0" lvl="7"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8pPr>
            <a:lvl9pPr marL="4111098" marR="0" lvl="8" indent="-342591" algn="l" rtl="0">
              <a:lnSpc>
                <a:spcPct val="90000"/>
              </a:lnSpc>
              <a:spcBef>
                <a:spcPts val="500"/>
              </a:spcBef>
              <a:spcAft>
                <a:spcPts val="0"/>
              </a:spcAft>
              <a:buClr>
                <a:schemeClr val="dk1"/>
              </a:buClr>
              <a:buSzPts val="1800"/>
              <a:buFont typeface="Arial"/>
              <a:buChar char="•"/>
              <a:defRPr sz="179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12641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2"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6"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171577"/>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10" y="1781173"/>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2"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6"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3831313"/>
            <a:ext cx="3614674" cy="489737"/>
          </a:xfrm>
        </p:spPr>
        <p:txBody>
          <a:bodyPr tIns="0" anchor="b" anchorCtr="0"/>
          <a:lstStyle>
            <a:lvl1pPr>
              <a:lnSpc>
                <a:spcPct val="90000"/>
              </a:lnSpc>
              <a:spcBef>
                <a:spcPts val="500"/>
              </a:spcBef>
              <a:defRPr sz="1999"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10" y="4440912"/>
            <a:ext cx="3620405" cy="1749300"/>
          </a:xfrm>
        </p:spPr>
        <p:txBody>
          <a:bodyPr tIns="0"/>
          <a:lstStyle>
            <a:lvl2pPr>
              <a:buClr>
                <a:schemeClr val="accent1"/>
              </a:buClr>
              <a:defRPr baseline="0"/>
            </a:lvl2pPr>
            <a:lvl3pPr>
              <a:buClr>
                <a:schemeClr val="accent1"/>
              </a:buClr>
              <a:defRPr/>
            </a:lvl3pPr>
            <a:lvl4pPr>
              <a:buClr>
                <a:schemeClr val="accent1"/>
              </a:buClr>
              <a:defRPr/>
            </a:lvl4pPr>
            <a:lvl5pPr>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917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942891" y="2804832"/>
            <a:ext cx="3065377"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5344301" y="2804832"/>
            <a:ext cx="3063701"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744036" y="2804832"/>
            <a:ext cx="3065379" cy="2048436"/>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798" b="1">
                <a:solidFill>
                  <a:schemeClr val="bg1"/>
                </a:solidFill>
                <a:latin typeface="+mj-lt"/>
              </a:defRPr>
            </a:lvl1pPr>
          </a:lstStyle>
          <a:p>
            <a:pPr lvl="0"/>
            <a:endParaRPr lang="en-US"/>
          </a:p>
        </p:txBody>
      </p:sp>
      <p:sp>
        <p:nvSpPr>
          <p:cNvPr id="15" name="Title 14">
            <a:extLst>
              <a:ext uri="{FF2B5EF4-FFF2-40B4-BE49-F238E27FC236}">
                <a16:creationId xmlns:a16="http://schemas.microsoft.com/office/drawing/2014/main" id="{7F8321D6-4F17-4250-BD31-B7184F6B8FE4}"/>
              </a:ext>
            </a:extLst>
          </p:cNvPr>
          <p:cNvSpPr>
            <a:spLocks noGrp="1"/>
          </p:cNvSpPr>
          <p:nvPr>
            <p:ph type="title"/>
          </p:nvPr>
        </p:nvSpPr>
        <p:spPr>
          <a:xfrm>
            <a:off x="1942891" y="912313"/>
            <a:ext cx="9864935" cy="916491"/>
          </a:xfrm>
        </p:spPr>
        <p:txBody>
          <a:bodyPr/>
          <a:lstStyle/>
          <a:p>
            <a:r>
              <a:rPr lang="en-US"/>
              <a:t>Click to edit Master title style</a:t>
            </a:r>
          </a:p>
        </p:txBody>
      </p:sp>
      <p:sp>
        <p:nvSpPr>
          <p:cNvPr id="7" name="Text Placeholder 12">
            <a:extLst>
              <a:ext uri="{FF2B5EF4-FFF2-40B4-BE49-F238E27FC236}">
                <a16:creationId xmlns:a16="http://schemas.microsoft.com/office/drawing/2014/main" id="{D7A812B9-81CD-4383-A969-F4547092EBDF}"/>
              </a:ext>
            </a:extLst>
          </p:cNvPr>
          <p:cNvSpPr>
            <a:spLocks noGrp="1"/>
          </p:cNvSpPr>
          <p:nvPr>
            <p:ph type="body" sz="quarter" idx="13"/>
          </p:nvPr>
        </p:nvSpPr>
        <p:spPr>
          <a:xfrm>
            <a:off x="1941520" y="356543"/>
            <a:ext cx="3780104" cy="316558"/>
          </a:xfrm>
        </p:spPr>
        <p:txBody>
          <a:bodyPr tIns="0"/>
          <a:lstStyle>
            <a:lvl1pPr>
              <a:lnSpc>
                <a:spcPct val="100000"/>
              </a:lnSpc>
              <a:spcBef>
                <a:spcPts val="0"/>
              </a:spcBef>
              <a:defRPr sz="750"/>
            </a:lvl1pPr>
            <a:lvl2pPr marL="112645" indent="-112645">
              <a:lnSpc>
                <a:spcPct val="100000"/>
              </a:lnSpc>
              <a:spcBef>
                <a:spcPts val="0"/>
              </a:spcBef>
              <a:defRPr sz="750"/>
            </a:lvl2pPr>
            <a:lvl3pPr marL="225289" indent="-112645">
              <a:lnSpc>
                <a:spcPct val="100000"/>
              </a:lnSpc>
              <a:spcBef>
                <a:spcPts val="0"/>
              </a:spcBef>
              <a:defRPr sz="750"/>
            </a:lvl3pPr>
            <a:lvl4pPr marL="339521" indent="-114232">
              <a:lnSpc>
                <a:spcPct val="100000"/>
              </a:lnSpc>
              <a:spcBef>
                <a:spcPts val="0"/>
              </a:spcBef>
              <a:defRPr sz="900"/>
            </a:lvl4pPr>
            <a:lvl5pPr marL="460099" indent="-120578">
              <a:lnSpc>
                <a:spcPct val="100000"/>
              </a:lnSpc>
              <a:spcBef>
                <a:spcPts val="0"/>
              </a:spcBef>
              <a:defRPr sz="900"/>
            </a:lvl5pPr>
          </a:lstStyle>
          <a:p>
            <a:pPr lvl="0"/>
            <a:r>
              <a:rPr lang="en-US"/>
              <a:t>Edit Master text styles</a:t>
            </a:r>
          </a:p>
        </p:txBody>
      </p:sp>
    </p:spTree>
    <p:extLst>
      <p:ext uri="{BB962C8B-B14F-4D97-AF65-F5344CB8AC3E}">
        <p14:creationId xmlns:p14="http://schemas.microsoft.com/office/powerpoint/2010/main" val="29570758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3_Title – Grid Light">
  <p:cSld name="3_Title – Grid Light">
    <p:bg>
      <p:bgPr>
        <a:solidFill>
          <a:schemeClr val="tx2"/>
        </a:solidFill>
        <a:effectLst/>
      </p:bgPr>
    </p:bg>
    <p:spTree>
      <p:nvGrpSpPr>
        <p:cNvPr id="1" name="Shape 194"/>
        <p:cNvGrpSpPr/>
        <p:nvPr/>
      </p:nvGrpSpPr>
      <p:grpSpPr>
        <a:xfrm>
          <a:off x="0" y="0"/>
          <a:ext cx="0" cy="0"/>
          <a:chOff x="0" y="0"/>
          <a:chExt cx="0" cy="0"/>
        </a:xfrm>
      </p:grpSpPr>
      <p:pic>
        <p:nvPicPr>
          <p:cNvPr id="2" name="Google Shape;195;ge783127671_0_146">
            <a:extLst>
              <a:ext uri="{FF2B5EF4-FFF2-40B4-BE49-F238E27FC236}">
                <a16:creationId xmlns:a16="http://schemas.microsoft.com/office/drawing/2014/main" id="{21C8E59C-964C-FB6F-D954-BB27EC0313E6}"/>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198;ge783127671_0_146">
            <a:extLst>
              <a:ext uri="{FF2B5EF4-FFF2-40B4-BE49-F238E27FC236}">
                <a16:creationId xmlns:a16="http://schemas.microsoft.com/office/drawing/2014/main" id="{37F01FEE-67FD-B8F9-B0D5-3157BF51A94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6" name="Google Shape;196;ge783127671_0_146"/>
          <p:cNvSpPr txBox="1">
            <a:spLocks noGrp="1"/>
          </p:cNvSpPr>
          <p:nvPr>
            <p:ph type="ctrTitle"/>
          </p:nvPr>
        </p:nvSpPr>
        <p:spPr>
          <a:xfrm>
            <a:off x="382972" y="1683322"/>
            <a:ext cx="6724500" cy="2659200"/>
          </a:xfrm>
          <a:prstGeom prst="rect">
            <a:avLst/>
          </a:prstGeom>
          <a:noFill/>
          <a:ln>
            <a:noFill/>
          </a:ln>
        </p:spPr>
        <p:txBody>
          <a:bodyPr spcFirstLastPara="1" anchor="b">
            <a:spAutoFit/>
          </a:bodyPr>
          <a:lstStyle>
            <a:lvl1pPr lvl="0" algn="l" rtl="0">
              <a:lnSpc>
                <a:spcPct val="80000"/>
              </a:lnSpc>
              <a:spcBef>
                <a:spcPts val="0"/>
              </a:spcBef>
              <a:spcAft>
                <a:spcPts val="0"/>
              </a:spcAft>
              <a:buClr>
                <a:schemeClr val="lt1"/>
              </a:buClr>
              <a:buSzPts val="7200"/>
              <a:buFont typeface="Arial"/>
              <a:buNone/>
              <a:defRPr sz="7200" b="1"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7" name="Google Shape;197;ge783127671_0_146"/>
          <p:cNvSpPr txBox="1">
            <a:spLocks noGrp="1"/>
          </p:cNvSpPr>
          <p:nvPr>
            <p:ph type="subTitle" idx="1"/>
          </p:nvPr>
        </p:nvSpPr>
        <p:spPr>
          <a:xfrm>
            <a:off x="382972" y="4473578"/>
            <a:ext cx="6724500" cy="1098900"/>
          </a:xfrm>
          <a:prstGeom prst="rect">
            <a:avLst/>
          </a:prstGeom>
          <a:noFill/>
          <a:ln>
            <a:noFill/>
          </a:ln>
        </p:spPr>
        <p:txBody>
          <a:bodyPr spcFirstLastPara="1">
            <a:normAutofit/>
          </a:bodyPr>
          <a:lstStyle>
            <a:lvl1pPr lvl="0" algn="l" rtl="0">
              <a:lnSpc>
                <a:spcPct val="85000"/>
              </a:lnSpc>
              <a:spcBef>
                <a:spcPts val="800"/>
              </a:spcBef>
              <a:spcAft>
                <a:spcPts val="0"/>
              </a:spcAft>
              <a:buClr>
                <a:schemeClr val="lt1"/>
              </a:buClr>
              <a:buSzPts val="2400"/>
              <a:buNone/>
              <a:defRPr sz="2400" b="0" i="0">
                <a:solidFill>
                  <a:schemeClr val="lt1"/>
                </a:solidFill>
                <a:latin typeface="Arial"/>
                <a:ea typeface="Arial"/>
                <a:cs typeface="Arial"/>
                <a:sym typeface="Arial"/>
              </a:defRPr>
            </a:lvl1pPr>
            <a:lvl2pPr lvl="1" algn="ctr" rtl="0">
              <a:spcBef>
                <a:spcPts val="500"/>
              </a:spcBef>
              <a:spcAft>
                <a:spcPts val="0"/>
              </a:spcAft>
              <a:buSzPts val="2000"/>
              <a:buNone/>
              <a:defRPr>
                <a:solidFill>
                  <a:srgbClr val="888888"/>
                </a:solidFill>
              </a:defRPr>
            </a:lvl2pPr>
            <a:lvl3pPr lvl="2" algn="ctr" rtl="0">
              <a:spcBef>
                <a:spcPts val="300"/>
              </a:spcBef>
              <a:spcAft>
                <a:spcPts val="0"/>
              </a:spcAft>
              <a:buSzPts val="2000"/>
              <a:buNone/>
              <a:defRPr>
                <a:solidFill>
                  <a:srgbClr val="888888"/>
                </a:solidFill>
              </a:defRPr>
            </a:lvl3pPr>
            <a:lvl4pPr lvl="3" algn="ctr" rtl="0">
              <a:spcBef>
                <a:spcPts val="200"/>
              </a:spcBef>
              <a:spcAft>
                <a:spcPts val="0"/>
              </a:spcAft>
              <a:buSzPts val="2000"/>
              <a:buNone/>
              <a:defRPr>
                <a:solidFill>
                  <a:srgbClr val="888888"/>
                </a:solidFill>
              </a:defRPr>
            </a:lvl4pPr>
            <a:lvl5pPr lvl="4" algn="ctr" rtl="0">
              <a:spcBef>
                <a:spcPts val="100"/>
              </a:spcBef>
              <a:spcAft>
                <a:spcPts val="0"/>
              </a:spcAft>
              <a:buSzPts val="2000"/>
              <a:buNone/>
              <a:defRPr>
                <a:solidFill>
                  <a:srgbClr val="888888"/>
                </a:solidFill>
              </a:defRPr>
            </a:lvl5pPr>
            <a:lvl6pPr lvl="5" algn="ctr" rtl="0">
              <a:spcBef>
                <a:spcPts val="400"/>
              </a:spcBef>
              <a:spcAft>
                <a:spcPts val="0"/>
              </a:spcAft>
              <a:buClr>
                <a:srgbClr val="888888"/>
              </a:buClr>
              <a:buSzPts val="2000"/>
              <a:buNone/>
              <a:defRPr>
                <a:solidFill>
                  <a:srgbClr val="888888"/>
                </a:solidFill>
              </a:defRPr>
            </a:lvl6pPr>
            <a:lvl7pPr lvl="6" algn="ctr" rtl="0">
              <a:spcBef>
                <a:spcPts val="400"/>
              </a:spcBef>
              <a:spcAft>
                <a:spcPts val="0"/>
              </a:spcAft>
              <a:buClr>
                <a:srgbClr val="888888"/>
              </a:buClr>
              <a:buSzPts val="2000"/>
              <a:buNone/>
              <a:defRPr>
                <a:solidFill>
                  <a:srgbClr val="888888"/>
                </a:solidFill>
              </a:defRPr>
            </a:lvl7pPr>
            <a:lvl8pPr lvl="7" algn="ctr" rtl="0">
              <a:spcBef>
                <a:spcPts val="400"/>
              </a:spcBef>
              <a:spcAft>
                <a:spcPts val="0"/>
              </a:spcAft>
              <a:buClr>
                <a:srgbClr val="888888"/>
              </a:buClr>
              <a:buSzPts val="2000"/>
              <a:buNone/>
              <a:defRPr>
                <a:solidFill>
                  <a:srgbClr val="888888"/>
                </a:solidFill>
              </a:defRPr>
            </a:lvl8pPr>
            <a:lvl9pPr lvl="8" algn="ctr" rtl="0">
              <a:spcBef>
                <a:spcPts val="400"/>
              </a:spcBef>
              <a:spcAft>
                <a:spcPts val="0"/>
              </a:spcAft>
              <a:buClr>
                <a:srgbClr val="888888"/>
              </a:buClr>
              <a:buSzPts val="2000"/>
              <a:buNone/>
              <a:defRPr>
                <a:solidFill>
                  <a:srgbClr val="888888"/>
                </a:solidFill>
              </a:defRPr>
            </a:lvl9pPr>
          </a:lstStyle>
          <a:p>
            <a:endParaRPr/>
          </a:p>
        </p:txBody>
      </p:sp>
    </p:spTree>
    <p:extLst>
      <p:ext uri="{BB962C8B-B14F-4D97-AF65-F5344CB8AC3E}">
        <p14:creationId xmlns:p14="http://schemas.microsoft.com/office/powerpoint/2010/main" val="42796144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12_Title – Grid Light">
  <p:cSld name="12_Title – Grid Light">
    <p:bg>
      <p:bgPr>
        <a:solidFill>
          <a:schemeClr val="accent1"/>
        </a:solidFill>
        <a:effectLst/>
      </p:bgPr>
    </p:bg>
    <p:spTree>
      <p:nvGrpSpPr>
        <p:cNvPr id="1" name="Shape 199"/>
        <p:cNvGrpSpPr/>
        <p:nvPr/>
      </p:nvGrpSpPr>
      <p:grpSpPr>
        <a:xfrm>
          <a:off x="0" y="0"/>
          <a:ext cx="0" cy="0"/>
          <a:chOff x="0" y="0"/>
          <a:chExt cx="0" cy="0"/>
        </a:xfrm>
      </p:grpSpPr>
      <p:pic>
        <p:nvPicPr>
          <p:cNvPr id="2" name="Google Shape;200;ge783127671_0_151">
            <a:extLst>
              <a:ext uri="{FF2B5EF4-FFF2-40B4-BE49-F238E27FC236}">
                <a16:creationId xmlns:a16="http://schemas.microsoft.com/office/drawing/2014/main" id="{24E4B641-6D18-AF14-0DC4-82D3D7F27E2F}"/>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201;ge783127671_0_151">
            <a:extLst>
              <a:ext uri="{FF2B5EF4-FFF2-40B4-BE49-F238E27FC236}">
                <a16:creationId xmlns:a16="http://schemas.microsoft.com/office/drawing/2014/main" id="{18B67575-C5C4-1D86-1553-7C12562B985D}"/>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1491"/>
          <a:stretch>
            <a:fillRect/>
          </a:stretch>
        </p:blipFill>
        <p:spPr bwMode="auto">
          <a:xfrm>
            <a:off x="6275388" y="1588"/>
            <a:ext cx="5913437"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205;ge783127671_0_151">
            <a:extLst>
              <a:ext uri="{FF2B5EF4-FFF2-40B4-BE49-F238E27FC236}">
                <a16:creationId xmlns:a16="http://schemas.microsoft.com/office/drawing/2014/main" id="{78962E69-E841-9846-1B67-1B677DD46111}"/>
              </a:ext>
            </a:extLst>
          </p:cNvPr>
          <p:cNvSpPr>
            <a:spLocks noChangeArrowheads="1"/>
          </p:cNvSpPr>
          <p:nvPr/>
        </p:nvSpPr>
        <p:spPr bwMode="auto">
          <a:xfrm>
            <a:off x="10382250" y="219075"/>
            <a:ext cx="1427163" cy="962025"/>
          </a:xfrm>
          <a:prstGeom prst="rect">
            <a:avLst/>
          </a:prstGeom>
          <a:solidFill>
            <a:srgbClr val="FEBB26"/>
          </a:solid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defRPr/>
            </a:pPr>
            <a:endParaRPr lang="en-US" altLang="en-US">
              <a:solidFill>
                <a:srgbClr val="FFFFFF"/>
              </a:solidFill>
            </a:endParaRPr>
          </a:p>
        </p:txBody>
      </p:sp>
      <p:pic>
        <p:nvPicPr>
          <p:cNvPr id="5" name="Google Shape;206;ge783127671_0_151">
            <a:extLst>
              <a:ext uri="{FF2B5EF4-FFF2-40B4-BE49-F238E27FC236}">
                <a16:creationId xmlns:a16="http://schemas.microsoft.com/office/drawing/2014/main" id="{9A8B7D65-40C2-2F92-2AC1-27225576684D}"/>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 name="Google Shape;202;ge783127671_0_151"/>
          <p:cNvSpPr txBox="1">
            <a:spLocks noGrp="1"/>
          </p:cNvSpPr>
          <p:nvPr>
            <p:ph type="subTitle" idx="1"/>
          </p:nvPr>
        </p:nvSpPr>
        <p:spPr>
          <a:xfrm>
            <a:off x="382971" y="4037454"/>
            <a:ext cx="7648500" cy="1510800"/>
          </a:xfrm>
          <a:prstGeom prst="rect">
            <a:avLst/>
          </a:prstGeom>
          <a:noFill/>
          <a:ln>
            <a:noFill/>
          </a:ln>
        </p:spPr>
        <p:txBody>
          <a:bodyPr spcFirstLastPara="1">
            <a:noAutofit/>
          </a:bodyPr>
          <a:lstStyle>
            <a:lvl1pPr lvl="0" algn="l" rtl="0">
              <a:lnSpc>
                <a:spcPct val="100000"/>
              </a:lnSpc>
              <a:spcBef>
                <a:spcPts val="0"/>
              </a:spcBef>
              <a:spcAft>
                <a:spcPts val="0"/>
              </a:spcAft>
              <a:buClr>
                <a:schemeClr val="lt1"/>
              </a:buClr>
              <a:buSzPts val="4400"/>
              <a:buNone/>
              <a:defRPr sz="4400" b="1" i="0">
                <a:solidFill>
                  <a:schemeClr val="lt1"/>
                </a:solidFill>
                <a:latin typeface="Arial"/>
                <a:ea typeface="Arial"/>
                <a:cs typeface="Arial"/>
                <a:sym typeface="Arial"/>
              </a:defRPr>
            </a:lvl1pPr>
            <a:lvl2pPr lvl="1" algn="ctr" rtl="0">
              <a:spcBef>
                <a:spcPts val="500"/>
              </a:spcBef>
              <a:spcAft>
                <a:spcPts val="0"/>
              </a:spcAft>
              <a:buSzPts val="2000"/>
              <a:buNone/>
              <a:defRPr>
                <a:solidFill>
                  <a:srgbClr val="888888"/>
                </a:solidFill>
              </a:defRPr>
            </a:lvl2pPr>
            <a:lvl3pPr lvl="2" algn="ctr" rtl="0">
              <a:spcBef>
                <a:spcPts val="300"/>
              </a:spcBef>
              <a:spcAft>
                <a:spcPts val="0"/>
              </a:spcAft>
              <a:buSzPts val="2000"/>
              <a:buNone/>
              <a:defRPr>
                <a:solidFill>
                  <a:srgbClr val="888888"/>
                </a:solidFill>
              </a:defRPr>
            </a:lvl3pPr>
            <a:lvl4pPr lvl="3" algn="ctr" rtl="0">
              <a:spcBef>
                <a:spcPts val="200"/>
              </a:spcBef>
              <a:spcAft>
                <a:spcPts val="0"/>
              </a:spcAft>
              <a:buSzPts val="2000"/>
              <a:buNone/>
              <a:defRPr>
                <a:solidFill>
                  <a:srgbClr val="888888"/>
                </a:solidFill>
              </a:defRPr>
            </a:lvl4pPr>
            <a:lvl5pPr lvl="4" algn="ctr" rtl="0">
              <a:spcBef>
                <a:spcPts val="100"/>
              </a:spcBef>
              <a:spcAft>
                <a:spcPts val="0"/>
              </a:spcAft>
              <a:buSzPts val="2000"/>
              <a:buNone/>
              <a:defRPr>
                <a:solidFill>
                  <a:srgbClr val="888888"/>
                </a:solidFill>
              </a:defRPr>
            </a:lvl5pPr>
            <a:lvl6pPr lvl="5" algn="ctr" rtl="0">
              <a:spcBef>
                <a:spcPts val="400"/>
              </a:spcBef>
              <a:spcAft>
                <a:spcPts val="0"/>
              </a:spcAft>
              <a:buClr>
                <a:srgbClr val="888888"/>
              </a:buClr>
              <a:buSzPts val="2000"/>
              <a:buNone/>
              <a:defRPr>
                <a:solidFill>
                  <a:srgbClr val="888888"/>
                </a:solidFill>
              </a:defRPr>
            </a:lvl6pPr>
            <a:lvl7pPr lvl="6" algn="ctr" rtl="0">
              <a:spcBef>
                <a:spcPts val="400"/>
              </a:spcBef>
              <a:spcAft>
                <a:spcPts val="0"/>
              </a:spcAft>
              <a:buClr>
                <a:srgbClr val="888888"/>
              </a:buClr>
              <a:buSzPts val="2000"/>
              <a:buNone/>
              <a:defRPr>
                <a:solidFill>
                  <a:srgbClr val="888888"/>
                </a:solidFill>
              </a:defRPr>
            </a:lvl7pPr>
            <a:lvl8pPr lvl="7" algn="ctr" rtl="0">
              <a:spcBef>
                <a:spcPts val="400"/>
              </a:spcBef>
              <a:spcAft>
                <a:spcPts val="0"/>
              </a:spcAft>
              <a:buClr>
                <a:srgbClr val="888888"/>
              </a:buClr>
              <a:buSzPts val="2000"/>
              <a:buNone/>
              <a:defRPr>
                <a:solidFill>
                  <a:srgbClr val="888888"/>
                </a:solidFill>
              </a:defRPr>
            </a:lvl8pPr>
            <a:lvl9pPr lvl="8" algn="ctr" rtl="0">
              <a:spcBef>
                <a:spcPts val="400"/>
              </a:spcBef>
              <a:spcAft>
                <a:spcPts val="0"/>
              </a:spcAft>
              <a:buClr>
                <a:srgbClr val="888888"/>
              </a:buClr>
              <a:buSzPts val="2000"/>
              <a:buNone/>
              <a:defRPr>
                <a:solidFill>
                  <a:srgbClr val="888888"/>
                </a:solidFill>
              </a:defRPr>
            </a:lvl9pPr>
          </a:lstStyle>
          <a:p>
            <a:endParaRPr/>
          </a:p>
        </p:txBody>
      </p:sp>
      <p:sp>
        <p:nvSpPr>
          <p:cNvPr id="203" name="Google Shape;203;ge783127671_0_151"/>
          <p:cNvSpPr txBox="1">
            <a:spLocks noGrp="1"/>
          </p:cNvSpPr>
          <p:nvPr>
            <p:ph type="body" idx="2"/>
          </p:nvPr>
        </p:nvSpPr>
        <p:spPr>
          <a:xfrm>
            <a:off x="386020" y="3356984"/>
            <a:ext cx="7648500" cy="510000"/>
          </a:xfrm>
          <a:prstGeom prst="rect">
            <a:avLst/>
          </a:prstGeom>
          <a:noFill/>
          <a:ln>
            <a:noFill/>
          </a:ln>
        </p:spPr>
        <p:txBody>
          <a:bodyPr spcFirstLastPara="1" anchor="ctr">
            <a:noAutofit/>
          </a:bodyPr>
          <a:lstStyle>
            <a:lvl1pPr marL="457200" lvl="0" indent="-228600" algn="l" rtl="0">
              <a:spcBef>
                <a:spcPts val="1000"/>
              </a:spcBef>
              <a:spcAft>
                <a:spcPts val="0"/>
              </a:spcAft>
              <a:buClr>
                <a:schemeClr val="lt1"/>
              </a:buClr>
              <a:buSzPts val="4400"/>
              <a:buNone/>
              <a:defRPr sz="4400" b="1">
                <a:solidFill>
                  <a:schemeClr val="lt1"/>
                </a:solidFill>
                <a:latin typeface="Arial"/>
                <a:ea typeface="Arial"/>
                <a:cs typeface="Arial"/>
                <a:sym typeface="Arial"/>
              </a:defRPr>
            </a:lvl1pPr>
            <a:lvl2pPr marL="914400" lvl="1" indent="-228600" algn="l" rtl="0">
              <a:spcBef>
                <a:spcPts val="500"/>
              </a:spcBef>
              <a:spcAft>
                <a:spcPts val="0"/>
              </a:spcAft>
              <a:buSzPts val="2000"/>
              <a:buNone/>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04" name="Google Shape;204;ge783127671_0_151"/>
          <p:cNvSpPr txBox="1">
            <a:spLocks noGrp="1"/>
          </p:cNvSpPr>
          <p:nvPr>
            <p:ph type="ctrTitle"/>
          </p:nvPr>
        </p:nvSpPr>
        <p:spPr>
          <a:xfrm>
            <a:off x="382971" y="1856600"/>
            <a:ext cx="7657800" cy="1329900"/>
          </a:xfrm>
          <a:prstGeom prst="rect">
            <a:avLst/>
          </a:prstGeom>
          <a:noFill/>
          <a:ln>
            <a:noFill/>
          </a:ln>
        </p:spPr>
        <p:txBody>
          <a:bodyPr spcFirstLastPara="1" anchor="b">
            <a:noAutofit/>
          </a:bodyPr>
          <a:lstStyle>
            <a:lvl1pPr lvl="0" algn="l" rtl="0">
              <a:lnSpc>
                <a:spcPct val="100000"/>
              </a:lnSpc>
              <a:spcBef>
                <a:spcPts val="0"/>
              </a:spcBef>
              <a:spcAft>
                <a:spcPts val="0"/>
              </a:spcAft>
              <a:buClr>
                <a:schemeClr val="lt1"/>
              </a:buClr>
              <a:buSzPts val="4400"/>
              <a:buFont typeface="Arial"/>
              <a:buNone/>
              <a:defRPr sz="4400" b="1"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3429360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ontent 1">
  <p:cSld name="Content 1">
    <p:spTree>
      <p:nvGrpSpPr>
        <p:cNvPr id="1" name="Shape 207"/>
        <p:cNvGrpSpPr/>
        <p:nvPr/>
      </p:nvGrpSpPr>
      <p:grpSpPr>
        <a:xfrm>
          <a:off x="0" y="0"/>
          <a:ext cx="0" cy="0"/>
          <a:chOff x="0" y="0"/>
          <a:chExt cx="0" cy="0"/>
        </a:xfrm>
      </p:grpSpPr>
      <p:sp>
        <p:nvSpPr>
          <p:cNvPr id="208" name="Google Shape;208;ge783127671_0_159"/>
          <p:cNvSpPr txBox="1">
            <a:spLocks noGrp="1"/>
          </p:cNvSpPr>
          <p:nvPr>
            <p:ph type="body" idx="1"/>
          </p:nvPr>
        </p:nvSpPr>
        <p:spPr>
          <a:xfrm>
            <a:off x="379415" y="1322388"/>
            <a:ext cx="9144000" cy="4895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2000"/>
              <a:buNone/>
              <a:defRPr sz="2000"/>
            </a:lvl1pPr>
            <a:lvl2pPr marL="914400" lvl="1" indent="-355600" algn="l" rtl="0">
              <a:spcBef>
                <a:spcPts val="500"/>
              </a:spcBef>
              <a:spcAft>
                <a:spcPts val="0"/>
              </a:spcAft>
              <a:buClr>
                <a:schemeClr val="accent1"/>
              </a:buClr>
              <a:buSzPts val="2000"/>
              <a:buChar char="•"/>
              <a:defRPr sz="2000"/>
            </a:lvl2pPr>
            <a:lvl3pPr marL="1371600" lvl="2" indent="-355600" algn="l" rtl="0">
              <a:spcBef>
                <a:spcPts val="300"/>
              </a:spcBef>
              <a:spcAft>
                <a:spcPts val="0"/>
              </a:spcAft>
              <a:buClr>
                <a:schemeClr val="accent1"/>
              </a:buClr>
              <a:buSzPts val="2000"/>
              <a:buChar char="-"/>
              <a:defRPr sz="2000"/>
            </a:lvl3pPr>
            <a:lvl4pPr marL="1828800" lvl="3" indent="-355600" algn="l" rtl="0">
              <a:spcBef>
                <a:spcPts val="200"/>
              </a:spcBef>
              <a:spcAft>
                <a:spcPts val="0"/>
              </a:spcAft>
              <a:buClr>
                <a:schemeClr val="accent1"/>
              </a:buClr>
              <a:buSzPts val="2000"/>
              <a:buChar char="•"/>
              <a:defRPr sz="2000"/>
            </a:lvl4pPr>
            <a:lvl5pPr marL="2286000" lvl="4" indent="-355600" algn="l" rtl="0">
              <a:spcBef>
                <a:spcPts val="100"/>
              </a:spcBef>
              <a:spcAft>
                <a:spcPts val="0"/>
              </a:spcAft>
              <a:buClr>
                <a:schemeClr val="accent1"/>
              </a:buClr>
              <a:buSzPts val="2000"/>
              <a:buChar char="-"/>
              <a:defRPr sz="20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09" name="Google Shape;209;ge783127671_0_159"/>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5607323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210"/>
        <p:cNvGrpSpPr/>
        <p:nvPr/>
      </p:nvGrpSpPr>
      <p:grpSpPr>
        <a:xfrm>
          <a:off x="0" y="0"/>
          <a:ext cx="0" cy="0"/>
          <a:chOff x="0" y="0"/>
          <a:chExt cx="0" cy="0"/>
        </a:xfrm>
      </p:grpSpPr>
      <p:sp>
        <p:nvSpPr>
          <p:cNvPr id="211" name="Google Shape;211;ge783127671_0_162"/>
          <p:cNvSpPr txBox="1">
            <a:spLocks noGrp="1"/>
          </p:cNvSpPr>
          <p:nvPr>
            <p:ph type="body" idx="1"/>
          </p:nvPr>
        </p:nvSpPr>
        <p:spPr>
          <a:xfrm>
            <a:off x="381653" y="1171575"/>
            <a:ext cx="4353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2" name="Google Shape;212;ge783127671_0_162"/>
          <p:cNvSpPr txBox="1">
            <a:spLocks noGrp="1"/>
          </p:cNvSpPr>
          <p:nvPr>
            <p:ph type="body" idx="2"/>
          </p:nvPr>
        </p:nvSpPr>
        <p:spPr>
          <a:xfrm>
            <a:off x="5168741" y="1171575"/>
            <a:ext cx="4353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3" name="Google Shape;213;ge783127671_0_162"/>
          <p:cNvSpPr txBox="1">
            <a:spLocks noGrp="1"/>
          </p:cNvSpPr>
          <p:nvPr>
            <p:ph type="body" idx="3"/>
          </p:nvPr>
        </p:nvSpPr>
        <p:spPr>
          <a:xfrm>
            <a:off x="381001" y="1781174"/>
            <a:ext cx="43545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4" name="Google Shape;214;ge783127671_0_162"/>
          <p:cNvSpPr txBox="1">
            <a:spLocks noGrp="1"/>
          </p:cNvSpPr>
          <p:nvPr>
            <p:ph type="body" idx="4"/>
          </p:nvPr>
        </p:nvSpPr>
        <p:spPr>
          <a:xfrm>
            <a:off x="5168741" y="1781174"/>
            <a:ext cx="43545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5" name="Google Shape;215;ge783127671_0_162"/>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634769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216"/>
        <p:cNvGrpSpPr/>
        <p:nvPr/>
      </p:nvGrpSpPr>
      <p:grpSpPr>
        <a:xfrm>
          <a:off x="0" y="0"/>
          <a:ext cx="0" cy="0"/>
          <a:chOff x="0" y="0"/>
          <a:chExt cx="0" cy="0"/>
        </a:xfrm>
      </p:grpSpPr>
      <p:sp>
        <p:nvSpPr>
          <p:cNvPr id="217" name="Google Shape;217;ge783127671_0_168"/>
          <p:cNvSpPr txBox="1">
            <a:spLocks noGrp="1"/>
          </p:cNvSpPr>
          <p:nvPr>
            <p:ph type="body" idx="1"/>
          </p:nvPr>
        </p:nvSpPr>
        <p:spPr>
          <a:xfrm>
            <a:off x="381001"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8" name="Google Shape;218;ge783127671_0_168"/>
          <p:cNvSpPr txBox="1">
            <a:spLocks noGrp="1"/>
          </p:cNvSpPr>
          <p:nvPr>
            <p:ph type="body" idx="2"/>
          </p:nvPr>
        </p:nvSpPr>
        <p:spPr>
          <a:xfrm>
            <a:off x="381001"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19" name="Google Shape;219;ge783127671_0_168"/>
          <p:cNvSpPr txBox="1">
            <a:spLocks noGrp="1"/>
          </p:cNvSpPr>
          <p:nvPr>
            <p:ph type="body" idx="3"/>
          </p:nvPr>
        </p:nvSpPr>
        <p:spPr>
          <a:xfrm>
            <a:off x="3522685"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0" name="Google Shape;220;ge783127671_0_168"/>
          <p:cNvSpPr txBox="1">
            <a:spLocks noGrp="1"/>
          </p:cNvSpPr>
          <p:nvPr>
            <p:ph type="body" idx="4"/>
          </p:nvPr>
        </p:nvSpPr>
        <p:spPr>
          <a:xfrm>
            <a:off x="3522685"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1" name="Google Shape;221;ge783127671_0_168"/>
          <p:cNvSpPr txBox="1">
            <a:spLocks noGrp="1"/>
          </p:cNvSpPr>
          <p:nvPr>
            <p:ph type="body" idx="5"/>
          </p:nvPr>
        </p:nvSpPr>
        <p:spPr>
          <a:xfrm>
            <a:off x="6665956" y="1171575"/>
            <a:ext cx="28575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2" name="Google Shape;222;ge783127671_0_168"/>
          <p:cNvSpPr txBox="1">
            <a:spLocks noGrp="1"/>
          </p:cNvSpPr>
          <p:nvPr>
            <p:ph type="body" idx="6"/>
          </p:nvPr>
        </p:nvSpPr>
        <p:spPr>
          <a:xfrm>
            <a:off x="6665956" y="1781174"/>
            <a:ext cx="2862000" cy="44124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3" name="Google Shape;223;ge783127671_0_168"/>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347481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9A2B3A-C0BA-4A42-BFBF-FCD66B632780}"/>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6" name="Text Placeholder 14">
            <a:extLst>
              <a:ext uri="{FF2B5EF4-FFF2-40B4-BE49-F238E27FC236}">
                <a16:creationId xmlns:a16="http://schemas.microsoft.com/office/drawing/2014/main" id="{11ABB0D8-B885-46BC-9D63-50B5A2079A87}"/>
              </a:ext>
            </a:extLst>
          </p:cNvPr>
          <p:cNvSpPr>
            <a:spLocks noGrp="1"/>
          </p:cNvSpPr>
          <p:nvPr>
            <p:ph type="body" sz="quarter" idx="14" hasCustomPrompt="1"/>
          </p:nvPr>
        </p:nvSpPr>
        <p:spPr>
          <a:xfrm>
            <a:off x="381002" y="1324749"/>
            <a:ext cx="4208583" cy="830997"/>
          </a:xfrm>
        </p:spPr>
        <p:txBody>
          <a:bodyPr tIns="0" anchor="b" anchorCtr="0">
            <a:noAutofit/>
          </a:bodyPr>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27" name="Text Placeholder 9">
            <a:extLst>
              <a:ext uri="{FF2B5EF4-FFF2-40B4-BE49-F238E27FC236}">
                <a16:creationId xmlns:a16="http://schemas.microsoft.com/office/drawing/2014/main" id="{F74BD759-4004-436F-A102-DB1FC2A7896A}"/>
              </a:ext>
            </a:extLst>
          </p:cNvPr>
          <p:cNvSpPr>
            <a:spLocks noGrp="1"/>
          </p:cNvSpPr>
          <p:nvPr>
            <p:ph type="body" sz="quarter" idx="15"/>
          </p:nvPr>
        </p:nvSpPr>
        <p:spPr>
          <a:xfrm>
            <a:off x="381002" y="2278798"/>
            <a:ext cx="4208189" cy="19803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
        <p:nvSpPr>
          <p:cNvPr id="30" name="Text Placeholder 9">
            <a:extLst>
              <a:ext uri="{FF2B5EF4-FFF2-40B4-BE49-F238E27FC236}">
                <a16:creationId xmlns:a16="http://schemas.microsoft.com/office/drawing/2014/main" id="{9202D8D0-2FBC-4019-B9E5-5D0FEC55F3D2}"/>
              </a:ext>
            </a:extLst>
          </p:cNvPr>
          <p:cNvSpPr>
            <a:spLocks noGrp="1"/>
          </p:cNvSpPr>
          <p:nvPr>
            <p:ph type="body" sz="quarter" idx="16"/>
          </p:nvPr>
        </p:nvSpPr>
        <p:spPr>
          <a:xfrm>
            <a:off x="381002" y="4880136"/>
            <a:ext cx="4208189" cy="131803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Tree>
    <p:extLst>
      <p:ext uri="{BB962C8B-B14F-4D97-AF65-F5344CB8AC3E}">
        <p14:creationId xmlns:p14="http://schemas.microsoft.com/office/powerpoint/2010/main" val="3527298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Full Image + Content 1">
  <p:cSld name="Full Image + Content 1">
    <p:spTree>
      <p:nvGrpSpPr>
        <p:cNvPr id="1" name="Shape 224"/>
        <p:cNvGrpSpPr/>
        <p:nvPr/>
      </p:nvGrpSpPr>
      <p:grpSpPr>
        <a:xfrm>
          <a:off x="0" y="0"/>
          <a:ext cx="0" cy="0"/>
          <a:chOff x="0" y="0"/>
          <a:chExt cx="0" cy="0"/>
        </a:xfrm>
      </p:grpSpPr>
      <p:pic>
        <p:nvPicPr>
          <p:cNvPr id="2" name="Google Shape;225;ge783127671_0_176">
            <a:extLst>
              <a:ext uri="{FF2B5EF4-FFF2-40B4-BE49-F238E27FC236}">
                <a16:creationId xmlns:a16="http://schemas.microsoft.com/office/drawing/2014/main" id="{00AE6A13-F2C5-A5D8-6077-8AEC72E12F63}"/>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26;ge783127671_0_176">
            <a:extLst>
              <a:ext uri="{FF2B5EF4-FFF2-40B4-BE49-F238E27FC236}">
                <a16:creationId xmlns:a16="http://schemas.microsoft.com/office/drawing/2014/main" id="{BF1EA6CF-EDFA-B979-81F7-521759FB44C8}"/>
              </a:ext>
            </a:extLst>
          </p:cNvPr>
          <p:cNvGrpSpPr>
            <a:grpSpLocks/>
          </p:cNvGrpSpPr>
          <p:nvPr/>
        </p:nvGrpSpPr>
        <p:grpSpPr bwMode="auto">
          <a:xfrm>
            <a:off x="6989763" y="0"/>
            <a:ext cx="5199062" cy="3429000"/>
            <a:chOff x="6989942" y="1"/>
            <a:chExt cx="5198885" cy="3429000"/>
          </a:xfrm>
        </p:grpSpPr>
        <p:pic>
          <p:nvPicPr>
            <p:cNvPr id="4" name="Google Shape;227;ge783127671_0_176">
              <a:extLst>
                <a:ext uri="{FF2B5EF4-FFF2-40B4-BE49-F238E27FC236}">
                  <a16:creationId xmlns:a16="http://schemas.microsoft.com/office/drawing/2014/main" id="{E0ED0DE1-F92F-1728-E0CE-92E5101AEB13}"/>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28;ge783127671_0_176">
              <a:extLst>
                <a:ext uri="{FF2B5EF4-FFF2-40B4-BE49-F238E27FC236}">
                  <a16:creationId xmlns:a16="http://schemas.microsoft.com/office/drawing/2014/main" id="{CBEC38BD-4532-6425-A779-211180E4B975}"/>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31;ge783127671_0_176">
            <a:extLst>
              <a:ext uri="{FF2B5EF4-FFF2-40B4-BE49-F238E27FC236}">
                <a16:creationId xmlns:a16="http://schemas.microsoft.com/office/drawing/2014/main" id="{014FC1AD-595E-3BC9-228C-6527001045F0}"/>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0C891C2E-DCA2-4582-9170-0603FA52A0A7}"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29" name="Google Shape;229;ge783127671_0_176"/>
          <p:cNvSpPr txBox="1">
            <a:spLocks noGrp="1"/>
          </p:cNvSpPr>
          <p:nvPr>
            <p:ph type="body" idx="1"/>
          </p:nvPr>
        </p:nvSpPr>
        <p:spPr>
          <a:xfrm>
            <a:off x="381002" y="1324749"/>
            <a:ext cx="4208700" cy="8310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0" name="Google Shape;230;ge783127671_0_176"/>
          <p:cNvSpPr txBox="1">
            <a:spLocks noGrp="1"/>
          </p:cNvSpPr>
          <p:nvPr>
            <p:ph type="body" idx="2"/>
          </p:nvPr>
        </p:nvSpPr>
        <p:spPr>
          <a:xfrm>
            <a:off x="381002" y="2278798"/>
            <a:ext cx="4208100" cy="19803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2" name="Google Shape;232;ge783127671_0_176"/>
          <p:cNvSpPr txBox="1">
            <a:spLocks noGrp="1"/>
          </p:cNvSpPr>
          <p:nvPr>
            <p:ph type="body" idx="3"/>
          </p:nvPr>
        </p:nvSpPr>
        <p:spPr>
          <a:xfrm>
            <a:off x="381002" y="4880136"/>
            <a:ext cx="4208100" cy="1317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400"/>
              <a:buNone/>
              <a:defRPr sz="1400"/>
            </a:lvl1pPr>
            <a:lvl2pPr marL="914400" lvl="1" indent="-317500" algn="l" rtl="0">
              <a:spcBef>
                <a:spcPts val="500"/>
              </a:spcBef>
              <a:spcAft>
                <a:spcPts val="0"/>
              </a:spcAft>
              <a:buSzPts val="1400"/>
              <a:buChar char="•"/>
              <a:defRPr sz="1400"/>
            </a:lvl2pPr>
            <a:lvl3pPr marL="1371600" lvl="2" indent="-317500" algn="l" rtl="0">
              <a:spcBef>
                <a:spcPts val="300"/>
              </a:spcBef>
              <a:spcAft>
                <a:spcPts val="0"/>
              </a:spcAft>
              <a:buSzPts val="1400"/>
              <a:buChar char="-"/>
              <a:defRPr sz="1400"/>
            </a:lvl3pPr>
            <a:lvl4pPr marL="1828800" lvl="3" indent="-317500" algn="l" rtl="0">
              <a:spcBef>
                <a:spcPts val="200"/>
              </a:spcBef>
              <a:spcAft>
                <a:spcPts val="0"/>
              </a:spcAft>
              <a:buSzPts val="1400"/>
              <a:buChar char="•"/>
              <a:defRPr sz="1400"/>
            </a:lvl4pPr>
            <a:lvl5pPr marL="2286000" lvl="4" indent="-317500" algn="l" rtl="0">
              <a:spcBef>
                <a:spcPts val="100"/>
              </a:spcBef>
              <a:spcAft>
                <a:spcPts val="0"/>
              </a:spcAft>
              <a:buSzPts val="1400"/>
              <a:buChar char="-"/>
              <a:defRPr sz="14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555400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Full Image + Content 2">
  <p:cSld name="Full Image + Content 2">
    <p:spTree>
      <p:nvGrpSpPr>
        <p:cNvPr id="1" name="Shape 233"/>
        <p:cNvGrpSpPr/>
        <p:nvPr/>
      </p:nvGrpSpPr>
      <p:grpSpPr>
        <a:xfrm>
          <a:off x="0" y="0"/>
          <a:ext cx="0" cy="0"/>
          <a:chOff x="0" y="0"/>
          <a:chExt cx="0" cy="0"/>
        </a:xfrm>
      </p:grpSpPr>
      <p:pic>
        <p:nvPicPr>
          <p:cNvPr id="2" name="Google Shape;234;ge783127671_0_185">
            <a:extLst>
              <a:ext uri="{FF2B5EF4-FFF2-40B4-BE49-F238E27FC236}">
                <a16:creationId xmlns:a16="http://schemas.microsoft.com/office/drawing/2014/main" id="{D90F22CD-E76C-AD49-B037-AE2B7FF9411E}"/>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35;ge783127671_0_185">
            <a:extLst>
              <a:ext uri="{FF2B5EF4-FFF2-40B4-BE49-F238E27FC236}">
                <a16:creationId xmlns:a16="http://schemas.microsoft.com/office/drawing/2014/main" id="{C79A3A65-8077-2723-8E8E-4139ED2D4767}"/>
              </a:ext>
            </a:extLst>
          </p:cNvPr>
          <p:cNvGrpSpPr>
            <a:grpSpLocks/>
          </p:cNvGrpSpPr>
          <p:nvPr/>
        </p:nvGrpSpPr>
        <p:grpSpPr bwMode="auto">
          <a:xfrm>
            <a:off x="6989763" y="0"/>
            <a:ext cx="5199062" cy="3429000"/>
            <a:chOff x="6989942" y="1"/>
            <a:chExt cx="5198885" cy="3429000"/>
          </a:xfrm>
        </p:grpSpPr>
        <p:pic>
          <p:nvPicPr>
            <p:cNvPr id="4" name="Google Shape;236;ge783127671_0_185">
              <a:extLst>
                <a:ext uri="{FF2B5EF4-FFF2-40B4-BE49-F238E27FC236}">
                  <a16:creationId xmlns:a16="http://schemas.microsoft.com/office/drawing/2014/main" id="{14021788-1453-CED2-089F-28220B1787B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37;ge783127671_0_185">
              <a:extLst>
                <a:ext uri="{FF2B5EF4-FFF2-40B4-BE49-F238E27FC236}">
                  <a16:creationId xmlns:a16="http://schemas.microsoft.com/office/drawing/2014/main" id="{E9782EA4-CF92-EDC5-90D8-3B281BE36A78}"/>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40;ge783127671_0_185">
            <a:extLst>
              <a:ext uri="{FF2B5EF4-FFF2-40B4-BE49-F238E27FC236}">
                <a16:creationId xmlns:a16="http://schemas.microsoft.com/office/drawing/2014/main" id="{9AFF9142-457F-2818-E0AA-94B39D1429EE}"/>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1E275FEA-56FC-4763-B469-5A53D5658733}"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38" name="Google Shape;238;ge783127671_0_185"/>
          <p:cNvSpPr txBox="1">
            <a:spLocks noGrp="1"/>
          </p:cNvSpPr>
          <p:nvPr>
            <p:ph type="body" idx="1"/>
          </p:nvPr>
        </p:nvSpPr>
        <p:spPr>
          <a:xfrm>
            <a:off x="379413" y="1964774"/>
            <a:ext cx="3570900" cy="48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9" name="Google Shape;239;ge783127671_0_185"/>
          <p:cNvSpPr txBox="1">
            <a:spLocks noGrp="1"/>
          </p:cNvSpPr>
          <p:nvPr>
            <p:ph type="body" idx="2"/>
          </p:nvPr>
        </p:nvSpPr>
        <p:spPr>
          <a:xfrm>
            <a:off x="379412" y="2577563"/>
            <a:ext cx="3570600" cy="1249200"/>
          </a:xfrm>
          <a:prstGeom prst="rect">
            <a:avLst/>
          </a:prstGeom>
          <a:noFill/>
          <a:ln>
            <a:noFill/>
          </a:ln>
        </p:spPr>
        <p:txBody>
          <a:bodyPr spcFirstLastPara="1">
            <a:spAutoFit/>
          </a:bodyPr>
          <a:lstStyle>
            <a:lvl1pPr marL="457200" lvl="0" indent="-228600" algn="l" rtl="0">
              <a:spcBef>
                <a:spcPts val="1000"/>
              </a:spcBef>
              <a:spcAft>
                <a:spcPts val="0"/>
              </a:spcAft>
              <a:buClr>
                <a:schemeClr val="dk1"/>
              </a:buClr>
              <a:buSzPts val="1400"/>
              <a:buNone/>
              <a:defRPr sz="1400"/>
            </a:lvl1pPr>
            <a:lvl2pPr marL="914400" lvl="1" indent="-317500" algn="l" rtl="0">
              <a:spcBef>
                <a:spcPts val="500"/>
              </a:spcBef>
              <a:spcAft>
                <a:spcPts val="0"/>
              </a:spcAft>
              <a:buSzPts val="1400"/>
              <a:buChar char="•"/>
              <a:defRPr sz="1400"/>
            </a:lvl2pPr>
            <a:lvl3pPr marL="1371600" lvl="2" indent="-317500" algn="l" rtl="0">
              <a:spcBef>
                <a:spcPts val="300"/>
              </a:spcBef>
              <a:spcAft>
                <a:spcPts val="0"/>
              </a:spcAft>
              <a:buSzPts val="1400"/>
              <a:buChar char="-"/>
              <a:defRPr sz="1400"/>
            </a:lvl3pPr>
            <a:lvl4pPr marL="1828800" lvl="3" indent="-317500" algn="l" rtl="0">
              <a:spcBef>
                <a:spcPts val="200"/>
              </a:spcBef>
              <a:spcAft>
                <a:spcPts val="0"/>
              </a:spcAft>
              <a:buSzPts val="1400"/>
              <a:buChar char="•"/>
              <a:defRPr sz="1400"/>
            </a:lvl4pPr>
            <a:lvl5pPr marL="2286000" lvl="4" indent="-317500" algn="l" rtl="0">
              <a:spcBef>
                <a:spcPts val="100"/>
              </a:spcBef>
              <a:spcAft>
                <a:spcPts val="0"/>
              </a:spcAft>
              <a:buSzPts val="1400"/>
              <a:buChar char="-"/>
              <a:defRPr sz="14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35547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1_Full Image + Content 2">
  <p:cSld name="1_Full Image + Content 2">
    <p:spTree>
      <p:nvGrpSpPr>
        <p:cNvPr id="1" name="Shape 241"/>
        <p:cNvGrpSpPr/>
        <p:nvPr/>
      </p:nvGrpSpPr>
      <p:grpSpPr>
        <a:xfrm>
          <a:off x="0" y="0"/>
          <a:ext cx="0" cy="0"/>
          <a:chOff x="0" y="0"/>
          <a:chExt cx="0" cy="0"/>
        </a:xfrm>
      </p:grpSpPr>
      <p:pic>
        <p:nvPicPr>
          <p:cNvPr id="2" name="Google Shape;242;ge783127671_0_193">
            <a:extLst>
              <a:ext uri="{FF2B5EF4-FFF2-40B4-BE49-F238E27FC236}">
                <a16:creationId xmlns:a16="http://schemas.microsoft.com/office/drawing/2014/main" id="{85D41CBE-A9BB-4BDD-5FCC-B882280C4159}"/>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43;ge783127671_0_193">
            <a:extLst>
              <a:ext uri="{FF2B5EF4-FFF2-40B4-BE49-F238E27FC236}">
                <a16:creationId xmlns:a16="http://schemas.microsoft.com/office/drawing/2014/main" id="{8E5C3FE8-4BD8-11E3-BE9E-05E13AB376B5}"/>
              </a:ext>
            </a:extLst>
          </p:cNvPr>
          <p:cNvGrpSpPr>
            <a:grpSpLocks/>
          </p:cNvGrpSpPr>
          <p:nvPr/>
        </p:nvGrpSpPr>
        <p:grpSpPr bwMode="auto">
          <a:xfrm>
            <a:off x="6989763" y="0"/>
            <a:ext cx="5199062" cy="3429000"/>
            <a:chOff x="6989942" y="1"/>
            <a:chExt cx="5198885" cy="3429000"/>
          </a:xfrm>
        </p:grpSpPr>
        <p:pic>
          <p:nvPicPr>
            <p:cNvPr id="4" name="Google Shape;244;ge783127671_0_193">
              <a:extLst>
                <a:ext uri="{FF2B5EF4-FFF2-40B4-BE49-F238E27FC236}">
                  <a16:creationId xmlns:a16="http://schemas.microsoft.com/office/drawing/2014/main" id="{137999CE-B6E5-62A1-96B3-357CBAD365A1}"/>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45;ge783127671_0_193">
              <a:extLst>
                <a:ext uri="{FF2B5EF4-FFF2-40B4-BE49-F238E27FC236}">
                  <a16:creationId xmlns:a16="http://schemas.microsoft.com/office/drawing/2014/main" id="{599D641B-8135-F4F5-5A80-7834F3763FC8}"/>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46;ge783127671_0_193">
            <a:extLst>
              <a:ext uri="{FF2B5EF4-FFF2-40B4-BE49-F238E27FC236}">
                <a16:creationId xmlns:a16="http://schemas.microsoft.com/office/drawing/2014/main" id="{49F6FC2C-9837-1640-3214-E6027D8E716B}"/>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46BFE601-06BD-462D-8EAD-9D1D88B3E97B}"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47" name="Google Shape;247;ge783127671_0_193"/>
          <p:cNvSpPr txBox="1">
            <a:spLocks noGrp="1"/>
          </p:cNvSpPr>
          <p:nvPr>
            <p:ph type="body" idx="1"/>
          </p:nvPr>
        </p:nvSpPr>
        <p:spPr>
          <a:xfrm>
            <a:off x="381002" y="865637"/>
            <a:ext cx="34707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48" name="Google Shape;248;ge783127671_0_193"/>
          <p:cNvSpPr txBox="1">
            <a:spLocks noGrp="1"/>
          </p:cNvSpPr>
          <p:nvPr>
            <p:ph type="body" idx="2"/>
          </p:nvPr>
        </p:nvSpPr>
        <p:spPr>
          <a:xfrm>
            <a:off x="381002" y="2317888"/>
            <a:ext cx="3470700" cy="2406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49" name="Google Shape;249;ge783127671_0_193"/>
          <p:cNvSpPr txBox="1">
            <a:spLocks noGrp="1"/>
          </p:cNvSpPr>
          <p:nvPr>
            <p:ph type="body" idx="3"/>
          </p:nvPr>
        </p:nvSpPr>
        <p:spPr>
          <a:xfrm>
            <a:off x="381002" y="4840048"/>
            <a:ext cx="3470700" cy="9135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200"/>
              <a:buNone/>
              <a:defRPr sz="1200"/>
            </a:lvl1pPr>
            <a:lvl2pPr marL="914400" lvl="1" indent="-304800" algn="l" rtl="0">
              <a:spcBef>
                <a:spcPts val="500"/>
              </a:spcBef>
              <a:spcAft>
                <a:spcPts val="0"/>
              </a:spcAft>
              <a:buSzPts val="1200"/>
              <a:buChar char="•"/>
              <a:defRPr sz="1200"/>
            </a:lvl2pPr>
            <a:lvl3pPr marL="1371600" lvl="2" indent="-304800" algn="l" rtl="0">
              <a:spcBef>
                <a:spcPts val="300"/>
              </a:spcBef>
              <a:spcAft>
                <a:spcPts val="0"/>
              </a:spcAft>
              <a:buSzPts val="1200"/>
              <a:buChar char="-"/>
              <a:defRPr sz="1200"/>
            </a:lvl3pPr>
            <a:lvl4pPr marL="1828800" lvl="3" indent="-304800" algn="l" rtl="0">
              <a:spcBef>
                <a:spcPts val="200"/>
              </a:spcBef>
              <a:spcAft>
                <a:spcPts val="0"/>
              </a:spcAft>
              <a:buSzPts val="1200"/>
              <a:buChar char="•"/>
              <a:defRPr sz="1200"/>
            </a:lvl4pPr>
            <a:lvl5pPr marL="2286000" lvl="4" indent="-304800" algn="l" rtl="0">
              <a:spcBef>
                <a:spcPts val="10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556583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Full Image + Content 4">
  <p:cSld name="Full Image + Content 4">
    <p:spTree>
      <p:nvGrpSpPr>
        <p:cNvPr id="1" name="Shape 250"/>
        <p:cNvGrpSpPr/>
        <p:nvPr/>
      </p:nvGrpSpPr>
      <p:grpSpPr>
        <a:xfrm>
          <a:off x="0" y="0"/>
          <a:ext cx="0" cy="0"/>
          <a:chOff x="0" y="0"/>
          <a:chExt cx="0" cy="0"/>
        </a:xfrm>
      </p:grpSpPr>
      <p:pic>
        <p:nvPicPr>
          <p:cNvPr id="2" name="Google Shape;251;ge783127671_0_202">
            <a:extLst>
              <a:ext uri="{FF2B5EF4-FFF2-40B4-BE49-F238E27FC236}">
                <a16:creationId xmlns:a16="http://schemas.microsoft.com/office/drawing/2014/main" id="{E63D5E74-47B1-4AB4-C00C-7C479C56A94A}"/>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52;ge783127671_0_202">
            <a:extLst>
              <a:ext uri="{FF2B5EF4-FFF2-40B4-BE49-F238E27FC236}">
                <a16:creationId xmlns:a16="http://schemas.microsoft.com/office/drawing/2014/main" id="{E5A0F63A-E3E5-757E-37EB-D1C2B387266C}"/>
              </a:ext>
            </a:extLst>
          </p:cNvPr>
          <p:cNvGrpSpPr>
            <a:grpSpLocks/>
          </p:cNvGrpSpPr>
          <p:nvPr/>
        </p:nvGrpSpPr>
        <p:grpSpPr bwMode="auto">
          <a:xfrm>
            <a:off x="6989763" y="0"/>
            <a:ext cx="5199062" cy="3429000"/>
            <a:chOff x="6989942" y="1"/>
            <a:chExt cx="5198885" cy="3429000"/>
          </a:xfrm>
        </p:grpSpPr>
        <p:pic>
          <p:nvPicPr>
            <p:cNvPr id="4" name="Google Shape;253;ge783127671_0_202">
              <a:extLst>
                <a:ext uri="{FF2B5EF4-FFF2-40B4-BE49-F238E27FC236}">
                  <a16:creationId xmlns:a16="http://schemas.microsoft.com/office/drawing/2014/main" id="{DEBC6EC2-718A-5DB9-7638-8B3C6C828C02}"/>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54;ge783127671_0_202">
              <a:extLst>
                <a:ext uri="{FF2B5EF4-FFF2-40B4-BE49-F238E27FC236}">
                  <a16:creationId xmlns:a16="http://schemas.microsoft.com/office/drawing/2014/main" id="{63E1A5A8-99AD-BED8-8C1D-E7C16BFF8F23}"/>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55;ge783127671_0_202">
            <a:extLst>
              <a:ext uri="{FF2B5EF4-FFF2-40B4-BE49-F238E27FC236}">
                <a16:creationId xmlns:a16="http://schemas.microsoft.com/office/drawing/2014/main" id="{361382BE-7363-14B8-ACDD-73AA890BC3DF}"/>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477BA16C-F11B-4A2F-8974-CEF2C321A57E}"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56" name="Google Shape;256;ge783127671_0_202"/>
          <p:cNvSpPr txBox="1">
            <a:spLocks noGrp="1"/>
          </p:cNvSpPr>
          <p:nvPr>
            <p:ph type="body" idx="1"/>
          </p:nvPr>
        </p:nvSpPr>
        <p:spPr>
          <a:xfrm>
            <a:off x="381002" y="1205919"/>
            <a:ext cx="34746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7" name="Google Shape;257;ge783127671_0_202"/>
          <p:cNvSpPr txBox="1">
            <a:spLocks noGrp="1"/>
          </p:cNvSpPr>
          <p:nvPr>
            <p:ph type="body" idx="2"/>
          </p:nvPr>
        </p:nvSpPr>
        <p:spPr>
          <a:xfrm>
            <a:off x="381002" y="2658170"/>
            <a:ext cx="3474600" cy="24069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346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1_Full Image + Content 4">
  <p:cSld name="1_Full Image + Content 4">
    <p:spTree>
      <p:nvGrpSpPr>
        <p:cNvPr id="1" name="Shape 258"/>
        <p:cNvGrpSpPr/>
        <p:nvPr/>
      </p:nvGrpSpPr>
      <p:grpSpPr>
        <a:xfrm>
          <a:off x="0" y="0"/>
          <a:ext cx="0" cy="0"/>
          <a:chOff x="0" y="0"/>
          <a:chExt cx="0" cy="0"/>
        </a:xfrm>
      </p:grpSpPr>
      <p:pic>
        <p:nvPicPr>
          <p:cNvPr id="2" name="Google Shape;259;ge783127671_0_210">
            <a:extLst>
              <a:ext uri="{FF2B5EF4-FFF2-40B4-BE49-F238E27FC236}">
                <a16:creationId xmlns:a16="http://schemas.microsoft.com/office/drawing/2014/main" id="{5F4A494C-E96F-7C7E-5875-B0AA4F060725}"/>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oogle Shape;260;ge783127671_0_210">
            <a:extLst>
              <a:ext uri="{FF2B5EF4-FFF2-40B4-BE49-F238E27FC236}">
                <a16:creationId xmlns:a16="http://schemas.microsoft.com/office/drawing/2014/main" id="{CA2FC9C5-F27D-98AC-A008-1CE877542511}"/>
              </a:ext>
            </a:extLst>
          </p:cNvPr>
          <p:cNvGrpSpPr>
            <a:grpSpLocks/>
          </p:cNvGrpSpPr>
          <p:nvPr/>
        </p:nvGrpSpPr>
        <p:grpSpPr bwMode="auto">
          <a:xfrm>
            <a:off x="6989763" y="0"/>
            <a:ext cx="5199062" cy="3429000"/>
            <a:chOff x="6989942" y="1"/>
            <a:chExt cx="5198885" cy="3429000"/>
          </a:xfrm>
        </p:grpSpPr>
        <p:pic>
          <p:nvPicPr>
            <p:cNvPr id="4" name="Google Shape;261;ge783127671_0_210">
              <a:extLst>
                <a:ext uri="{FF2B5EF4-FFF2-40B4-BE49-F238E27FC236}">
                  <a16:creationId xmlns:a16="http://schemas.microsoft.com/office/drawing/2014/main" id="{06EBC38E-9ECD-D336-35C6-EE3B0C1B39CD}"/>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7346" b="49985"/>
            <a:stretch>
              <a:fillRect/>
            </a:stretch>
          </p:blipFill>
          <p:spPr bwMode="auto">
            <a:xfrm>
              <a:off x="6989942" y="1"/>
              <a:ext cx="5198885"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oogle Shape;262;ge783127671_0_210">
              <a:extLst>
                <a:ext uri="{FF2B5EF4-FFF2-40B4-BE49-F238E27FC236}">
                  <a16:creationId xmlns:a16="http://schemas.microsoft.com/office/drawing/2014/main" id="{18E2790A-3BF1-0574-F09E-27A94E84DA42}"/>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9039" y="323108"/>
              <a:ext cx="2010375" cy="32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Google Shape;263;ge783127671_0_210">
            <a:extLst>
              <a:ext uri="{FF2B5EF4-FFF2-40B4-BE49-F238E27FC236}">
                <a16:creationId xmlns:a16="http://schemas.microsoft.com/office/drawing/2014/main" id="{9A096236-1496-7C19-79F4-1D571839A40A}"/>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06840754-1510-4DF3-BFE1-096FD04CC55E}" type="slidenum">
              <a:rPr lang="en-US" altLang="en-US" sz="700" b="1" smtClean="0">
                <a:solidFill>
                  <a:srgbClr val="FFFFFF"/>
                </a:solidFill>
              </a:rPr>
              <a:pPr algn="r" eaLnBrk="1" hangingPunct="1">
                <a:defRPr/>
              </a:pPr>
              <a:t>‹#›</a:t>
            </a:fld>
            <a:endParaRPr lang="en-US" altLang="en-US" sz="700" b="1">
              <a:solidFill>
                <a:srgbClr val="FFFFFF"/>
              </a:solidFill>
            </a:endParaRPr>
          </a:p>
        </p:txBody>
      </p:sp>
      <p:sp>
        <p:nvSpPr>
          <p:cNvPr id="264" name="Google Shape;264;ge783127671_0_210"/>
          <p:cNvSpPr txBox="1">
            <a:spLocks noGrp="1"/>
          </p:cNvSpPr>
          <p:nvPr>
            <p:ph type="body" idx="1"/>
          </p:nvPr>
        </p:nvSpPr>
        <p:spPr>
          <a:xfrm>
            <a:off x="381001" y="705151"/>
            <a:ext cx="5493300" cy="1329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800"/>
              <a:buNone/>
              <a:defRPr sz="2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5" name="Google Shape;265;ge783127671_0_210"/>
          <p:cNvSpPr txBox="1">
            <a:spLocks noGrp="1"/>
          </p:cNvSpPr>
          <p:nvPr>
            <p:ph type="body" idx="2"/>
          </p:nvPr>
        </p:nvSpPr>
        <p:spPr>
          <a:xfrm>
            <a:off x="381001" y="2157403"/>
            <a:ext cx="5493300" cy="10047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6" name="Google Shape;266;ge783127671_0_210"/>
          <p:cNvSpPr txBox="1">
            <a:spLocks noGrp="1"/>
          </p:cNvSpPr>
          <p:nvPr>
            <p:ph type="body" idx="3"/>
          </p:nvPr>
        </p:nvSpPr>
        <p:spPr>
          <a:xfrm>
            <a:off x="381002" y="3691083"/>
            <a:ext cx="3334800" cy="21027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200"/>
              <a:buNone/>
              <a:defRPr sz="1200"/>
            </a:lvl1pPr>
            <a:lvl2pPr marL="914400" lvl="1" indent="-304800" algn="l" rtl="0">
              <a:spcBef>
                <a:spcPts val="500"/>
              </a:spcBef>
              <a:spcAft>
                <a:spcPts val="0"/>
              </a:spcAft>
              <a:buSzPts val="1200"/>
              <a:buChar char="•"/>
              <a:defRPr sz="1200"/>
            </a:lvl2pPr>
            <a:lvl3pPr marL="1371600" lvl="2" indent="-304800" algn="l" rtl="0">
              <a:spcBef>
                <a:spcPts val="300"/>
              </a:spcBef>
              <a:spcAft>
                <a:spcPts val="0"/>
              </a:spcAft>
              <a:buSzPts val="1200"/>
              <a:buChar char="-"/>
              <a:defRPr sz="1200"/>
            </a:lvl3pPr>
            <a:lvl4pPr marL="1828800" lvl="3" indent="-304800" algn="l" rtl="0">
              <a:spcBef>
                <a:spcPts val="200"/>
              </a:spcBef>
              <a:spcAft>
                <a:spcPts val="0"/>
              </a:spcAft>
              <a:buSzPts val="1200"/>
              <a:buChar char="•"/>
              <a:defRPr sz="1200"/>
            </a:lvl4pPr>
            <a:lvl5pPr marL="2286000" lvl="4" indent="-304800" algn="l" rtl="0">
              <a:spcBef>
                <a:spcPts val="10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560249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67"/>
        <p:cNvGrpSpPr/>
        <p:nvPr/>
      </p:nvGrpSpPr>
      <p:grpSpPr>
        <a:xfrm>
          <a:off x="0" y="0"/>
          <a:ext cx="0" cy="0"/>
          <a:chOff x="0" y="0"/>
          <a:chExt cx="0" cy="0"/>
        </a:xfrm>
      </p:grpSpPr>
      <p:sp>
        <p:nvSpPr>
          <p:cNvPr id="268" name="Google Shape;268;ge783127671_0_219"/>
          <p:cNvSpPr txBox="1">
            <a:spLocks noGrp="1"/>
          </p:cNvSpPr>
          <p:nvPr>
            <p:ph type="body" idx="1"/>
          </p:nvPr>
        </p:nvSpPr>
        <p:spPr>
          <a:xfrm>
            <a:off x="379414" y="1322388"/>
            <a:ext cx="9144000" cy="4895400"/>
          </a:xfrm>
          <a:prstGeom prst="rect">
            <a:avLst/>
          </a:prstGeom>
          <a:noFill/>
          <a:ln>
            <a:noFill/>
          </a:ln>
        </p:spPr>
        <p:txBody>
          <a:bodyPr spcFirstLastPara="1">
            <a:noAutofit/>
          </a:bodyPr>
          <a:lstStyle>
            <a:lvl1pPr marL="457200" lvl="0" indent="-355600" algn="l" rtl="0">
              <a:spcBef>
                <a:spcPts val="1000"/>
              </a:spcBef>
              <a:spcAft>
                <a:spcPts val="0"/>
              </a:spcAft>
              <a:buClr>
                <a:schemeClr val="dk1"/>
              </a:buClr>
              <a:buSzPts val="2000"/>
              <a:buFont typeface="Arial"/>
              <a:buAutoNum type="arabicPeriod"/>
              <a:defRPr b="0"/>
            </a:lvl1pPr>
            <a:lvl2pPr marL="914400" lvl="1" indent="-355600" algn="l" rtl="0">
              <a:spcBef>
                <a:spcPts val="500"/>
              </a:spcBef>
              <a:spcAft>
                <a:spcPts val="0"/>
              </a:spcAft>
              <a:buSzPts val="2000"/>
              <a:buFont typeface="Arial"/>
              <a:buAutoNum type="arabicPeriod"/>
              <a:defRPr/>
            </a:lvl2pPr>
            <a:lvl3pPr marL="1371600" lvl="2" indent="-355600" algn="l" rtl="0">
              <a:spcBef>
                <a:spcPts val="300"/>
              </a:spcBef>
              <a:spcAft>
                <a:spcPts val="0"/>
              </a:spcAft>
              <a:buSzPts val="2000"/>
              <a:buFont typeface="Arial"/>
              <a:buAutoNum type="arabicPeriod"/>
              <a:defRPr/>
            </a:lvl3pPr>
            <a:lvl4pPr marL="1828800" lvl="3" indent="-355600" algn="l" rtl="0">
              <a:spcBef>
                <a:spcPts val="200"/>
              </a:spcBef>
              <a:spcAft>
                <a:spcPts val="0"/>
              </a:spcAft>
              <a:buSzPts val="2000"/>
              <a:buFont typeface="Arial"/>
              <a:buAutoNum type="arabicPeriod"/>
              <a:defRPr/>
            </a:lvl4pPr>
            <a:lvl5pPr marL="2286000" lvl="4" indent="-355600" algn="l" rtl="0">
              <a:spcBef>
                <a:spcPts val="100"/>
              </a:spcBef>
              <a:spcAft>
                <a:spcPts val="0"/>
              </a:spcAft>
              <a:buSzPts val="2000"/>
              <a:buFont typeface="Arial"/>
              <a:buAutoNum type="arabicPeriod"/>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9" name="Google Shape;269;ge783127671_0_219"/>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1904121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eam">
  <p:cSld name="Team">
    <p:spTree>
      <p:nvGrpSpPr>
        <p:cNvPr id="1" name="Shape 270"/>
        <p:cNvGrpSpPr/>
        <p:nvPr/>
      </p:nvGrpSpPr>
      <p:grpSpPr>
        <a:xfrm>
          <a:off x="0" y="0"/>
          <a:ext cx="0" cy="0"/>
          <a:chOff x="0" y="0"/>
          <a:chExt cx="0" cy="0"/>
        </a:xfrm>
      </p:grpSpPr>
      <p:sp>
        <p:nvSpPr>
          <p:cNvPr id="271" name="Google Shape;271;ge783127671_0_222"/>
          <p:cNvSpPr>
            <a:spLocks noGrp="1"/>
          </p:cNvSpPr>
          <p:nvPr>
            <p:ph type="pic" idx="2"/>
          </p:nvPr>
        </p:nvSpPr>
        <p:spPr>
          <a:xfrm>
            <a:off x="383815"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2" name="Google Shape;272;ge783127671_0_222"/>
          <p:cNvSpPr>
            <a:spLocks noGrp="1"/>
          </p:cNvSpPr>
          <p:nvPr>
            <p:ph type="pic" idx="3"/>
          </p:nvPr>
        </p:nvSpPr>
        <p:spPr>
          <a:xfrm>
            <a:off x="3246001"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3" name="Google Shape;273;ge783127671_0_222"/>
          <p:cNvSpPr>
            <a:spLocks noGrp="1"/>
          </p:cNvSpPr>
          <p:nvPr>
            <p:ph type="pic" idx="4"/>
          </p:nvPr>
        </p:nvSpPr>
        <p:spPr>
          <a:xfrm>
            <a:off x="6108187"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4" name="Google Shape;274;ge783127671_0_222"/>
          <p:cNvSpPr>
            <a:spLocks noGrp="1"/>
          </p:cNvSpPr>
          <p:nvPr>
            <p:ph type="pic" idx="5"/>
          </p:nvPr>
        </p:nvSpPr>
        <p:spPr>
          <a:xfrm>
            <a:off x="8970373" y="1938570"/>
            <a:ext cx="1492500" cy="1492500"/>
          </a:xfrm>
          <a:prstGeom prst="ellipse">
            <a:avLst/>
          </a:prstGeom>
          <a:noFill/>
          <a:ln>
            <a:noFill/>
          </a:ln>
        </p:spPr>
        <p:txBody>
          <a:bodyPr spcFirstLastPara="1" anchor="ctr">
            <a:noAutofit/>
          </a:bodyPr>
          <a:lstStyle>
            <a:lvl1pPr marR="0" lvl="0" algn="ctr" rtl="0">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R="0" lvl="1" algn="l" rtl="0">
              <a:spcBef>
                <a:spcPts val="5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2pPr>
            <a:lvl3pPr marR="0" lvl="2" algn="l" rtl="0">
              <a:spcBef>
                <a:spcPts val="3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3pPr>
            <a:lvl4pPr marR="0" lvl="3" algn="l" rtl="0">
              <a:spcBef>
                <a:spcPts val="200"/>
              </a:spcBef>
              <a:spcAft>
                <a:spcPts val="0"/>
              </a:spcAft>
              <a:buClr>
                <a:schemeClr val="accent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100"/>
              </a:spcBef>
              <a:spcAft>
                <a:spcPts val="0"/>
              </a:spcAft>
              <a:buClr>
                <a:schemeClr val="accent1"/>
              </a:buClr>
              <a:buSzPts val="2000"/>
              <a:buFont typeface="Merriweather Sans"/>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lvl="0"/>
            <a:endParaRPr noProof="0">
              <a:sym typeface="Arial"/>
            </a:endParaRPr>
          </a:p>
        </p:txBody>
      </p:sp>
      <p:sp>
        <p:nvSpPr>
          <p:cNvPr id="275" name="Google Shape;275;ge783127671_0_222"/>
          <p:cNvSpPr txBox="1">
            <a:spLocks noGrp="1"/>
          </p:cNvSpPr>
          <p:nvPr>
            <p:ph type="body" idx="1"/>
          </p:nvPr>
        </p:nvSpPr>
        <p:spPr>
          <a:xfrm>
            <a:off x="383816"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6" name="Google Shape;276;ge783127671_0_222"/>
          <p:cNvSpPr txBox="1">
            <a:spLocks noGrp="1"/>
          </p:cNvSpPr>
          <p:nvPr>
            <p:ph type="body" idx="6"/>
          </p:nvPr>
        </p:nvSpPr>
        <p:spPr>
          <a:xfrm>
            <a:off x="3246002"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7" name="Google Shape;277;ge783127671_0_222"/>
          <p:cNvSpPr txBox="1">
            <a:spLocks noGrp="1"/>
          </p:cNvSpPr>
          <p:nvPr>
            <p:ph type="body" idx="7"/>
          </p:nvPr>
        </p:nvSpPr>
        <p:spPr>
          <a:xfrm>
            <a:off x="6108188"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8" name="Google Shape;278;ge783127671_0_222"/>
          <p:cNvSpPr txBox="1">
            <a:spLocks noGrp="1"/>
          </p:cNvSpPr>
          <p:nvPr>
            <p:ph type="body" idx="8"/>
          </p:nvPr>
        </p:nvSpPr>
        <p:spPr>
          <a:xfrm>
            <a:off x="8970373" y="4269192"/>
            <a:ext cx="2560200" cy="1140900"/>
          </a:xfrm>
          <a:prstGeom prst="rect">
            <a:avLst/>
          </a:prstGeom>
          <a:noFill/>
          <a:ln>
            <a:noFill/>
          </a:ln>
        </p:spPr>
        <p:txBody>
          <a:bodyPr spcFirstLastPara="1">
            <a:noAutofit/>
          </a:bodyPr>
          <a:lstStyle>
            <a:lvl1pPr marL="457200" lvl="0" indent="-228600" algn="l" rtl="0">
              <a:lnSpc>
                <a:spcPct val="110000"/>
              </a:lnSpc>
              <a:spcBef>
                <a:spcPts val="0"/>
              </a:spcBef>
              <a:spcAft>
                <a:spcPts val="0"/>
              </a:spcAft>
              <a:buClr>
                <a:schemeClr val="dk1"/>
              </a:buClr>
              <a:buSzPts val="1400"/>
              <a:buNone/>
              <a:defRPr sz="1400"/>
            </a:lvl1pPr>
            <a:lvl2pPr marL="914400" lvl="1" indent="-317500" algn="l" rtl="0">
              <a:lnSpc>
                <a:spcPct val="110000"/>
              </a:lnSpc>
              <a:spcBef>
                <a:spcPts val="0"/>
              </a:spcBef>
              <a:spcAft>
                <a:spcPts val="0"/>
              </a:spcAft>
              <a:buClr>
                <a:schemeClr val="accent1"/>
              </a:buClr>
              <a:buSzPts val="1400"/>
              <a:buChar char="•"/>
              <a:defRPr sz="1400"/>
            </a:lvl2pPr>
            <a:lvl3pPr marL="1371600" lvl="2" indent="-304800" algn="l" rtl="0">
              <a:lnSpc>
                <a:spcPct val="110000"/>
              </a:lnSpc>
              <a:spcBef>
                <a:spcPts val="0"/>
              </a:spcBef>
              <a:spcAft>
                <a:spcPts val="0"/>
              </a:spcAft>
              <a:buClr>
                <a:schemeClr val="accent1"/>
              </a:buClr>
              <a:buSzPts val="1200"/>
              <a:buChar char="-"/>
              <a:defRPr sz="1200"/>
            </a:lvl3pPr>
            <a:lvl4pPr marL="1828800" lvl="3" indent="-304800" algn="l" rtl="0">
              <a:lnSpc>
                <a:spcPct val="110000"/>
              </a:lnSpc>
              <a:spcBef>
                <a:spcPts val="0"/>
              </a:spcBef>
              <a:spcAft>
                <a:spcPts val="0"/>
              </a:spcAft>
              <a:buSzPts val="1200"/>
              <a:buChar char="•"/>
              <a:defRPr sz="1200"/>
            </a:lvl4pPr>
            <a:lvl5pPr marL="2286000" lvl="4" indent="-304800" algn="l" rtl="0">
              <a:lnSpc>
                <a:spcPct val="110000"/>
              </a:lnSpc>
              <a:spcBef>
                <a:spcPts val="0"/>
              </a:spcBef>
              <a:spcAft>
                <a:spcPts val="0"/>
              </a:spcAft>
              <a:buSzPts val="1200"/>
              <a:buChar char="-"/>
              <a:defRPr sz="120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9" name="Google Shape;279;ge783127671_0_222"/>
          <p:cNvSpPr txBox="1">
            <a:spLocks noGrp="1"/>
          </p:cNvSpPr>
          <p:nvPr>
            <p:ph type="body" idx="9"/>
          </p:nvPr>
        </p:nvSpPr>
        <p:spPr>
          <a:xfrm>
            <a:off x="383816"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0" name="Google Shape;280;ge783127671_0_222"/>
          <p:cNvSpPr txBox="1">
            <a:spLocks noGrp="1"/>
          </p:cNvSpPr>
          <p:nvPr>
            <p:ph type="body" idx="13"/>
          </p:nvPr>
        </p:nvSpPr>
        <p:spPr>
          <a:xfrm>
            <a:off x="3246002"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1" name="Google Shape;281;ge783127671_0_222"/>
          <p:cNvSpPr txBox="1">
            <a:spLocks noGrp="1"/>
          </p:cNvSpPr>
          <p:nvPr>
            <p:ph type="body" idx="14"/>
          </p:nvPr>
        </p:nvSpPr>
        <p:spPr>
          <a:xfrm>
            <a:off x="6108188"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2" name="Google Shape;282;ge783127671_0_222"/>
          <p:cNvSpPr txBox="1">
            <a:spLocks noGrp="1"/>
          </p:cNvSpPr>
          <p:nvPr>
            <p:ph type="body" idx="15"/>
          </p:nvPr>
        </p:nvSpPr>
        <p:spPr>
          <a:xfrm>
            <a:off x="8970373" y="3650732"/>
            <a:ext cx="2560200" cy="4986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1800"/>
              <a:buNone/>
              <a:defRPr sz="18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3" name="Google Shape;283;ge783127671_0_222"/>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9259234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284"/>
        <p:cNvGrpSpPr/>
        <p:nvPr/>
      </p:nvGrpSpPr>
      <p:grpSpPr>
        <a:xfrm>
          <a:off x="0" y="0"/>
          <a:ext cx="0" cy="0"/>
          <a:chOff x="0" y="0"/>
          <a:chExt cx="0" cy="0"/>
        </a:xfrm>
      </p:grpSpPr>
      <p:sp>
        <p:nvSpPr>
          <p:cNvPr id="285" name="Google Shape;285;ge783127671_0_236"/>
          <p:cNvSpPr txBox="1">
            <a:spLocks noGrp="1"/>
          </p:cNvSpPr>
          <p:nvPr>
            <p:ph type="body" idx="1"/>
          </p:nvPr>
        </p:nvSpPr>
        <p:spPr>
          <a:xfrm>
            <a:off x="381001" y="2565127"/>
            <a:ext cx="3017400" cy="2201100"/>
          </a:xfrm>
          <a:prstGeom prst="rect">
            <a:avLst/>
          </a:prstGeom>
          <a:solidFill>
            <a:schemeClr val="accent1"/>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6" name="Google Shape;286;ge783127671_0_236"/>
          <p:cNvSpPr txBox="1">
            <a:spLocks noGrp="1"/>
          </p:cNvSpPr>
          <p:nvPr>
            <p:ph type="body" idx="2"/>
          </p:nvPr>
        </p:nvSpPr>
        <p:spPr>
          <a:xfrm>
            <a:off x="3807007" y="2565127"/>
            <a:ext cx="3017400" cy="2201100"/>
          </a:xfrm>
          <a:prstGeom prst="rect">
            <a:avLst/>
          </a:prstGeom>
          <a:solidFill>
            <a:schemeClr val="accent3"/>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7" name="Google Shape;287;ge783127671_0_236"/>
          <p:cNvSpPr txBox="1">
            <a:spLocks noGrp="1"/>
          </p:cNvSpPr>
          <p:nvPr>
            <p:ph type="body" idx="3"/>
          </p:nvPr>
        </p:nvSpPr>
        <p:spPr>
          <a:xfrm>
            <a:off x="7233013" y="2565127"/>
            <a:ext cx="3017400" cy="2201100"/>
          </a:xfrm>
          <a:prstGeom prst="rect">
            <a:avLst/>
          </a:prstGeom>
          <a:solidFill>
            <a:schemeClr val="accent4"/>
          </a:solidFill>
          <a:ln>
            <a:noFill/>
          </a:ln>
        </p:spPr>
        <p:txBody>
          <a:bodyPr spcFirstLastPara="1" lIns="182875" tIns="182875" rIns="182875" bIns="182875" anchor="ctr">
            <a:noAutofit/>
          </a:bodyPr>
          <a:lstStyle>
            <a:lvl1pPr marL="457200" lvl="0" indent="-228600" algn="ctr" rtl="0">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rtl="0">
              <a:spcBef>
                <a:spcPts val="500"/>
              </a:spcBef>
              <a:spcAft>
                <a:spcPts val="0"/>
              </a:spcAft>
              <a:buSzPts val="1800"/>
              <a:buChar char="•"/>
              <a:defRPr/>
            </a:lvl2pPr>
            <a:lvl3pPr marL="1371600" lvl="2" indent="-342900" algn="l" rtl="0">
              <a:spcBef>
                <a:spcPts val="300"/>
              </a:spcBef>
              <a:spcAft>
                <a:spcPts val="0"/>
              </a:spcAft>
              <a:buSzPts val="1800"/>
              <a:buChar char="-"/>
              <a:defRPr/>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8" name="Google Shape;288;ge783127671_0_236"/>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0508964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289"/>
        <p:cNvGrpSpPr/>
        <p:nvPr/>
      </p:nvGrpSpPr>
      <p:grpSpPr>
        <a:xfrm>
          <a:off x="0" y="0"/>
          <a:ext cx="0" cy="0"/>
          <a:chOff x="0" y="0"/>
          <a:chExt cx="0" cy="0"/>
        </a:xfrm>
      </p:grpSpPr>
      <p:sp>
        <p:nvSpPr>
          <p:cNvPr id="290" name="Google Shape;290;ge783127671_0_241"/>
          <p:cNvSpPr txBox="1">
            <a:spLocks noGrp="1"/>
          </p:cNvSpPr>
          <p:nvPr>
            <p:ph type="body" idx="1"/>
          </p:nvPr>
        </p:nvSpPr>
        <p:spPr>
          <a:xfrm>
            <a:off x="379413" y="1611085"/>
            <a:ext cx="9144000" cy="3932100"/>
          </a:xfrm>
          <a:prstGeom prst="rect">
            <a:avLst/>
          </a:prstGeom>
          <a:noFill/>
          <a:ln>
            <a:noFill/>
          </a:ln>
        </p:spPr>
        <p:txBody>
          <a:bodyPr spcFirstLastPara="1" anchor="ctr">
            <a:noAutofit/>
          </a:bodyPr>
          <a:lstStyle>
            <a:lvl1pPr marL="457200" lvl="0" indent="-228600" algn="l" rtl="0">
              <a:spcBef>
                <a:spcPts val="1000"/>
              </a:spcBef>
              <a:spcAft>
                <a:spcPts val="0"/>
              </a:spcAft>
              <a:buClr>
                <a:schemeClr val="dk1"/>
              </a:buClr>
              <a:buSzPts val="3200"/>
              <a:buNone/>
              <a:defRPr sz="3200"/>
            </a:lvl1pPr>
            <a:lvl2pPr marL="914400" lvl="1" indent="-228600" algn="r" rtl="0">
              <a:spcBef>
                <a:spcPts val="1200"/>
              </a:spcBef>
              <a:spcAft>
                <a:spcPts val="0"/>
              </a:spcAft>
              <a:buSzPts val="1800"/>
              <a:buNone/>
              <a:defRPr sz="1800"/>
            </a:lvl2pPr>
            <a:lvl3pPr marL="1371600" lvl="2" indent="-228600" algn="r" rtl="0">
              <a:spcBef>
                <a:spcPts val="300"/>
              </a:spcBef>
              <a:spcAft>
                <a:spcPts val="0"/>
              </a:spcAft>
              <a:buSzPts val="1600"/>
              <a:buNone/>
              <a:defRPr sz="1600"/>
            </a:lvl3pPr>
            <a:lvl4pPr marL="1828800" lvl="3" indent="-342900" algn="l" rtl="0">
              <a:spcBef>
                <a:spcPts val="200"/>
              </a:spcBef>
              <a:spcAft>
                <a:spcPts val="0"/>
              </a:spcAft>
              <a:buSzPts val="1800"/>
              <a:buChar char="•"/>
              <a:defRPr/>
            </a:lvl4pPr>
            <a:lvl5pPr marL="2286000" lvl="4" indent="-342900" algn="l" rtl="0">
              <a:spcBef>
                <a:spcPts val="100"/>
              </a:spcBef>
              <a:spcAft>
                <a:spcPts val="0"/>
              </a:spcAft>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158714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291"/>
        <p:cNvGrpSpPr/>
        <p:nvPr/>
      </p:nvGrpSpPr>
      <p:grpSpPr>
        <a:xfrm>
          <a:off x="0" y="0"/>
          <a:ext cx="0" cy="0"/>
          <a:chOff x="0" y="0"/>
          <a:chExt cx="0" cy="0"/>
        </a:xfrm>
      </p:grpSpPr>
      <p:sp>
        <p:nvSpPr>
          <p:cNvPr id="292" name="Google Shape;292;ge783127671_0_243"/>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649842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Image + Content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F10B91-22C2-44E6-A335-7385F6B53E9D}"/>
              </a:ext>
            </a:extLst>
          </p:cNvPr>
          <p:cNvPicPr>
            <a:picLocks noChangeAspect="1"/>
          </p:cNvPicPr>
          <p:nvPr userDrawn="1"/>
        </p:nvPicPr>
        <p:blipFill>
          <a:blip r:embed="rId2"/>
          <a:stretch>
            <a:fillRect/>
          </a:stretch>
        </p:blipFill>
        <p:spPr>
          <a:xfrm>
            <a:off x="0" y="893"/>
            <a:ext cx="12188825" cy="6856214"/>
          </a:xfrm>
          <a:prstGeom prst="rect">
            <a:avLst/>
          </a:prstGeom>
        </p:spPr>
      </p:pic>
      <p:grpSp>
        <p:nvGrpSpPr>
          <p:cNvPr id="6" name="Group 5">
            <a:extLst>
              <a:ext uri="{FF2B5EF4-FFF2-40B4-BE49-F238E27FC236}">
                <a16:creationId xmlns:a16="http://schemas.microsoft.com/office/drawing/2014/main" id="{81960BA3-15DE-478C-A798-B11C3D7F573A}"/>
              </a:ext>
            </a:extLst>
          </p:cNvPr>
          <p:cNvGrpSpPr/>
          <p:nvPr userDrawn="1"/>
        </p:nvGrpSpPr>
        <p:grpSpPr>
          <a:xfrm>
            <a:off x="6989942" y="1"/>
            <a:ext cx="5198883" cy="3429000"/>
            <a:chOff x="6989942" y="1"/>
            <a:chExt cx="5198883" cy="3429000"/>
          </a:xfrm>
        </p:grpSpPr>
        <p:pic>
          <p:nvPicPr>
            <p:cNvPr id="21" name="Picture 20">
              <a:extLst>
                <a:ext uri="{FF2B5EF4-FFF2-40B4-BE49-F238E27FC236}">
                  <a16:creationId xmlns:a16="http://schemas.microsoft.com/office/drawing/2014/main" id="{6CB31861-7085-4BE6-BF69-CF2D769B3D09}"/>
                </a:ext>
              </a:extLst>
            </p:cNvPr>
            <p:cNvPicPr>
              <a:picLocks noChangeAspect="1"/>
            </p:cNvPicPr>
            <p:nvPr userDrawn="1"/>
          </p:nvPicPr>
          <p:blipFill rotWithShape="1">
            <a:blip r:embed="rId3"/>
            <a:srcRect l="57347" b="49986"/>
            <a:stretch/>
          </p:blipFill>
          <p:spPr>
            <a:xfrm>
              <a:off x="6989942" y="1"/>
              <a:ext cx="5198883" cy="3429000"/>
            </a:xfrm>
            <a:prstGeom prst="rect">
              <a:avLst/>
            </a:prstGeom>
          </p:spPr>
        </p:pic>
        <p:pic>
          <p:nvPicPr>
            <p:cNvPr id="22" name="Graphic 21">
              <a:extLst>
                <a:ext uri="{FF2B5EF4-FFF2-40B4-BE49-F238E27FC236}">
                  <a16:creationId xmlns:a16="http://schemas.microsoft.com/office/drawing/2014/main" id="{FF78EF09-B52F-4EA8-AB18-3762585E12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9039" y="323108"/>
              <a:ext cx="2010374" cy="328644"/>
            </a:xfrm>
            <a:prstGeom prst="rect">
              <a:avLst/>
            </a:prstGeom>
          </p:spPr>
        </p:pic>
      </p:grpSp>
      <p:sp>
        <p:nvSpPr>
          <p:cNvPr id="26" name="Text Placeholder 14">
            <a:extLst>
              <a:ext uri="{FF2B5EF4-FFF2-40B4-BE49-F238E27FC236}">
                <a16:creationId xmlns:a16="http://schemas.microsoft.com/office/drawing/2014/main" id="{11ABB0D8-B885-46BC-9D63-50B5A2079A87}"/>
              </a:ext>
            </a:extLst>
          </p:cNvPr>
          <p:cNvSpPr>
            <a:spLocks noGrp="1"/>
          </p:cNvSpPr>
          <p:nvPr>
            <p:ph type="body" sz="quarter" idx="14" hasCustomPrompt="1"/>
          </p:nvPr>
        </p:nvSpPr>
        <p:spPr>
          <a:xfrm>
            <a:off x="379413" y="1964774"/>
            <a:ext cx="3570795" cy="489737"/>
          </a:xfrm>
        </p:spPr>
        <p:txBody>
          <a:bodyPr tIns="0" anchor="b" anchorCtr="0"/>
          <a:lstStyle>
            <a:lvl1pPr>
              <a:lnSpc>
                <a:spcPct val="90000"/>
              </a:lnSpc>
              <a:spcBef>
                <a:spcPts val="500"/>
              </a:spcBef>
              <a:defRPr sz="2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Title</a:t>
            </a:r>
          </a:p>
        </p:txBody>
      </p:sp>
      <p:sp>
        <p:nvSpPr>
          <p:cNvPr id="27" name="Text Placeholder 9">
            <a:extLst>
              <a:ext uri="{FF2B5EF4-FFF2-40B4-BE49-F238E27FC236}">
                <a16:creationId xmlns:a16="http://schemas.microsoft.com/office/drawing/2014/main" id="{F74BD759-4004-436F-A102-DB1FC2A7896A}"/>
              </a:ext>
            </a:extLst>
          </p:cNvPr>
          <p:cNvSpPr>
            <a:spLocks noGrp="1"/>
          </p:cNvSpPr>
          <p:nvPr>
            <p:ph type="body" sz="quarter" idx="15"/>
          </p:nvPr>
        </p:nvSpPr>
        <p:spPr>
          <a:xfrm>
            <a:off x="379412" y="2577563"/>
            <a:ext cx="3570461" cy="1249060"/>
          </a:xfrm>
        </p:spPr>
        <p:txBody>
          <a:bodyPr wrap="square">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28" name="TextBox 27">
            <a:extLst>
              <a:ext uri="{FF2B5EF4-FFF2-40B4-BE49-F238E27FC236}">
                <a16:creationId xmlns:a16="http://schemas.microsoft.com/office/drawing/2014/main" id="{F994D3B4-BE26-40EB-BFE2-8E4A22C08091}"/>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spTree>
    <p:extLst>
      <p:ext uri="{BB962C8B-B14F-4D97-AF65-F5344CB8AC3E}">
        <p14:creationId xmlns:p14="http://schemas.microsoft.com/office/powerpoint/2010/main" val="36205731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ntent + Subhead 1">
  <p:cSld name="Content + Subhead 1">
    <p:spTree>
      <p:nvGrpSpPr>
        <p:cNvPr id="1" name="Shape 293"/>
        <p:cNvGrpSpPr/>
        <p:nvPr/>
      </p:nvGrpSpPr>
      <p:grpSpPr>
        <a:xfrm>
          <a:off x="0" y="0"/>
          <a:ext cx="0" cy="0"/>
          <a:chOff x="0" y="0"/>
          <a:chExt cx="0" cy="0"/>
        </a:xfrm>
      </p:grpSpPr>
      <p:sp>
        <p:nvSpPr>
          <p:cNvPr id="294" name="Google Shape;294;ge783127671_0_245"/>
          <p:cNvSpPr txBox="1">
            <a:spLocks noGrp="1"/>
          </p:cNvSpPr>
          <p:nvPr>
            <p:ph type="body" idx="1"/>
          </p:nvPr>
        </p:nvSpPr>
        <p:spPr>
          <a:xfrm>
            <a:off x="381002" y="1781174"/>
            <a:ext cx="9144000" cy="4429200"/>
          </a:xfrm>
          <a:prstGeom prst="rect">
            <a:avLst/>
          </a:prstGeom>
          <a:noFill/>
          <a:ln>
            <a:noFill/>
          </a:ln>
        </p:spPr>
        <p:txBody>
          <a:bodyPr spcFirstLastPara="1">
            <a:noAutofit/>
          </a:bodyPr>
          <a:lstStyle>
            <a:lvl1pPr marL="457200" lvl="0" indent="-228600" algn="l" rtl="0">
              <a:spcBef>
                <a:spcPts val="1000"/>
              </a:spcBef>
              <a:spcAft>
                <a:spcPts val="0"/>
              </a:spcAft>
              <a:buClr>
                <a:schemeClr val="dk1"/>
              </a:buClr>
              <a:buSzPts val="1800"/>
              <a:buNone/>
              <a:defRPr/>
            </a:lvl1pPr>
            <a:lvl2pPr marL="914400" lvl="1" indent="-355600" algn="l" rtl="0">
              <a:spcBef>
                <a:spcPts val="500"/>
              </a:spcBef>
              <a:spcAft>
                <a:spcPts val="0"/>
              </a:spcAft>
              <a:buClr>
                <a:schemeClr val="accent1"/>
              </a:buClr>
              <a:buSzPts val="2000"/>
              <a:buChar char="•"/>
              <a:defRPr/>
            </a:lvl2pPr>
            <a:lvl3pPr marL="1371600" lvl="2" indent="-355600" algn="l" rtl="0">
              <a:spcBef>
                <a:spcPts val="300"/>
              </a:spcBef>
              <a:spcAft>
                <a:spcPts val="0"/>
              </a:spcAft>
              <a:buClr>
                <a:schemeClr val="accent1"/>
              </a:buClr>
              <a:buSzPts val="2000"/>
              <a:buChar char="-"/>
              <a:defRPr/>
            </a:lvl3pPr>
            <a:lvl4pPr marL="1828800" lvl="3" indent="-355600" algn="l" rtl="0">
              <a:spcBef>
                <a:spcPts val="200"/>
              </a:spcBef>
              <a:spcAft>
                <a:spcPts val="0"/>
              </a:spcAft>
              <a:buClr>
                <a:schemeClr val="accent1"/>
              </a:buClr>
              <a:buSzPts val="2000"/>
              <a:buChar char="•"/>
              <a:defRPr/>
            </a:lvl4pPr>
            <a:lvl5pPr marL="2286000" lvl="4" indent="-355600" algn="l" rtl="0">
              <a:spcBef>
                <a:spcPts val="100"/>
              </a:spcBef>
              <a:spcAft>
                <a:spcPts val="0"/>
              </a:spcAft>
              <a:buClr>
                <a:schemeClr val="accent1"/>
              </a:buClr>
              <a:buSzPts val="20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95" name="Google Shape;295;ge783127671_0_245"/>
          <p:cNvSpPr txBox="1">
            <a:spLocks noGrp="1"/>
          </p:cNvSpPr>
          <p:nvPr>
            <p:ph type="body" idx="2"/>
          </p:nvPr>
        </p:nvSpPr>
        <p:spPr>
          <a:xfrm>
            <a:off x="381002" y="1169974"/>
            <a:ext cx="9144000" cy="491400"/>
          </a:xfrm>
          <a:prstGeom prst="rect">
            <a:avLst/>
          </a:prstGeom>
          <a:noFill/>
          <a:ln>
            <a:noFill/>
          </a:ln>
        </p:spPr>
        <p:txBody>
          <a:bodyPr spcFirstLastPara="1" anchor="b">
            <a:noAutofit/>
          </a:bodyPr>
          <a:lstStyle>
            <a:lvl1pPr marL="457200" lvl="0" indent="-228600" algn="l" rtl="0">
              <a:lnSpc>
                <a:spcPct val="90000"/>
              </a:lnSpc>
              <a:spcBef>
                <a:spcPts val="500"/>
              </a:spcBef>
              <a:spcAft>
                <a:spcPts val="0"/>
              </a:spcAft>
              <a:buClr>
                <a:schemeClr val="dk1"/>
              </a:buClr>
              <a:buSzPts val="2000"/>
              <a:buNone/>
              <a:defRPr sz="2000" b="1"/>
            </a:lvl1pPr>
            <a:lvl2pPr marL="914400" lvl="1" indent="-323850" algn="l" rtl="0">
              <a:spcBef>
                <a:spcPts val="0"/>
              </a:spcBef>
              <a:spcAft>
                <a:spcPts val="0"/>
              </a:spcAft>
              <a:buSzPts val="1500"/>
              <a:buChar char="•"/>
              <a:defRPr sz="1500" b="0"/>
            </a:lvl2pPr>
            <a:lvl3pPr marL="1371600" lvl="2" indent="-323850" algn="l" rtl="0">
              <a:spcBef>
                <a:spcPts val="0"/>
              </a:spcBef>
              <a:spcAft>
                <a:spcPts val="0"/>
              </a:spcAft>
              <a:buSzPts val="1500"/>
              <a:buChar char="-"/>
              <a:defRPr sz="1500" b="0"/>
            </a:lvl3pPr>
            <a:lvl4pPr marL="1828800" lvl="3" indent="-323850" algn="l" rtl="0">
              <a:spcBef>
                <a:spcPts val="0"/>
              </a:spcBef>
              <a:spcAft>
                <a:spcPts val="0"/>
              </a:spcAft>
              <a:buSzPts val="1500"/>
              <a:buChar char="•"/>
              <a:defRPr sz="1500" b="0"/>
            </a:lvl4pPr>
            <a:lvl5pPr marL="2286000" lvl="4" indent="-323850" algn="l" rtl="0">
              <a:spcBef>
                <a:spcPts val="0"/>
              </a:spcBef>
              <a:spcAft>
                <a:spcPts val="0"/>
              </a:spcAft>
              <a:buSzPts val="1500"/>
              <a:buChar char="-"/>
              <a:defRPr sz="1500" b="0"/>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96" name="Google Shape;296;ge783127671_0_245"/>
          <p:cNvSpPr txBox="1">
            <a:spLocks noGrp="1"/>
          </p:cNvSpPr>
          <p:nvPr>
            <p:ph type="title"/>
          </p:nvPr>
        </p:nvSpPr>
        <p:spPr>
          <a:xfrm>
            <a:off x="381002" y="365125"/>
            <a:ext cx="7549800" cy="682500"/>
          </a:xfrm>
          <a:prstGeom prst="rect">
            <a:avLst/>
          </a:prstGeom>
          <a:noFill/>
          <a:ln>
            <a:noFill/>
          </a:ln>
        </p:spPr>
        <p:txBody>
          <a:bodyPr spcFirstLastPara="1">
            <a:noAutofit/>
          </a:bodyPr>
          <a:lstStyle>
            <a:lvl1pPr lvl="0" algn="l" rtl="0">
              <a:lnSpc>
                <a:spcPct val="85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169094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134"/>
        <p:cNvGrpSpPr/>
        <p:nvPr/>
      </p:nvGrpSpPr>
      <p:grpSpPr>
        <a:xfrm>
          <a:off x="0" y="0"/>
          <a:ext cx="0" cy="0"/>
          <a:chOff x="0" y="0"/>
          <a:chExt cx="0" cy="0"/>
        </a:xfrm>
      </p:grpSpPr>
      <p:sp>
        <p:nvSpPr>
          <p:cNvPr id="135" name="Google Shape;135;p31"/>
          <p:cNvSpPr txBox="1">
            <a:spLocks noGrp="1"/>
          </p:cNvSpPr>
          <p:nvPr>
            <p:ph type="body" idx="1"/>
          </p:nvPr>
        </p:nvSpPr>
        <p:spPr>
          <a:xfrm>
            <a:off x="379413" y="1611085"/>
            <a:ext cx="9144000" cy="3932238"/>
          </a:xfrm>
          <a:prstGeom prst="rect">
            <a:avLst/>
          </a:prstGeom>
          <a:noFill/>
          <a:ln>
            <a:noFill/>
          </a:ln>
        </p:spPr>
        <p:txBody>
          <a:bodyPr spcFirstLastPara="1" anchor="ctr">
            <a:noAutofit/>
          </a:bodyPr>
          <a:lstStyle>
            <a:lvl1pPr marL="457200" lvl="0" indent="-228600" algn="l">
              <a:lnSpc>
                <a:spcPct val="100000"/>
              </a:lnSpc>
              <a:spcBef>
                <a:spcPts val="1000"/>
              </a:spcBef>
              <a:spcAft>
                <a:spcPts val="0"/>
              </a:spcAft>
              <a:buClr>
                <a:schemeClr val="dk1"/>
              </a:buClr>
              <a:buSzPts val="3200"/>
              <a:buNone/>
              <a:defRPr sz="3200"/>
            </a:lvl1pPr>
            <a:lvl2pPr marL="914400" lvl="1" indent="-228600" algn="r">
              <a:lnSpc>
                <a:spcPct val="100000"/>
              </a:lnSpc>
              <a:spcBef>
                <a:spcPts val="1200"/>
              </a:spcBef>
              <a:spcAft>
                <a:spcPts val="0"/>
              </a:spcAft>
              <a:buSzPts val="1800"/>
              <a:buNone/>
              <a:defRPr sz="1800"/>
            </a:lvl2pPr>
            <a:lvl3pPr marL="1371600" lvl="2" indent="-228600" algn="r">
              <a:lnSpc>
                <a:spcPct val="100000"/>
              </a:lnSpc>
              <a:spcBef>
                <a:spcPts val="300"/>
              </a:spcBef>
              <a:spcAft>
                <a:spcPts val="0"/>
              </a:spcAft>
              <a:buSzPts val="1600"/>
              <a:buNone/>
              <a:defRPr sz="1600"/>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257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ontent 2">
  <p:cSld name="Content 2">
    <p:spTree>
      <p:nvGrpSpPr>
        <p:cNvPr id="1" name="Shape 144"/>
        <p:cNvGrpSpPr/>
        <p:nvPr/>
      </p:nvGrpSpPr>
      <p:grpSpPr>
        <a:xfrm>
          <a:off x="0" y="0"/>
          <a:ext cx="0" cy="0"/>
          <a:chOff x="0" y="0"/>
          <a:chExt cx="0" cy="0"/>
        </a:xfrm>
      </p:grpSpPr>
      <p:sp>
        <p:nvSpPr>
          <p:cNvPr id="145" name="Google Shape;145;p54"/>
          <p:cNvSpPr txBox="1">
            <a:spLocks noGrp="1"/>
          </p:cNvSpPr>
          <p:nvPr>
            <p:ph type="body" idx="1"/>
          </p:nvPr>
        </p:nvSpPr>
        <p:spPr>
          <a:xfrm>
            <a:off x="381000" y="1322388"/>
            <a:ext cx="9142413" cy="4895532"/>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2000"/>
              <a:buNone/>
              <a:defRPr sz="2000"/>
            </a:lvl1pPr>
            <a:lvl2pPr marL="914400" lvl="1" indent="-355600" algn="l">
              <a:lnSpc>
                <a:spcPct val="100000"/>
              </a:lnSpc>
              <a:spcBef>
                <a:spcPts val="500"/>
              </a:spcBef>
              <a:spcAft>
                <a:spcPts val="0"/>
              </a:spcAft>
              <a:buClr>
                <a:schemeClr val="accent1"/>
              </a:buClr>
              <a:buSzPts val="2000"/>
              <a:buChar char="•"/>
              <a:defRPr sz="2000"/>
            </a:lvl2pPr>
            <a:lvl3pPr marL="1371600" lvl="2" indent="-355600" algn="l">
              <a:lnSpc>
                <a:spcPct val="100000"/>
              </a:lnSpc>
              <a:spcBef>
                <a:spcPts val="300"/>
              </a:spcBef>
              <a:spcAft>
                <a:spcPts val="0"/>
              </a:spcAft>
              <a:buClr>
                <a:schemeClr val="accent1"/>
              </a:buClr>
              <a:buSzPts val="2000"/>
              <a:buChar char="-"/>
              <a:defRPr sz="2000"/>
            </a:lvl3pPr>
            <a:lvl4pPr marL="1828800" lvl="3" indent="-355600" algn="l">
              <a:lnSpc>
                <a:spcPct val="100000"/>
              </a:lnSpc>
              <a:spcBef>
                <a:spcPts val="200"/>
              </a:spcBef>
              <a:spcAft>
                <a:spcPts val="0"/>
              </a:spcAft>
              <a:buClr>
                <a:schemeClr val="accent1"/>
              </a:buClr>
              <a:buSzPts val="2000"/>
              <a:buChar char="•"/>
              <a:defRPr sz="2000"/>
            </a:lvl4pPr>
            <a:lvl5pPr marL="2286000" lvl="4" indent="-355600" algn="l">
              <a:lnSpc>
                <a:spcPct val="100000"/>
              </a:lnSpc>
              <a:spcBef>
                <a:spcPts val="100"/>
              </a:spcBef>
              <a:spcAft>
                <a:spcPts val="0"/>
              </a:spcAft>
              <a:buClr>
                <a:schemeClr val="accent1"/>
              </a:buClr>
              <a:buSzPts val="2000"/>
              <a:buChar char="-"/>
              <a:defRPr sz="20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46" name="Google Shape;146;p54"/>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621340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ntent + Subhead 1">
  <p:cSld name="Content + Subhead 1">
    <p:spTree>
      <p:nvGrpSpPr>
        <p:cNvPr id="1" name="Shape 147"/>
        <p:cNvGrpSpPr/>
        <p:nvPr/>
      </p:nvGrpSpPr>
      <p:grpSpPr>
        <a:xfrm>
          <a:off x="0" y="0"/>
          <a:ext cx="0" cy="0"/>
          <a:chOff x="0" y="0"/>
          <a:chExt cx="0" cy="0"/>
        </a:xfrm>
      </p:grpSpPr>
      <p:sp>
        <p:nvSpPr>
          <p:cNvPr id="148" name="Google Shape;148;p55"/>
          <p:cNvSpPr txBox="1">
            <a:spLocks noGrp="1"/>
          </p:cNvSpPr>
          <p:nvPr>
            <p:ph type="body" idx="1"/>
          </p:nvPr>
        </p:nvSpPr>
        <p:spPr>
          <a:xfrm>
            <a:off x="381001" y="1176337"/>
            <a:ext cx="9144002" cy="484974"/>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49" name="Google Shape;149;p55"/>
          <p:cNvSpPr txBox="1">
            <a:spLocks noGrp="1"/>
          </p:cNvSpPr>
          <p:nvPr>
            <p:ph type="body" idx="2"/>
          </p:nvPr>
        </p:nvSpPr>
        <p:spPr>
          <a:xfrm>
            <a:off x="381001" y="1781174"/>
            <a:ext cx="9144002"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0" name="Google Shape;150;p55"/>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849354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2 Column Content 1">
  <p:cSld name="2 Column Content 1">
    <p:spTree>
      <p:nvGrpSpPr>
        <p:cNvPr id="1" name="Shape 151"/>
        <p:cNvGrpSpPr/>
        <p:nvPr/>
      </p:nvGrpSpPr>
      <p:grpSpPr>
        <a:xfrm>
          <a:off x="0" y="0"/>
          <a:ext cx="0" cy="0"/>
          <a:chOff x="0" y="0"/>
          <a:chExt cx="0" cy="0"/>
        </a:xfrm>
      </p:grpSpPr>
      <p:sp>
        <p:nvSpPr>
          <p:cNvPr id="152" name="Google Shape;152;p56"/>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3" name="Google Shape;153;p56"/>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4" name="Google Shape;154;p56"/>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5" name="Google Shape;155;p56"/>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6" name="Google Shape;156;p56"/>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521074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2 Column Content 2">
  <p:cSld name="2 Column Content 2">
    <p:spTree>
      <p:nvGrpSpPr>
        <p:cNvPr id="1" name="Shape 157"/>
        <p:cNvGrpSpPr/>
        <p:nvPr/>
      </p:nvGrpSpPr>
      <p:grpSpPr>
        <a:xfrm>
          <a:off x="0" y="0"/>
          <a:ext cx="0" cy="0"/>
          <a:chOff x="0" y="0"/>
          <a:chExt cx="0" cy="0"/>
        </a:xfrm>
      </p:grpSpPr>
      <p:sp>
        <p:nvSpPr>
          <p:cNvPr id="158" name="Google Shape;158;p57"/>
          <p:cNvSpPr txBox="1">
            <a:spLocks noGrp="1"/>
          </p:cNvSpPr>
          <p:nvPr>
            <p:ph type="body" idx="1"/>
          </p:nvPr>
        </p:nvSpPr>
        <p:spPr>
          <a:xfrm>
            <a:off x="381653"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59" name="Google Shape;159;p57"/>
          <p:cNvSpPr txBox="1">
            <a:spLocks noGrp="1"/>
          </p:cNvSpPr>
          <p:nvPr>
            <p:ph type="body" idx="2"/>
          </p:nvPr>
        </p:nvSpPr>
        <p:spPr>
          <a:xfrm>
            <a:off x="5168741" y="1171575"/>
            <a:ext cx="4354021"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0" name="Google Shape;160;p57"/>
          <p:cNvSpPr txBox="1">
            <a:spLocks noGrp="1"/>
          </p:cNvSpPr>
          <p:nvPr>
            <p:ph type="body" idx="3"/>
          </p:nvPr>
        </p:nvSpPr>
        <p:spPr>
          <a:xfrm>
            <a:off x="38100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1" name="Google Shape;161;p57"/>
          <p:cNvSpPr txBox="1">
            <a:spLocks noGrp="1"/>
          </p:cNvSpPr>
          <p:nvPr>
            <p:ph type="body" idx="4"/>
          </p:nvPr>
        </p:nvSpPr>
        <p:spPr>
          <a:xfrm>
            <a:off x="5168741" y="1781174"/>
            <a:ext cx="4354538" cy="4429126"/>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2" name="Google Shape;162;p57"/>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34898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3 Column Content 1">
  <p:cSld name="3 Column Content 1">
    <p:spTree>
      <p:nvGrpSpPr>
        <p:cNvPr id="1" name="Shape 163"/>
        <p:cNvGrpSpPr/>
        <p:nvPr/>
      </p:nvGrpSpPr>
      <p:grpSpPr>
        <a:xfrm>
          <a:off x="0" y="0"/>
          <a:ext cx="0" cy="0"/>
          <a:chOff x="0" y="0"/>
          <a:chExt cx="0" cy="0"/>
        </a:xfrm>
      </p:grpSpPr>
      <p:sp>
        <p:nvSpPr>
          <p:cNvPr id="164" name="Google Shape;164;p58"/>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5" name="Google Shape;165;p58"/>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6" name="Google Shape;166;p58"/>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7" name="Google Shape;167;p58"/>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8" name="Google Shape;168;p58"/>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9" name="Google Shape;169;p58"/>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0" name="Google Shape;170;p58"/>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428686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3 Column Content 2">
  <p:cSld name="3 Column Content 2">
    <p:spTree>
      <p:nvGrpSpPr>
        <p:cNvPr id="1" name="Shape 171"/>
        <p:cNvGrpSpPr/>
        <p:nvPr/>
      </p:nvGrpSpPr>
      <p:grpSpPr>
        <a:xfrm>
          <a:off x="0" y="0"/>
          <a:ext cx="0" cy="0"/>
          <a:chOff x="0" y="0"/>
          <a:chExt cx="0" cy="0"/>
        </a:xfrm>
      </p:grpSpPr>
      <p:sp>
        <p:nvSpPr>
          <p:cNvPr id="172" name="Google Shape;172;p59"/>
          <p:cNvSpPr txBox="1">
            <a:spLocks noGrp="1"/>
          </p:cNvSpPr>
          <p:nvPr>
            <p:ph type="body" idx="1"/>
          </p:nvPr>
        </p:nvSpPr>
        <p:spPr>
          <a:xfrm>
            <a:off x="381001"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3" name="Google Shape;173;p59"/>
          <p:cNvSpPr txBox="1">
            <a:spLocks noGrp="1"/>
          </p:cNvSpPr>
          <p:nvPr>
            <p:ph type="body" idx="2"/>
          </p:nvPr>
        </p:nvSpPr>
        <p:spPr>
          <a:xfrm>
            <a:off x="381001"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4" name="Google Shape;174;p59"/>
          <p:cNvSpPr txBox="1">
            <a:spLocks noGrp="1"/>
          </p:cNvSpPr>
          <p:nvPr>
            <p:ph type="body" idx="3"/>
          </p:nvPr>
        </p:nvSpPr>
        <p:spPr>
          <a:xfrm>
            <a:off x="3522685"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5" name="Google Shape;175;p59"/>
          <p:cNvSpPr txBox="1">
            <a:spLocks noGrp="1"/>
          </p:cNvSpPr>
          <p:nvPr>
            <p:ph type="body" idx="4"/>
          </p:nvPr>
        </p:nvSpPr>
        <p:spPr>
          <a:xfrm>
            <a:off x="3522685"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6" name="Google Shape;176;p59"/>
          <p:cNvSpPr txBox="1">
            <a:spLocks noGrp="1"/>
          </p:cNvSpPr>
          <p:nvPr>
            <p:ph type="body" idx="5"/>
          </p:nvPr>
        </p:nvSpPr>
        <p:spPr>
          <a:xfrm>
            <a:off x="6665956" y="1171575"/>
            <a:ext cx="2857459" cy="489737"/>
          </a:xfrm>
          <a:prstGeom prst="rect">
            <a:avLst/>
          </a:prstGeom>
          <a:noFill/>
          <a:ln>
            <a:noFill/>
          </a:ln>
        </p:spPr>
        <p:txBody>
          <a:bodyPr spcFirstLastPara="1" anchor="b">
            <a:noAutofit/>
          </a:bodyPr>
          <a:lstStyle>
            <a:lvl1pPr marL="457200" lvl="0" indent="-228600" algn="l">
              <a:lnSpc>
                <a:spcPct val="90000"/>
              </a:lnSpc>
              <a:spcBef>
                <a:spcPts val="500"/>
              </a:spcBef>
              <a:spcAft>
                <a:spcPts val="0"/>
              </a:spcAft>
              <a:buClr>
                <a:schemeClr val="dk1"/>
              </a:buClr>
              <a:buSzPts val="2000"/>
              <a:buNone/>
              <a:defRPr sz="2000" b="1"/>
            </a:lvl1pPr>
            <a:lvl2pPr marL="914400" lvl="1" indent="-323850" algn="l">
              <a:lnSpc>
                <a:spcPct val="100000"/>
              </a:lnSpc>
              <a:spcBef>
                <a:spcPts val="0"/>
              </a:spcBef>
              <a:spcAft>
                <a:spcPts val="0"/>
              </a:spcAft>
              <a:buSzPts val="1500"/>
              <a:buChar char="•"/>
              <a:defRPr sz="1500" b="0"/>
            </a:lvl2pPr>
            <a:lvl3pPr marL="1371600" lvl="2" indent="-323850" algn="l">
              <a:lnSpc>
                <a:spcPct val="100000"/>
              </a:lnSpc>
              <a:spcBef>
                <a:spcPts val="0"/>
              </a:spcBef>
              <a:spcAft>
                <a:spcPts val="0"/>
              </a:spcAft>
              <a:buSzPts val="1500"/>
              <a:buChar char="-"/>
              <a:defRPr sz="1500" b="0"/>
            </a:lvl3pPr>
            <a:lvl4pPr marL="1828800" lvl="3" indent="-323850" algn="l">
              <a:lnSpc>
                <a:spcPct val="100000"/>
              </a:lnSpc>
              <a:spcBef>
                <a:spcPts val="0"/>
              </a:spcBef>
              <a:spcAft>
                <a:spcPts val="0"/>
              </a:spcAft>
              <a:buSzPts val="1500"/>
              <a:buChar char="•"/>
              <a:defRPr sz="1500" b="0"/>
            </a:lvl4pPr>
            <a:lvl5pPr marL="2286000" lvl="4" indent="-323850" algn="l">
              <a:lnSpc>
                <a:spcPct val="100000"/>
              </a:lnSpc>
              <a:spcBef>
                <a:spcPts val="0"/>
              </a:spcBef>
              <a:spcAft>
                <a:spcPts val="0"/>
              </a:spcAft>
              <a:buSzPts val="1500"/>
              <a:buChar char="-"/>
              <a:defRPr sz="1500" b="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7" name="Google Shape;177;p59"/>
          <p:cNvSpPr txBox="1">
            <a:spLocks noGrp="1"/>
          </p:cNvSpPr>
          <p:nvPr>
            <p:ph type="body" idx="6"/>
          </p:nvPr>
        </p:nvSpPr>
        <p:spPr>
          <a:xfrm>
            <a:off x="6665956" y="1781174"/>
            <a:ext cx="2861989" cy="4412464"/>
          </a:xfrm>
          <a:prstGeom prst="rect">
            <a:avLst/>
          </a:prstGeom>
          <a:noFill/>
          <a:ln>
            <a:noFill/>
          </a:ln>
        </p:spPr>
        <p:txBody>
          <a:bodyPr spcFirstLastPara="1">
            <a:noAutofit/>
          </a:bodyPr>
          <a:lstStyle>
            <a:lvl1pPr marL="457200" lvl="0" indent="-228600" algn="l">
              <a:lnSpc>
                <a:spcPct val="100000"/>
              </a:lnSpc>
              <a:spcBef>
                <a:spcPts val="1000"/>
              </a:spcBef>
              <a:spcAft>
                <a:spcPts val="0"/>
              </a:spcAft>
              <a:buClr>
                <a:schemeClr val="dk1"/>
              </a:buClr>
              <a:buSzPts val="1800"/>
              <a:buNone/>
              <a:defRPr/>
            </a:lvl1pPr>
            <a:lvl2pPr marL="914400" lvl="1" indent="-355600" algn="l">
              <a:lnSpc>
                <a:spcPct val="100000"/>
              </a:lnSpc>
              <a:spcBef>
                <a:spcPts val="500"/>
              </a:spcBef>
              <a:spcAft>
                <a:spcPts val="0"/>
              </a:spcAft>
              <a:buClr>
                <a:schemeClr val="accent1"/>
              </a:buClr>
              <a:buSzPts val="2000"/>
              <a:buChar char="•"/>
              <a:defRPr/>
            </a:lvl2pPr>
            <a:lvl3pPr marL="1371600" lvl="2" indent="-355600" algn="l">
              <a:lnSpc>
                <a:spcPct val="100000"/>
              </a:lnSpc>
              <a:spcBef>
                <a:spcPts val="300"/>
              </a:spcBef>
              <a:spcAft>
                <a:spcPts val="0"/>
              </a:spcAft>
              <a:buClr>
                <a:schemeClr val="accent1"/>
              </a:buClr>
              <a:buSzPts val="2000"/>
              <a:buChar char="-"/>
              <a:defRPr/>
            </a:lvl3pPr>
            <a:lvl4pPr marL="1828800" lvl="3" indent="-355600" algn="l">
              <a:lnSpc>
                <a:spcPct val="100000"/>
              </a:lnSpc>
              <a:spcBef>
                <a:spcPts val="200"/>
              </a:spcBef>
              <a:spcAft>
                <a:spcPts val="0"/>
              </a:spcAft>
              <a:buClr>
                <a:schemeClr val="accent1"/>
              </a:buClr>
              <a:buSzPts val="2000"/>
              <a:buChar char="•"/>
              <a:defRPr/>
            </a:lvl4pPr>
            <a:lvl5pPr marL="2286000" lvl="4" indent="-355600" algn="l">
              <a:lnSpc>
                <a:spcPct val="100000"/>
              </a:lnSpc>
              <a:spcBef>
                <a:spcPts val="100"/>
              </a:spcBef>
              <a:spcAft>
                <a:spcPts val="0"/>
              </a:spcAft>
              <a:buClr>
                <a:schemeClr val="accent1"/>
              </a:buClr>
              <a:buSzPts val="20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78" name="Google Shape;178;p59"/>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069571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3 Statement">
  <p:cSld name="3 Statement">
    <p:spTree>
      <p:nvGrpSpPr>
        <p:cNvPr id="1" name="Shape 179"/>
        <p:cNvGrpSpPr/>
        <p:nvPr/>
      </p:nvGrpSpPr>
      <p:grpSpPr>
        <a:xfrm>
          <a:off x="0" y="0"/>
          <a:ext cx="0" cy="0"/>
          <a:chOff x="0" y="0"/>
          <a:chExt cx="0" cy="0"/>
        </a:xfrm>
      </p:grpSpPr>
      <p:sp>
        <p:nvSpPr>
          <p:cNvPr id="180" name="Google Shape;180;p60"/>
          <p:cNvSpPr txBox="1">
            <a:spLocks noGrp="1"/>
          </p:cNvSpPr>
          <p:nvPr>
            <p:ph type="body" idx="1"/>
          </p:nvPr>
        </p:nvSpPr>
        <p:spPr>
          <a:xfrm>
            <a:off x="381001" y="2565127"/>
            <a:ext cx="3017520" cy="2201057"/>
          </a:xfrm>
          <a:prstGeom prst="rect">
            <a:avLst/>
          </a:prstGeom>
          <a:solidFill>
            <a:schemeClr val="accent1"/>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1" name="Google Shape;181;p60"/>
          <p:cNvSpPr txBox="1">
            <a:spLocks noGrp="1"/>
          </p:cNvSpPr>
          <p:nvPr>
            <p:ph type="body" idx="2"/>
          </p:nvPr>
        </p:nvSpPr>
        <p:spPr>
          <a:xfrm>
            <a:off x="3807007" y="2565127"/>
            <a:ext cx="3017520" cy="2201057"/>
          </a:xfrm>
          <a:prstGeom prst="rect">
            <a:avLst/>
          </a:prstGeom>
          <a:solidFill>
            <a:schemeClr val="accent3"/>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2" name="Google Shape;182;p60"/>
          <p:cNvSpPr txBox="1">
            <a:spLocks noGrp="1"/>
          </p:cNvSpPr>
          <p:nvPr>
            <p:ph type="body" idx="3"/>
          </p:nvPr>
        </p:nvSpPr>
        <p:spPr>
          <a:xfrm>
            <a:off x="7233013" y="2565127"/>
            <a:ext cx="3017520" cy="2201057"/>
          </a:xfrm>
          <a:prstGeom prst="rect">
            <a:avLst/>
          </a:prstGeom>
          <a:solidFill>
            <a:schemeClr val="accent4"/>
          </a:solidFill>
          <a:ln>
            <a:noFill/>
          </a:ln>
        </p:spPr>
        <p:txBody>
          <a:bodyPr spcFirstLastPara="1" lIns="182875" tIns="182875" rIns="182875" bIns="182875" anchor="ctr">
            <a:noAutofit/>
          </a:bodyPr>
          <a:lstStyle>
            <a:lvl1pPr marL="457200" lvl="0" indent="-228600" algn="ctr">
              <a:lnSpc>
                <a:spcPct val="100000"/>
              </a:lnSpc>
              <a:spcBef>
                <a:spcPts val="0"/>
              </a:spcBef>
              <a:spcAft>
                <a:spcPts val="0"/>
              </a:spcAft>
              <a:buClr>
                <a:schemeClr val="lt1"/>
              </a:buClr>
              <a:buSzPts val="2800"/>
              <a:buNone/>
              <a:defRPr sz="2800" b="1">
                <a:solidFill>
                  <a:schemeClr val="lt1"/>
                </a:solidFill>
                <a:latin typeface="Arial"/>
                <a:ea typeface="Arial"/>
                <a:cs typeface="Arial"/>
                <a:sym typeface="Arial"/>
              </a:defRPr>
            </a:lvl1pPr>
            <a:lvl2pPr marL="914400" lvl="1" indent="-342900" algn="l">
              <a:lnSpc>
                <a:spcPct val="100000"/>
              </a:lnSpc>
              <a:spcBef>
                <a:spcPts val="50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83" name="Google Shape;183;p60"/>
          <p:cNvSpPr txBox="1">
            <a:spLocks noGrp="1"/>
          </p:cNvSpPr>
          <p:nvPr>
            <p:ph type="title"/>
          </p:nvPr>
        </p:nvSpPr>
        <p:spPr>
          <a:xfrm>
            <a:off x="381001" y="365125"/>
            <a:ext cx="7549835" cy="682625"/>
          </a:xfrm>
          <a:prstGeom prst="rect">
            <a:avLst/>
          </a:prstGeom>
          <a:noFill/>
          <a:ln>
            <a:noFill/>
          </a:ln>
        </p:spPr>
        <p:txBody>
          <a:bodyPr spcFirstLastPara="1">
            <a:noAutofit/>
          </a:bodyPr>
          <a:lstStyle>
            <a:lvl1pPr lvl="0" algn="l">
              <a:lnSpc>
                <a:spcPct val="8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979582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12_Title – Grid Light">
  <p:cSld name="12_Title – Grid Light">
    <p:bg>
      <p:bgPr>
        <a:solidFill>
          <a:schemeClr val="accent1"/>
        </a:solidFill>
        <a:effectLst/>
      </p:bgPr>
    </p:bg>
    <p:spTree>
      <p:nvGrpSpPr>
        <p:cNvPr id="1" name="Shape 24"/>
        <p:cNvGrpSpPr/>
        <p:nvPr/>
      </p:nvGrpSpPr>
      <p:grpSpPr>
        <a:xfrm>
          <a:off x="0" y="0"/>
          <a:ext cx="0" cy="0"/>
          <a:chOff x="0" y="0"/>
          <a:chExt cx="0" cy="0"/>
        </a:xfrm>
      </p:grpSpPr>
      <p:pic>
        <p:nvPicPr>
          <p:cNvPr id="2" name="Google Shape;25;p33">
            <a:extLst>
              <a:ext uri="{FF2B5EF4-FFF2-40B4-BE49-F238E27FC236}">
                <a16:creationId xmlns:a16="http://schemas.microsoft.com/office/drawing/2014/main" id="{E98BAA37-D8E8-7956-B135-6D642955A829}"/>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88825"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oogle Shape;26;p33">
            <a:extLst>
              <a:ext uri="{FF2B5EF4-FFF2-40B4-BE49-F238E27FC236}">
                <a16:creationId xmlns:a16="http://schemas.microsoft.com/office/drawing/2014/main" id="{A83CFFC5-088A-C2C1-5682-04BC3ED18585}"/>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51489"/>
          <a:stretch>
            <a:fillRect/>
          </a:stretch>
        </p:blipFill>
        <p:spPr bwMode="auto">
          <a:xfrm>
            <a:off x="6275388" y="1588"/>
            <a:ext cx="5913437"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30;p33">
            <a:extLst>
              <a:ext uri="{FF2B5EF4-FFF2-40B4-BE49-F238E27FC236}">
                <a16:creationId xmlns:a16="http://schemas.microsoft.com/office/drawing/2014/main" id="{97577473-909D-0BAA-0E45-FC812D11422B}"/>
              </a:ext>
            </a:extLst>
          </p:cNvPr>
          <p:cNvSpPr>
            <a:spLocks noChangeArrowheads="1"/>
          </p:cNvSpPr>
          <p:nvPr/>
        </p:nvSpPr>
        <p:spPr bwMode="auto">
          <a:xfrm>
            <a:off x="10382250" y="219075"/>
            <a:ext cx="1427163" cy="962025"/>
          </a:xfrm>
          <a:prstGeom prst="rect">
            <a:avLst/>
          </a:prstGeom>
          <a:solidFill>
            <a:srgbClr val="FEBB26"/>
          </a:solid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defRPr/>
            </a:pPr>
            <a:endParaRPr lang="en-US" altLang="en-US">
              <a:solidFill>
                <a:srgbClr val="FFFFFF"/>
              </a:solidFill>
            </a:endParaRPr>
          </a:p>
        </p:txBody>
      </p:sp>
      <p:pic>
        <p:nvPicPr>
          <p:cNvPr id="5" name="Google Shape;31;p33">
            <a:extLst>
              <a:ext uri="{FF2B5EF4-FFF2-40B4-BE49-F238E27FC236}">
                <a16:creationId xmlns:a16="http://schemas.microsoft.com/office/drawing/2014/main" id="{B0D97B9E-1F66-B3E5-30E1-D3E53BA9B612}"/>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425" y="341313"/>
            <a:ext cx="3508375"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Google Shape;27;p33"/>
          <p:cNvSpPr txBox="1">
            <a:spLocks noGrp="1"/>
          </p:cNvSpPr>
          <p:nvPr>
            <p:ph type="subTitle" idx="1"/>
          </p:nvPr>
        </p:nvSpPr>
        <p:spPr>
          <a:xfrm>
            <a:off x="382971" y="4037454"/>
            <a:ext cx="7648381" cy="1510886"/>
          </a:xfrm>
          <a:prstGeom prst="rect">
            <a:avLst/>
          </a:prstGeom>
          <a:noFill/>
          <a:ln>
            <a:noFill/>
          </a:ln>
        </p:spPr>
        <p:txBody>
          <a:bodyPr spcFirstLastPara="1">
            <a:noAutofit/>
          </a:bodyPr>
          <a:lstStyle>
            <a:lvl1pPr lvl="0" algn="l">
              <a:lnSpc>
                <a:spcPct val="100000"/>
              </a:lnSpc>
              <a:spcBef>
                <a:spcPts val="0"/>
              </a:spcBef>
              <a:spcAft>
                <a:spcPts val="0"/>
              </a:spcAft>
              <a:buClr>
                <a:schemeClr val="lt1"/>
              </a:buClr>
              <a:buSzPts val="4400"/>
              <a:buNone/>
              <a:defRPr sz="4400" b="1" i="0">
                <a:solidFill>
                  <a:schemeClr val="lt1"/>
                </a:solidFill>
                <a:latin typeface="Arial"/>
                <a:ea typeface="Arial"/>
                <a:cs typeface="Arial"/>
                <a:sym typeface="Arial"/>
              </a:defRPr>
            </a:lvl1pPr>
            <a:lvl2pPr lvl="1" algn="ctr">
              <a:lnSpc>
                <a:spcPct val="100000"/>
              </a:lnSpc>
              <a:spcBef>
                <a:spcPts val="500"/>
              </a:spcBef>
              <a:spcAft>
                <a:spcPts val="0"/>
              </a:spcAft>
              <a:buSzPts val="2000"/>
              <a:buNone/>
              <a:defRPr>
                <a:solidFill>
                  <a:srgbClr val="888888"/>
                </a:solidFill>
              </a:defRPr>
            </a:lvl2pPr>
            <a:lvl3pPr lvl="2" algn="ctr">
              <a:lnSpc>
                <a:spcPct val="100000"/>
              </a:lnSpc>
              <a:spcBef>
                <a:spcPts val="300"/>
              </a:spcBef>
              <a:spcAft>
                <a:spcPts val="0"/>
              </a:spcAft>
              <a:buSzPts val="2000"/>
              <a:buNone/>
              <a:defRPr>
                <a:solidFill>
                  <a:srgbClr val="888888"/>
                </a:solidFill>
              </a:defRPr>
            </a:lvl3pPr>
            <a:lvl4pPr lvl="3" algn="ctr">
              <a:lnSpc>
                <a:spcPct val="100000"/>
              </a:lnSpc>
              <a:spcBef>
                <a:spcPts val="200"/>
              </a:spcBef>
              <a:spcAft>
                <a:spcPts val="0"/>
              </a:spcAft>
              <a:buSzPts val="2000"/>
              <a:buNone/>
              <a:defRPr>
                <a:solidFill>
                  <a:srgbClr val="888888"/>
                </a:solidFill>
              </a:defRPr>
            </a:lvl4pPr>
            <a:lvl5pPr lvl="4" algn="ctr">
              <a:lnSpc>
                <a:spcPct val="100000"/>
              </a:lnSpc>
              <a:spcBef>
                <a:spcPts val="100"/>
              </a:spcBef>
              <a:spcAft>
                <a:spcPts val="0"/>
              </a:spcAft>
              <a:buSzPts val="20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
        <p:nvSpPr>
          <p:cNvPr id="28" name="Google Shape;28;p33"/>
          <p:cNvSpPr txBox="1">
            <a:spLocks noGrp="1"/>
          </p:cNvSpPr>
          <p:nvPr>
            <p:ph type="body" idx="2"/>
          </p:nvPr>
        </p:nvSpPr>
        <p:spPr>
          <a:xfrm>
            <a:off x="386020" y="3356984"/>
            <a:ext cx="7648381" cy="510040"/>
          </a:xfrm>
          <a:prstGeom prst="rect">
            <a:avLst/>
          </a:prstGeom>
          <a:noFill/>
          <a:ln>
            <a:noFill/>
          </a:ln>
        </p:spPr>
        <p:txBody>
          <a:bodyPr spcFirstLastPara="1" anchor="ctr">
            <a:noAutofit/>
          </a:bodyPr>
          <a:lstStyle>
            <a:lvl1pPr marL="457200" lvl="0" indent="-228600" algn="l">
              <a:lnSpc>
                <a:spcPct val="100000"/>
              </a:lnSpc>
              <a:spcBef>
                <a:spcPts val="1000"/>
              </a:spcBef>
              <a:spcAft>
                <a:spcPts val="0"/>
              </a:spcAft>
              <a:buClr>
                <a:schemeClr val="lt1"/>
              </a:buClr>
              <a:buSzPts val="4400"/>
              <a:buNone/>
              <a:defRPr sz="4400" b="1">
                <a:solidFill>
                  <a:schemeClr val="lt1"/>
                </a:solidFill>
                <a:latin typeface="Arial"/>
                <a:ea typeface="Arial"/>
                <a:cs typeface="Arial"/>
                <a:sym typeface="Arial"/>
              </a:defRPr>
            </a:lvl1pPr>
            <a:lvl2pPr marL="914400" lvl="1" indent="-228600" algn="l">
              <a:lnSpc>
                <a:spcPct val="100000"/>
              </a:lnSpc>
              <a:spcBef>
                <a:spcPts val="500"/>
              </a:spcBef>
              <a:spcAft>
                <a:spcPts val="0"/>
              </a:spcAft>
              <a:buSzPts val="2000"/>
              <a:buNone/>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00"/>
              </a:spcBef>
              <a:spcAft>
                <a:spcPts val="0"/>
              </a:spcAft>
              <a:buSzPts val="1800"/>
              <a:buChar char="•"/>
              <a:defRPr/>
            </a:lvl4pPr>
            <a:lvl5pPr marL="2286000" lvl="4" indent="-342900" algn="l">
              <a:lnSpc>
                <a:spcPct val="100000"/>
              </a:lnSpc>
              <a:spcBef>
                <a:spcPts val="10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9" name="Google Shape;29;p33"/>
          <p:cNvSpPr txBox="1">
            <a:spLocks noGrp="1"/>
          </p:cNvSpPr>
          <p:nvPr>
            <p:ph type="ctrTitle"/>
          </p:nvPr>
        </p:nvSpPr>
        <p:spPr>
          <a:xfrm>
            <a:off x="382971" y="1856600"/>
            <a:ext cx="7657943" cy="1329953"/>
          </a:xfrm>
          <a:prstGeom prst="rect">
            <a:avLst/>
          </a:prstGeom>
          <a:noFill/>
          <a:ln>
            <a:noFill/>
          </a:ln>
        </p:spPr>
        <p:txBody>
          <a:bodyPr spcFirstLastPara="1" anchor="b">
            <a:noAutofit/>
          </a:bodyPr>
          <a:lstStyle>
            <a:lvl1pPr lvl="0" algn="l">
              <a:lnSpc>
                <a:spcPct val="100000"/>
              </a:lnSpc>
              <a:spcBef>
                <a:spcPts val="0"/>
              </a:spcBef>
              <a:spcAft>
                <a:spcPts val="0"/>
              </a:spcAft>
              <a:buClr>
                <a:schemeClr val="lt1"/>
              </a:buClr>
              <a:buSzPts val="4400"/>
              <a:buFont typeface="Arial"/>
              <a:buNone/>
              <a:defRPr sz="4400" b="1" i="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3853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9.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5.sv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35.xml"/><Relationship Id="rId7"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image" Target="../media/image17.sv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oleObject" Target="../embeddings/oleObject1.bin"/><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41" Type="http://schemas.openxmlformats.org/officeDocument/2006/relationships/image" Target="../media/image19.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heme" Target="../theme/theme4.xml"/><Relationship Id="rId40" Type="http://schemas.openxmlformats.org/officeDocument/2006/relationships/image" Target="../media/image18.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1.png"/><Relationship Id="rId3" Type="http://schemas.openxmlformats.org/officeDocument/2006/relationships/slideLayout" Target="../slideLayouts/slideLayout77.xml"/><Relationship Id="rId21" Type="http://schemas.openxmlformats.org/officeDocument/2006/relationships/image" Target="../media/image31.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3.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image" Target="../media/image31.png"/><Relationship Id="rId5" Type="http://schemas.openxmlformats.org/officeDocument/2006/relationships/slideLayout" Target="../slideLayouts/slideLayout95.xml"/><Relationship Id="rId10" Type="http://schemas.openxmlformats.org/officeDocument/2006/relationships/image" Target="../media/image9.png"/><Relationship Id="rId4" Type="http://schemas.openxmlformats.org/officeDocument/2006/relationships/slideLayout" Target="../slideLayouts/slideLayout9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31.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image" Target="../media/image3.png"/><Relationship Id="rId2" Type="http://schemas.openxmlformats.org/officeDocument/2006/relationships/slideLayout" Target="../slideLayouts/slideLayout100.xml"/><Relationship Id="rId16" Type="http://schemas.openxmlformats.org/officeDocument/2006/relationships/image" Target="../media/image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image" Target="../media/image1.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20CFBA6-9007-42B3-AA27-0BCFB62BE1C9}"/>
              </a:ext>
            </a:extLst>
          </p:cNvPr>
          <p:cNvGrpSpPr/>
          <p:nvPr userDrawn="1"/>
        </p:nvGrpSpPr>
        <p:grpSpPr>
          <a:xfrm>
            <a:off x="1" y="0"/>
            <a:ext cx="12188824" cy="6858000"/>
            <a:chOff x="1" y="0"/>
            <a:chExt cx="12188824" cy="6858000"/>
          </a:xfrm>
        </p:grpSpPr>
        <p:pic>
          <p:nvPicPr>
            <p:cNvPr id="19" name="Picture 18">
              <a:extLst>
                <a:ext uri="{FF2B5EF4-FFF2-40B4-BE49-F238E27FC236}">
                  <a16:creationId xmlns:a16="http://schemas.microsoft.com/office/drawing/2014/main" id="{A39864C2-A0FF-49F9-B0D3-AC36AFE80947}"/>
                </a:ext>
              </a:extLst>
            </p:cNvPr>
            <p:cNvPicPr>
              <a:picLocks noChangeAspect="1"/>
            </p:cNvPicPr>
            <p:nvPr userDrawn="1"/>
          </p:nvPicPr>
          <p:blipFill rotWithShape="1">
            <a:blip r:embed="rId23"/>
            <a:srcRect l="62766"/>
            <a:stretch/>
          </p:blipFill>
          <p:spPr>
            <a:xfrm>
              <a:off x="7650481" y="893"/>
              <a:ext cx="4538344" cy="6856214"/>
            </a:xfrm>
            <a:prstGeom prst="rect">
              <a:avLst/>
            </a:prstGeom>
          </p:spPr>
        </p:pic>
        <p:pic>
          <p:nvPicPr>
            <p:cNvPr id="21" name="Picture 20">
              <a:extLst>
                <a:ext uri="{FF2B5EF4-FFF2-40B4-BE49-F238E27FC236}">
                  <a16:creationId xmlns:a16="http://schemas.microsoft.com/office/drawing/2014/main" id="{7709FB90-2A84-4814-B314-0EED475B62FB}"/>
                </a:ext>
              </a:extLst>
            </p:cNvPr>
            <p:cNvPicPr>
              <a:picLocks noChangeAspect="1"/>
            </p:cNvPicPr>
            <p:nvPr userDrawn="1"/>
          </p:nvPicPr>
          <p:blipFill>
            <a:blip r:embed="rId24"/>
            <a:stretch>
              <a:fillRect/>
            </a:stretch>
          </p:blipFill>
          <p:spPr>
            <a:xfrm>
              <a:off x="9570243" y="5638124"/>
              <a:ext cx="2618581" cy="1219876"/>
            </a:xfrm>
            <a:prstGeom prst="rect">
              <a:avLst/>
            </a:prstGeom>
          </p:spPr>
        </p:pic>
        <p:pic>
          <p:nvPicPr>
            <p:cNvPr id="22" name="Picture 21">
              <a:extLst>
                <a:ext uri="{FF2B5EF4-FFF2-40B4-BE49-F238E27FC236}">
                  <a16:creationId xmlns:a16="http://schemas.microsoft.com/office/drawing/2014/main" id="{3118BFA5-455F-4892-A640-557EB766EBC7}"/>
                </a:ext>
              </a:extLst>
            </p:cNvPr>
            <p:cNvPicPr>
              <a:picLocks noChangeAspect="1"/>
            </p:cNvPicPr>
            <p:nvPr userDrawn="1"/>
          </p:nvPicPr>
          <p:blipFill>
            <a:blip r:embed="rId25"/>
            <a:stretch>
              <a:fillRect/>
            </a:stretch>
          </p:blipFill>
          <p:spPr>
            <a:xfrm>
              <a:off x="10250533" y="0"/>
              <a:ext cx="1938291" cy="1247775"/>
            </a:xfrm>
            <a:prstGeom prst="rect">
              <a:avLst/>
            </a:prstGeom>
          </p:spPr>
        </p:pic>
        <p:pic>
          <p:nvPicPr>
            <p:cNvPr id="23" name="Picture 22">
              <a:extLst>
                <a:ext uri="{FF2B5EF4-FFF2-40B4-BE49-F238E27FC236}">
                  <a16:creationId xmlns:a16="http://schemas.microsoft.com/office/drawing/2014/main" id="{D18EDB0A-DFD4-4D25-8DA6-0356B35B4B16}"/>
                </a:ext>
              </a:extLst>
            </p:cNvPr>
            <p:cNvPicPr>
              <a:picLocks noChangeAspect="1"/>
            </p:cNvPicPr>
            <p:nvPr userDrawn="1"/>
          </p:nvPicPr>
          <p:blipFill rotWithShape="1">
            <a:blip r:embed="rId23"/>
            <a:srcRect r="83506"/>
            <a:stretch/>
          </p:blipFill>
          <p:spPr>
            <a:xfrm>
              <a:off x="1" y="1962467"/>
              <a:ext cx="1435465" cy="4895532"/>
            </a:xfrm>
            <a:prstGeom prst="rect">
              <a:avLst/>
            </a:prstGeom>
          </p:spPr>
        </p:pic>
      </p:grpSp>
      <p:sp>
        <p:nvSpPr>
          <p:cNvPr id="3" name="Text Placeholder 2"/>
          <p:cNvSpPr>
            <a:spLocks noGrp="1"/>
          </p:cNvSpPr>
          <p:nvPr>
            <p:ph type="body" idx="1"/>
          </p:nvPr>
        </p:nvSpPr>
        <p:spPr>
          <a:xfrm>
            <a:off x="381001" y="1322024"/>
            <a:ext cx="914241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pic>
        <p:nvPicPr>
          <p:cNvPr id="11" name="Graphic 10">
            <a:extLst>
              <a:ext uri="{FF2B5EF4-FFF2-40B4-BE49-F238E27FC236}">
                <a16:creationId xmlns:a16="http://schemas.microsoft.com/office/drawing/2014/main" id="{9E2429EC-75D7-4D91-990B-682B1F1B8627}"/>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9868093" y="356442"/>
            <a:ext cx="2010377" cy="328644"/>
          </a:xfrm>
          <a:prstGeom prst="rect">
            <a:avLst/>
          </a:prstGeom>
        </p:spPr>
      </p:pic>
      <p:sp>
        <p:nvSpPr>
          <p:cNvPr id="5" name="Title Placeholder 4">
            <a:extLst>
              <a:ext uri="{FF2B5EF4-FFF2-40B4-BE49-F238E27FC236}">
                <a16:creationId xmlns:a16="http://schemas.microsoft.com/office/drawing/2014/main" id="{743C5744-BA67-47BF-AEFE-97802736D0E9}"/>
              </a:ext>
            </a:extLst>
          </p:cNvPr>
          <p:cNvSpPr>
            <a:spLocks noGrp="1"/>
          </p:cNvSpPr>
          <p:nvPr>
            <p:ph type="title"/>
          </p:nvPr>
        </p:nvSpPr>
        <p:spPr>
          <a:xfrm>
            <a:off x="381002" y="365125"/>
            <a:ext cx="7549834" cy="682625"/>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196578368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8" r:id="rId5"/>
    <p:sldLayoutId id="2147483910" r:id="rId6"/>
    <p:sldLayoutId id="2147483912"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4092" r:id="rId17"/>
    <p:sldLayoutId id="2147484093" r:id="rId18"/>
    <p:sldLayoutId id="2147484094" r:id="rId19"/>
    <p:sldLayoutId id="2147484095" r:id="rId20"/>
    <p:sldLayoutId id="2147484096" r:id="rId21"/>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1111201-8D33-4882-969F-24F0C7BA1ED2}"/>
              </a:ext>
            </a:extLst>
          </p:cNvPr>
          <p:cNvPicPr>
            <a:picLocks noChangeAspect="1"/>
          </p:cNvPicPr>
          <p:nvPr userDrawn="1"/>
        </p:nvPicPr>
        <p:blipFill>
          <a:blip r:embed="rId13"/>
          <a:stretch>
            <a:fillRect/>
          </a:stretch>
        </p:blipFill>
        <p:spPr>
          <a:xfrm>
            <a:off x="0" y="893"/>
            <a:ext cx="12188825" cy="6856214"/>
          </a:xfrm>
          <a:prstGeom prst="rect">
            <a:avLst/>
          </a:prstGeom>
        </p:spPr>
      </p:pic>
      <p:sp>
        <p:nvSpPr>
          <p:cNvPr id="3" name="Text Placeholder 2"/>
          <p:cNvSpPr>
            <a:spLocks noGrp="1"/>
          </p:cNvSpPr>
          <p:nvPr>
            <p:ph type="body" idx="1"/>
          </p:nvPr>
        </p:nvSpPr>
        <p:spPr>
          <a:xfrm>
            <a:off x="381001" y="1322024"/>
            <a:ext cx="914241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bg1"/>
                </a:solidFill>
                <a:latin typeface="Arial"/>
                <a:ea typeface="+mn-ea"/>
                <a:cs typeface="Arial"/>
              </a:rPr>
              <a:pPr marL="0" algn="r" defTabSz="457200" rtl="0" eaLnBrk="1" latinLnBrk="0" hangingPunct="1"/>
              <a:t>‹#›</a:t>
            </a:fld>
            <a:endParaRPr lang="en-US" sz="700" b="1" i="0" kern="1200" err="1">
              <a:solidFill>
                <a:schemeClr val="bg1"/>
              </a:solidFill>
              <a:latin typeface="Arial"/>
              <a:ea typeface="+mn-ea"/>
              <a:cs typeface="Arial"/>
            </a:endParaRPr>
          </a:p>
        </p:txBody>
      </p:sp>
      <p:pic>
        <p:nvPicPr>
          <p:cNvPr id="27" name="Graphic 26">
            <a:extLst>
              <a:ext uri="{FF2B5EF4-FFF2-40B4-BE49-F238E27FC236}">
                <a16:creationId xmlns:a16="http://schemas.microsoft.com/office/drawing/2014/main" id="{F970DC46-E068-4BE3-995C-CB1AA1F44010}"/>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9868093" y="356442"/>
            <a:ext cx="2010377" cy="328644"/>
          </a:xfrm>
          <a:prstGeom prst="rect">
            <a:avLst/>
          </a:prstGeom>
        </p:spPr>
      </p:pic>
      <p:sp>
        <p:nvSpPr>
          <p:cNvPr id="5" name="Title Placeholder 4">
            <a:extLst>
              <a:ext uri="{FF2B5EF4-FFF2-40B4-BE49-F238E27FC236}">
                <a16:creationId xmlns:a16="http://schemas.microsoft.com/office/drawing/2014/main" id="{77067BF9-3F36-4C9E-8690-C8EA0057D43B}"/>
              </a:ext>
            </a:extLst>
          </p:cNvPr>
          <p:cNvSpPr>
            <a:spLocks noGrp="1"/>
          </p:cNvSpPr>
          <p:nvPr>
            <p:ph type="title"/>
          </p:nvPr>
        </p:nvSpPr>
        <p:spPr>
          <a:xfrm>
            <a:off x="381001" y="365125"/>
            <a:ext cx="7549835" cy="682625"/>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126022258"/>
      </p:ext>
    </p:extLst>
  </p:cSld>
  <p:clrMap bg1="lt1" tx1="dk1" bg2="lt2" tx2="dk2" accent1="accent1" accent2="accent2" accent3="accent3" accent4="accent4" accent5="accent5" accent6="accent6" hlink="hlink" folHlink="folHlink"/>
  <p:sldLayoutIdLst>
    <p:sldLayoutId id="2147483932" r:id="rId1"/>
    <p:sldLayoutId id="2147483934" r:id="rId2"/>
    <p:sldLayoutId id="2147483935" r:id="rId3"/>
    <p:sldLayoutId id="2147483937" r:id="rId4"/>
    <p:sldLayoutId id="2147483938" r:id="rId5"/>
    <p:sldLayoutId id="2147483939" r:id="rId6"/>
    <p:sldLayoutId id="2147483940" r:id="rId7"/>
    <p:sldLayoutId id="2147483946" r:id="rId8"/>
    <p:sldLayoutId id="2147483947" r:id="rId9"/>
    <p:sldLayoutId id="2147483948" r:id="rId10"/>
    <p:sldLayoutId id="2147483949" r:id="rId11"/>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1" y="1322024"/>
            <a:ext cx="1142682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E111FAC-D0E4-4BBA-92AA-8EB0FD97D243}"/>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41">
            <a:extLst>
              <a:ext uri="{FF2B5EF4-FFF2-40B4-BE49-F238E27FC236}">
                <a16:creationId xmlns:a16="http://schemas.microsoft.com/office/drawing/2014/main" id="{541202CC-94B5-442C-92E1-B478268C118E}"/>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6" name="TextBox 15">
            <a:extLst>
              <a:ext uri="{FF2B5EF4-FFF2-40B4-BE49-F238E27FC236}">
                <a16:creationId xmlns:a16="http://schemas.microsoft.com/office/drawing/2014/main" id="{42EDF6A8-A828-4C8E-8DCC-8294A4F43BB9}"/>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grpSp>
        <p:nvGrpSpPr>
          <p:cNvPr id="9" name="Group 8">
            <a:extLst>
              <a:ext uri="{FF2B5EF4-FFF2-40B4-BE49-F238E27FC236}">
                <a16:creationId xmlns:a16="http://schemas.microsoft.com/office/drawing/2014/main" id="{0AB52186-A589-4C07-BFFD-9F71E3E7FFAF}"/>
              </a:ext>
            </a:extLst>
          </p:cNvPr>
          <p:cNvGrpSpPr/>
          <p:nvPr userDrawn="1"/>
        </p:nvGrpSpPr>
        <p:grpSpPr>
          <a:xfrm>
            <a:off x="6989946" y="244608"/>
            <a:ext cx="4971452" cy="549346"/>
            <a:chOff x="6989946" y="244608"/>
            <a:chExt cx="4971452" cy="549346"/>
          </a:xfrm>
        </p:grpSpPr>
        <p:sp>
          <p:nvSpPr>
            <p:cNvPr id="20" name="Freeform: Shape 19">
              <a:extLst>
                <a:ext uri="{FF2B5EF4-FFF2-40B4-BE49-F238E27FC236}">
                  <a16:creationId xmlns:a16="http://schemas.microsoft.com/office/drawing/2014/main" id="{1BFB8933-A4CE-469D-B507-8AA0924EC17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24" name="Freeform: Shape 23">
              <a:extLst>
                <a:ext uri="{FF2B5EF4-FFF2-40B4-BE49-F238E27FC236}">
                  <a16:creationId xmlns:a16="http://schemas.microsoft.com/office/drawing/2014/main" id="{2513E87F-820D-4A7A-9D31-A26D68EA0837}"/>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C9DAD21D-EF69-4368-AEC2-D96D9D1DDFB0}"/>
                </a:ext>
              </a:extLst>
            </p:cNvPr>
            <p:cNvSpPr/>
            <p:nvPr userDrawn="1"/>
          </p:nvSpPr>
          <p:spPr>
            <a:xfrm rot="5400000">
              <a:off x="8941015"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149 h 1329953"/>
                <a:gd name="connsiteX25" fmla="*/ 260201 w 549346"/>
                <a:gd name="connsiteY25" fmla="*/ 260205 h 1329953"/>
                <a:gd name="connsiteX26" fmla="*/ 289145 w 549346"/>
                <a:gd name="connsiteY26" fmla="*/ 260205 h 1329953"/>
                <a:gd name="connsiteX27" fmla="*/ 289145 w 549346"/>
                <a:gd name="connsiteY27" fmla="*/ 289149 h 1329953"/>
                <a:gd name="connsiteX28" fmla="*/ 260201 w 549346"/>
                <a:gd name="connsiteY28" fmla="*/ 549349 h 1329953"/>
                <a:gd name="connsiteX29" fmla="*/ 260201 w 549346"/>
                <a:gd name="connsiteY29" fmla="*/ 520405 h 1329953"/>
                <a:gd name="connsiteX30" fmla="*/ 289145 w 549346"/>
                <a:gd name="connsiteY30" fmla="*/ 520405 h 1329953"/>
                <a:gd name="connsiteX31" fmla="*/ 289145 w 549346"/>
                <a:gd name="connsiteY31" fmla="*/ 549349 h 1329953"/>
                <a:gd name="connsiteX32" fmla="*/ 260201 w 549346"/>
                <a:gd name="connsiteY32" fmla="*/ 809553 h 1329953"/>
                <a:gd name="connsiteX33" fmla="*/ 260201 w 549346"/>
                <a:gd name="connsiteY33" fmla="*/ 780607 h 1329953"/>
                <a:gd name="connsiteX34" fmla="*/ 289145 w 549346"/>
                <a:gd name="connsiteY34" fmla="*/ 780607 h 1329953"/>
                <a:gd name="connsiteX35" fmla="*/ 289145 w 549346"/>
                <a:gd name="connsiteY35" fmla="*/ 809553 h 1329953"/>
                <a:gd name="connsiteX36" fmla="*/ 260201 w 549346"/>
                <a:gd name="connsiteY36" fmla="*/ 1069749 h 1329953"/>
                <a:gd name="connsiteX37" fmla="*/ 260201 w 549346"/>
                <a:gd name="connsiteY37" fmla="*/ 1040805 h 1329953"/>
                <a:gd name="connsiteX38" fmla="*/ 289145 w 549346"/>
                <a:gd name="connsiteY38" fmla="*/ 1040805 h 1329953"/>
                <a:gd name="connsiteX39" fmla="*/ 289145 w 549346"/>
                <a:gd name="connsiteY39" fmla="*/ 1069749 h 1329953"/>
                <a:gd name="connsiteX40" fmla="*/ 260201 w 549346"/>
                <a:gd name="connsiteY40" fmla="*/ 1329949 h 1329953"/>
                <a:gd name="connsiteX41" fmla="*/ 260201 w 549346"/>
                <a:gd name="connsiteY41" fmla="*/ 1301005 h 1329953"/>
                <a:gd name="connsiteX42" fmla="*/ 289145 w 549346"/>
                <a:gd name="connsiteY42" fmla="*/ 1301005 h 1329953"/>
                <a:gd name="connsiteX43" fmla="*/ 289145 w 549346"/>
                <a:gd name="connsiteY43" fmla="*/ 1329949 h 1329953"/>
                <a:gd name="connsiteX44" fmla="*/ 0 w 549346"/>
                <a:gd name="connsiteY44" fmla="*/ 28947 h 1329953"/>
                <a:gd name="connsiteX45" fmla="*/ 0 w 549346"/>
                <a:gd name="connsiteY45" fmla="*/ 0 h 1329953"/>
                <a:gd name="connsiteX46" fmla="*/ 28944 w 549346"/>
                <a:gd name="connsiteY46" fmla="*/ 0 h 1329953"/>
                <a:gd name="connsiteX47" fmla="*/ 28944 w 549346"/>
                <a:gd name="connsiteY47" fmla="*/ 28947 h 1329953"/>
                <a:gd name="connsiteX48" fmla="*/ 0 w 549346"/>
                <a:gd name="connsiteY48" fmla="*/ 289147 h 1329953"/>
                <a:gd name="connsiteX49" fmla="*/ 0 w 549346"/>
                <a:gd name="connsiteY49" fmla="*/ 260203 h 1329953"/>
                <a:gd name="connsiteX50" fmla="*/ 28944 w 549346"/>
                <a:gd name="connsiteY50" fmla="*/ 260203 h 1329953"/>
                <a:gd name="connsiteX51" fmla="*/ 28944 w 549346"/>
                <a:gd name="connsiteY51" fmla="*/ 289147 h 1329953"/>
                <a:gd name="connsiteX52" fmla="*/ 0 w 549346"/>
                <a:gd name="connsiteY52" fmla="*/ 549347 h 1329953"/>
                <a:gd name="connsiteX53" fmla="*/ 0 w 549346"/>
                <a:gd name="connsiteY53" fmla="*/ 520403 h 1329953"/>
                <a:gd name="connsiteX54" fmla="*/ 28944 w 549346"/>
                <a:gd name="connsiteY54" fmla="*/ 520403 h 1329953"/>
                <a:gd name="connsiteX55" fmla="*/ 28944 w 549346"/>
                <a:gd name="connsiteY55" fmla="*/ 549347 h 1329953"/>
                <a:gd name="connsiteX56" fmla="*/ 0 w 549346"/>
                <a:gd name="connsiteY56" fmla="*/ 809549 h 1329953"/>
                <a:gd name="connsiteX57" fmla="*/ 0 w 549346"/>
                <a:gd name="connsiteY57" fmla="*/ 780603 h 1329953"/>
                <a:gd name="connsiteX58" fmla="*/ 28944 w 549346"/>
                <a:gd name="connsiteY58" fmla="*/ 780603 h 1329953"/>
                <a:gd name="connsiteX59" fmla="*/ 28944 w 549346"/>
                <a:gd name="connsiteY59" fmla="*/ 809549 h 1329953"/>
                <a:gd name="connsiteX60" fmla="*/ 0 w 549346"/>
                <a:gd name="connsiteY60" fmla="*/ 1069747 h 1329953"/>
                <a:gd name="connsiteX61" fmla="*/ 0 w 549346"/>
                <a:gd name="connsiteY61" fmla="*/ 1040803 h 1329953"/>
                <a:gd name="connsiteX62" fmla="*/ 28944 w 549346"/>
                <a:gd name="connsiteY62" fmla="*/ 1040803 h 1329953"/>
                <a:gd name="connsiteX63" fmla="*/ 28944 w 549346"/>
                <a:gd name="connsiteY63" fmla="*/ 1069747 h 1329953"/>
                <a:gd name="connsiteX64" fmla="*/ 0 w 549346"/>
                <a:gd name="connsiteY64" fmla="*/ 1329947 h 1329953"/>
                <a:gd name="connsiteX65" fmla="*/ 0 w 549346"/>
                <a:gd name="connsiteY65" fmla="*/ 1301003 h 1329953"/>
                <a:gd name="connsiteX66" fmla="*/ 28944 w 549346"/>
                <a:gd name="connsiteY66" fmla="*/ 1301003 h 1329953"/>
                <a:gd name="connsiteX67" fmla="*/ 28944 w 549346"/>
                <a:gd name="connsiteY67"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149"/>
                  </a:moveTo>
                  <a:lnTo>
                    <a:pt x="260201" y="260205"/>
                  </a:lnTo>
                  <a:lnTo>
                    <a:pt x="289145" y="260205"/>
                  </a:lnTo>
                  <a:lnTo>
                    <a:pt x="289145" y="289149"/>
                  </a:lnTo>
                  <a:close/>
                  <a:moveTo>
                    <a:pt x="260201" y="549349"/>
                  </a:moveTo>
                  <a:lnTo>
                    <a:pt x="260201" y="520405"/>
                  </a:lnTo>
                  <a:lnTo>
                    <a:pt x="289145" y="520405"/>
                  </a:lnTo>
                  <a:lnTo>
                    <a:pt x="289145" y="549349"/>
                  </a:lnTo>
                  <a:close/>
                  <a:moveTo>
                    <a:pt x="260201" y="809553"/>
                  </a:moveTo>
                  <a:lnTo>
                    <a:pt x="260201" y="780607"/>
                  </a:lnTo>
                  <a:lnTo>
                    <a:pt x="289145" y="780607"/>
                  </a:lnTo>
                  <a:lnTo>
                    <a:pt x="289145" y="809553"/>
                  </a:lnTo>
                  <a:close/>
                  <a:moveTo>
                    <a:pt x="260201" y="1069749"/>
                  </a:moveTo>
                  <a:lnTo>
                    <a:pt x="260201" y="1040805"/>
                  </a:lnTo>
                  <a:lnTo>
                    <a:pt x="289145" y="1040805"/>
                  </a:lnTo>
                  <a:lnTo>
                    <a:pt x="289145" y="1069749"/>
                  </a:lnTo>
                  <a:close/>
                  <a:moveTo>
                    <a:pt x="260201" y="1329949"/>
                  </a:moveTo>
                  <a:lnTo>
                    <a:pt x="260201" y="1301005"/>
                  </a:lnTo>
                  <a:lnTo>
                    <a:pt x="289145" y="1301005"/>
                  </a:lnTo>
                  <a:lnTo>
                    <a:pt x="289145" y="1329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131F462B-FFB0-4315-BEA8-3D9781C80E7C}"/>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grpSp>
      <p:pic>
        <p:nvPicPr>
          <p:cNvPr id="23" name="Graphic 22">
            <a:extLst>
              <a:ext uri="{FF2B5EF4-FFF2-40B4-BE49-F238E27FC236}">
                <a16:creationId xmlns:a16="http://schemas.microsoft.com/office/drawing/2014/main" id="{25122042-2D4D-4C8E-B0FF-A360B13597C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67807" y="357721"/>
            <a:ext cx="2010377" cy="328644"/>
          </a:xfrm>
          <a:prstGeom prst="rect">
            <a:avLst/>
          </a:prstGeom>
        </p:spPr>
      </p:pic>
    </p:spTree>
    <p:extLst>
      <p:ext uri="{BB962C8B-B14F-4D97-AF65-F5344CB8AC3E}">
        <p14:creationId xmlns:p14="http://schemas.microsoft.com/office/powerpoint/2010/main" val="2079798451"/>
      </p:ext>
    </p:extLst>
  </p:cSld>
  <p:clrMap bg1="lt1" tx1="dk1" bg2="lt2" tx2="dk2" accent1="accent1" accent2="accent2" accent3="accent3" accent4="accent4" accent5="accent5" accent6="accent6" hlink="hlink" folHlink="folHlink"/>
  <p:sldLayoutIdLst>
    <p:sldLayoutId id="2147483883" r:id="rId1"/>
    <p:sldLayoutId id="2147483885" r:id="rId2"/>
    <p:sldLayoutId id="2147483884" r:id="rId3"/>
    <p:sldLayoutId id="2147483881" r:id="rId4"/>
    <p:sldLayoutId id="2147483882" r:id="rId5"/>
    <p:sldLayoutId id="2147483879" r:id="rId6"/>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9">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4409DA-7E6C-3250-D636-D71FC37B833D}"/>
              </a:ext>
            </a:extLst>
          </p:cNvPr>
          <p:cNvGraphicFramePr>
            <a:graphicFrameLocks noChangeAspect="1"/>
          </p:cNvGraphicFramePr>
          <p:nvPr userDrawn="1">
            <p:custDataLst>
              <p:tags r:id="rId38"/>
            </p:custDataLst>
            <p:extLst>
              <p:ext uri="{D42A27DB-BD31-4B8C-83A1-F6EECF244321}">
                <p14:modId xmlns:p14="http://schemas.microsoft.com/office/powerpoint/2010/main" val="168012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8" imgH="347" progId="TCLayout.ActiveDocument.1">
                  <p:embed/>
                </p:oleObj>
              </mc:Choice>
              <mc:Fallback>
                <p:oleObj name="think-cell Slide" r:id="rId39" imgW="348" imgH="347" progId="TCLayout.ActiveDocument.1">
                  <p:embed/>
                  <p:pic>
                    <p:nvPicPr>
                      <p:cNvPr id="5" name="Object 4" hidden="1">
                        <a:extLst>
                          <a:ext uri="{FF2B5EF4-FFF2-40B4-BE49-F238E27FC236}">
                            <a16:creationId xmlns:a16="http://schemas.microsoft.com/office/drawing/2014/main" id="{F04409DA-7E6C-3250-D636-D71FC37B833D}"/>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81002" y="357723"/>
            <a:ext cx="6608941" cy="690029"/>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381002" y="1322024"/>
            <a:ext cx="11426823" cy="48882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43A5BB14-D036-4AC1-9435-9025BF12CBD4}"/>
              </a:ext>
            </a:extLst>
          </p:cNvPr>
          <p:cNvSpPr txBox="1"/>
          <p:nvPr userDrawn="1"/>
        </p:nvSpPr>
        <p:spPr>
          <a:xfrm>
            <a:off x="11454740" y="6472937"/>
            <a:ext cx="353085" cy="122429"/>
          </a:xfrm>
          <a:prstGeom prst="rect">
            <a:avLst/>
          </a:prstGeom>
          <a:noFill/>
        </p:spPr>
        <p:txBody>
          <a:bodyPr wrap="square" lIns="0" tIns="0" rIns="0" bIns="0" rtlCol="0">
            <a:noAutofit/>
          </a:bodyPr>
          <a:lstStyle/>
          <a:p>
            <a:pPr marL="0" algn="r" defTabSz="457063" rtl="0" eaLnBrk="1" latinLnBrk="0" hangingPunct="1"/>
            <a:fld id="{CDB435D5-777C-4922-976B-8C95AF7AC8DD}" type="slidenum">
              <a:rPr lang="en-US" sz="700" b="1" i="0" kern="1200" smtClean="0">
                <a:solidFill>
                  <a:schemeClr val="tx1"/>
                </a:solidFill>
                <a:latin typeface="Arial"/>
                <a:ea typeface="+mn-ea"/>
                <a:cs typeface="Arial"/>
              </a:rPr>
              <a:pPr marL="0" algn="r" defTabSz="457063" rtl="0" eaLnBrk="1" latinLnBrk="0" hangingPunct="1"/>
              <a:t>‹#›</a:t>
            </a:fld>
            <a:endParaRPr lang="en-US" sz="700" b="1" i="0" kern="1200" err="1">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E111FAC-D0E4-4BBA-92AA-8EB0FD97D243}"/>
              </a:ext>
            </a:extLst>
          </p:cNvPr>
          <p:cNvSpPr/>
          <p:nvPr userDrawn="1"/>
        </p:nvSpPr>
        <p:spPr>
          <a:xfrm>
            <a:off x="-1" y="6812283"/>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3" name="Picture 12">
            <a:extLst>
              <a:ext uri="{FF2B5EF4-FFF2-40B4-BE49-F238E27FC236}">
                <a16:creationId xmlns:a16="http://schemas.microsoft.com/office/drawing/2014/main" id="{D716C905-C136-4D1D-AD21-AC53D4A8C87B}"/>
              </a:ext>
            </a:extLst>
          </p:cNvPr>
          <p:cNvPicPr>
            <a:picLocks noChangeAspect="1"/>
          </p:cNvPicPr>
          <p:nvPr userDrawn="1"/>
        </p:nvPicPr>
        <p:blipFill>
          <a:blip r:embed="rId41"/>
          <a:srcRect/>
          <a:stretch/>
        </p:blipFill>
        <p:spPr>
          <a:xfrm>
            <a:off x="10350500" y="349030"/>
            <a:ext cx="1419617" cy="325698"/>
          </a:xfrm>
          <a:prstGeom prst="rect">
            <a:avLst/>
          </a:prstGeom>
        </p:spPr>
      </p:pic>
      <p:sp>
        <p:nvSpPr>
          <p:cNvPr id="15" name="Freeform: Shape 41">
            <a:extLst>
              <a:ext uri="{FF2B5EF4-FFF2-40B4-BE49-F238E27FC236}">
                <a16:creationId xmlns:a16="http://schemas.microsoft.com/office/drawing/2014/main" id="{541202CC-94B5-442C-92E1-B478268C118E}"/>
              </a:ext>
            </a:extLst>
          </p:cNvPr>
          <p:cNvSpPr txBox="1">
            <a:spLocks/>
          </p:cNvSpPr>
          <p:nvPr userDrawn="1"/>
        </p:nvSpPr>
        <p:spPr>
          <a:xfrm rot="16200000">
            <a:off x="9347537" y="515574"/>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a:t> </a:t>
            </a:r>
          </a:p>
        </p:txBody>
      </p:sp>
      <p:sp>
        <p:nvSpPr>
          <p:cNvPr id="16" name="TextBox 15">
            <a:extLst>
              <a:ext uri="{FF2B5EF4-FFF2-40B4-BE49-F238E27FC236}">
                <a16:creationId xmlns:a16="http://schemas.microsoft.com/office/drawing/2014/main" id="{42EDF6A8-A828-4C8E-8DCC-8294A4F43BB9}"/>
              </a:ext>
            </a:extLst>
          </p:cNvPr>
          <p:cNvSpPr txBox="1">
            <a:spLocks/>
          </p:cNvSpPr>
          <p:nvPr userDrawn="1"/>
        </p:nvSpPr>
        <p:spPr>
          <a:xfrm>
            <a:off x="7040089" y="2"/>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chemeClr val="bg1">
              <a:lumMod val="85000"/>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99"/>
              <a:t> </a:t>
            </a:r>
          </a:p>
        </p:txBody>
      </p:sp>
      <p:grpSp>
        <p:nvGrpSpPr>
          <p:cNvPr id="17" name="Group 16">
            <a:extLst>
              <a:ext uri="{FF2B5EF4-FFF2-40B4-BE49-F238E27FC236}">
                <a16:creationId xmlns:a16="http://schemas.microsoft.com/office/drawing/2014/main" id="{3A0999A1-9B1F-4556-BFDE-4CD504AEEEE7}"/>
              </a:ext>
            </a:extLst>
          </p:cNvPr>
          <p:cNvGrpSpPr/>
          <p:nvPr userDrawn="1"/>
        </p:nvGrpSpPr>
        <p:grpSpPr>
          <a:xfrm>
            <a:off x="6989947" y="244608"/>
            <a:ext cx="4971452" cy="549346"/>
            <a:chOff x="6989946" y="244608"/>
            <a:chExt cx="4971452" cy="549346"/>
          </a:xfrm>
        </p:grpSpPr>
        <p:sp>
          <p:nvSpPr>
            <p:cNvPr id="20" name="Freeform: Shape 19">
              <a:extLst>
                <a:ext uri="{FF2B5EF4-FFF2-40B4-BE49-F238E27FC236}">
                  <a16:creationId xmlns:a16="http://schemas.microsoft.com/office/drawing/2014/main" id="{1BFB8933-A4CE-469D-B507-8AA0924EC17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sz="1799"/>
            </a:p>
          </p:txBody>
        </p:sp>
        <p:sp>
          <p:nvSpPr>
            <p:cNvPr id="24" name="Freeform: Shape 23">
              <a:extLst>
                <a:ext uri="{FF2B5EF4-FFF2-40B4-BE49-F238E27FC236}">
                  <a16:creationId xmlns:a16="http://schemas.microsoft.com/office/drawing/2014/main" id="{2513E87F-820D-4A7A-9D31-A26D68EA0837}"/>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25" name="Freeform: Shape 24">
              <a:extLst>
                <a:ext uri="{FF2B5EF4-FFF2-40B4-BE49-F238E27FC236}">
                  <a16:creationId xmlns:a16="http://schemas.microsoft.com/office/drawing/2014/main" id="{2CE497EA-D9C9-41D3-83F4-07E026FE6B00}"/>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sp>
          <p:nvSpPr>
            <p:cNvPr id="26" name="Freeform: Shape 25">
              <a:extLst>
                <a:ext uri="{FF2B5EF4-FFF2-40B4-BE49-F238E27FC236}">
                  <a16:creationId xmlns:a16="http://schemas.microsoft.com/office/drawing/2014/main" id="{8D6FD626-A54A-45F5-9E25-50C5D4A453EC}"/>
                </a:ext>
              </a:extLst>
            </p:cNvPr>
            <p:cNvSpPr/>
            <p:nvPr userDrawn="1"/>
          </p:nvSpPr>
          <p:spPr>
            <a:xfrm rot="5400000">
              <a:off x="9981382" y="374704"/>
              <a:ext cx="549346" cy="289153"/>
            </a:xfrm>
            <a:custGeom>
              <a:avLst/>
              <a:gdLst>
                <a:gd name="connsiteX0" fmla="*/ 520400 w 549346"/>
                <a:gd name="connsiteY0" fmla="*/ 28953 h 289153"/>
                <a:gd name="connsiteX1" fmla="*/ 520400 w 549346"/>
                <a:gd name="connsiteY1" fmla="*/ 9 h 289153"/>
                <a:gd name="connsiteX2" fmla="*/ 549346 w 549346"/>
                <a:gd name="connsiteY2" fmla="*/ 9 h 289153"/>
                <a:gd name="connsiteX3" fmla="*/ 549346 w 549346"/>
                <a:gd name="connsiteY3" fmla="*/ 28953 h 289153"/>
                <a:gd name="connsiteX4" fmla="*/ 520400 w 549346"/>
                <a:gd name="connsiteY4" fmla="*/ 289153 h 289153"/>
                <a:gd name="connsiteX5" fmla="*/ 520400 w 549346"/>
                <a:gd name="connsiteY5" fmla="*/ 260209 h 289153"/>
                <a:gd name="connsiteX6" fmla="*/ 549346 w 549346"/>
                <a:gd name="connsiteY6" fmla="*/ 260209 h 289153"/>
                <a:gd name="connsiteX7" fmla="*/ 549346 w 549346"/>
                <a:gd name="connsiteY7" fmla="*/ 289153 h 289153"/>
                <a:gd name="connsiteX8" fmla="*/ 260201 w 549346"/>
                <a:gd name="connsiteY8" fmla="*/ 289151 h 289153"/>
                <a:gd name="connsiteX9" fmla="*/ 260201 w 549346"/>
                <a:gd name="connsiteY9" fmla="*/ 260207 h 289153"/>
                <a:gd name="connsiteX10" fmla="*/ 289145 w 549346"/>
                <a:gd name="connsiteY10" fmla="*/ 260207 h 289153"/>
                <a:gd name="connsiteX11" fmla="*/ 289145 w 549346"/>
                <a:gd name="connsiteY11" fmla="*/ 289151 h 289153"/>
                <a:gd name="connsiteX12" fmla="*/ 0 w 549346"/>
                <a:gd name="connsiteY12" fmla="*/ 28949 h 289153"/>
                <a:gd name="connsiteX13" fmla="*/ 0 w 549346"/>
                <a:gd name="connsiteY13" fmla="*/ 0 h 289153"/>
                <a:gd name="connsiteX14" fmla="*/ 28944 w 549346"/>
                <a:gd name="connsiteY14" fmla="*/ 0 h 289153"/>
                <a:gd name="connsiteX15" fmla="*/ 28944 w 549346"/>
                <a:gd name="connsiteY15" fmla="*/ 28949 h 289153"/>
                <a:gd name="connsiteX16" fmla="*/ 0 w 549346"/>
                <a:gd name="connsiteY16" fmla="*/ 289149 h 289153"/>
                <a:gd name="connsiteX17" fmla="*/ 0 w 549346"/>
                <a:gd name="connsiteY17" fmla="*/ 260205 h 289153"/>
                <a:gd name="connsiteX18" fmla="*/ 28944 w 549346"/>
                <a:gd name="connsiteY18" fmla="*/ 260205 h 289153"/>
                <a:gd name="connsiteX19" fmla="*/ 28944 w 549346"/>
                <a:gd name="connsiteY19" fmla="*/ 289149 h 28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9346" h="289153">
                  <a:moveTo>
                    <a:pt x="520400" y="28953"/>
                  </a:moveTo>
                  <a:lnTo>
                    <a:pt x="520400" y="9"/>
                  </a:lnTo>
                  <a:lnTo>
                    <a:pt x="549346" y="9"/>
                  </a:lnTo>
                  <a:lnTo>
                    <a:pt x="549346" y="28953"/>
                  </a:lnTo>
                  <a:close/>
                  <a:moveTo>
                    <a:pt x="520400" y="289153"/>
                  </a:moveTo>
                  <a:lnTo>
                    <a:pt x="520400" y="260209"/>
                  </a:lnTo>
                  <a:lnTo>
                    <a:pt x="549346" y="260209"/>
                  </a:lnTo>
                  <a:lnTo>
                    <a:pt x="549346" y="289153"/>
                  </a:lnTo>
                  <a:close/>
                  <a:moveTo>
                    <a:pt x="260201" y="289151"/>
                  </a:moveTo>
                  <a:lnTo>
                    <a:pt x="260201" y="260207"/>
                  </a:lnTo>
                  <a:lnTo>
                    <a:pt x="289145" y="260207"/>
                  </a:lnTo>
                  <a:lnTo>
                    <a:pt x="289145" y="289151"/>
                  </a:lnTo>
                  <a:close/>
                  <a:moveTo>
                    <a:pt x="0" y="28949"/>
                  </a:moveTo>
                  <a:lnTo>
                    <a:pt x="0" y="0"/>
                  </a:lnTo>
                  <a:lnTo>
                    <a:pt x="28944" y="0"/>
                  </a:lnTo>
                  <a:lnTo>
                    <a:pt x="28944" y="28949"/>
                  </a:lnTo>
                  <a:close/>
                  <a:moveTo>
                    <a:pt x="0" y="289149"/>
                  </a:moveTo>
                  <a:lnTo>
                    <a:pt x="0" y="260205"/>
                  </a:lnTo>
                  <a:lnTo>
                    <a:pt x="28944" y="260205"/>
                  </a:lnTo>
                  <a:lnTo>
                    <a:pt x="28944" y="289149"/>
                  </a:lnTo>
                  <a:close/>
                </a:path>
              </a:pathLst>
            </a:custGeom>
            <a:solidFill>
              <a:schemeClr val="tx2">
                <a:alpha val="20000"/>
              </a:schemeClr>
            </a:solidFill>
            <a:ln w="10294" cap="flat">
              <a:noFill/>
              <a:prstDash val="solid"/>
              <a:miter/>
            </a:ln>
          </p:spPr>
          <p:txBody>
            <a:bodyPr wrap="square" rtlCol="0" anchor="ctr">
              <a:noAutofit/>
            </a:bodyPr>
            <a:lstStyle/>
            <a:p>
              <a:endParaRPr lang="en-US" sz="1799"/>
            </a:p>
          </p:txBody>
        </p:sp>
      </p:grpSp>
    </p:spTree>
    <p:extLst>
      <p:ext uri="{BB962C8B-B14F-4D97-AF65-F5344CB8AC3E}">
        <p14:creationId xmlns:p14="http://schemas.microsoft.com/office/powerpoint/2010/main" val="38414404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4091"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4090"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950" r:id="rId29"/>
    <p:sldLayoutId id="2147483690" r:id="rId30"/>
    <p:sldLayoutId id="2147483691" r:id="rId31"/>
    <p:sldLayoutId id="2147483693" r:id="rId32"/>
    <p:sldLayoutId id="2147483694" r:id="rId33"/>
    <p:sldLayoutId id="2147483695" r:id="rId34"/>
    <p:sldLayoutId id="2147483696" r:id="rId35"/>
    <p:sldLayoutId id="2147483697" r:id="rId36"/>
  </p:sldLayoutIdLst>
  <p:hf sldNum="0" hdr="0" dt="0"/>
  <p:txStyles>
    <p:titleStyle>
      <a:lvl1pPr algn="l" defTabSz="457063" rtl="0" eaLnBrk="1" latinLnBrk="0" hangingPunct="1">
        <a:lnSpc>
          <a:spcPct val="85000"/>
        </a:lnSpc>
        <a:spcBef>
          <a:spcPct val="0"/>
        </a:spcBef>
        <a:buNone/>
        <a:tabLst>
          <a:tab pos="2226595" algn="l"/>
        </a:tabLst>
        <a:defRPr sz="2799" b="1" i="0" kern="1200" spc="-50" baseline="0">
          <a:solidFill>
            <a:schemeClr val="tx1"/>
          </a:solidFill>
          <a:latin typeface="Arial" panose="020B0604020202020204" pitchFamily="34" charset="0"/>
          <a:ea typeface="+mj-ea"/>
          <a:cs typeface="Arial"/>
        </a:defRPr>
      </a:lvl1pPr>
    </p:titleStyle>
    <p:bodyStyle>
      <a:lvl1pPr marL="0" indent="0" algn="l" defTabSz="457063" rtl="0" eaLnBrk="1" latinLnBrk="0" hangingPunct="1">
        <a:spcBef>
          <a:spcPts val="1000"/>
        </a:spcBef>
        <a:buFont typeface="Arial"/>
        <a:buNone/>
        <a:defRPr sz="1999" kern="1200">
          <a:solidFill>
            <a:schemeClr val="tx1"/>
          </a:solidFill>
          <a:latin typeface="Arial"/>
          <a:ea typeface="+mn-ea"/>
          <a:cs typeface="Arial"/>
        </a:defRPr>
      </a:lvl1pPr>
      <a:lvl2pPr marL="174573" indent="-174573" algn="l" defTabSz="457063" rtl="0" eaLnBrk="1" latinLnBrk="0" hangingPunct="1">
        <a:spcBef>
          <a:spcPts val="500"/>
        </a:spcBef>
        <a:buClr>
          <a:schemeClr val="accent1"/>
        </a:buClr>
        <a:buFont typeface="Arial"/>
        <a:buChar char="•"/>
        <a:defRPr sz="1999" kern="1200">
          <a:solidFill>
            <a:schemeClr val="tx1"/>
          </a:solidFill>
          <a:latin typeface="Arial"/>
          <a:ea typeface="+mn-ea"/>
          <a:cs typeface="Arial"/>
        </a:defRPr>
      </a:lvl2pPr>
      <a:lvl3pPr marL="339623" indent="-165050" algn="l" defTabSz="457063" rtl="0" eaLnBrk="1" latinLnBrk="0" hangingPunct="1">
        <a:spcBef>
          <a:spcPts val="300"/>
        </a:spcBef>
        <a:buClr>
          <a:schemeClr val="accent1"/>
        </a:buClr>
        <a:buFont typeface="Lucida Grande"/>
        <a:buChar char="-"/>
        <a:defRPr sz="1999" kern="1200">
          <a:solidFill>
            <a:schemeClr val="tx1"/>
          </a:solidFill>
          <a:latin typeface="Arial"/>
          <a:ea typeface="+mn-ea"/>
          <a:cs typeface="Arial"/>
        </a:defRPr>
      </a:lvl3pPr>
      <a:lvl4pPr marL="512609" indent="-172986" algn="l" defTabSz="457063" rtl="0" eaLnBrk="1" latinLnBrk="0" hangingPunct="1">
        <a:spcBef>
          <a:spcPts val="200"/>
        </a:spcBef>
        <a:buClr>
          <a:schemeClr val="accent1"/>
        </a:buClr>
        <a:buFont typeface="Arial"/>
        <a:buChar char="•"/>
        <a:defRPr sz="1999" kern="1200">
          <a:solidFill>
            <a:schemeClr val="tx1"/>
          </a:solidFill>
          <a:latin typeface="Arial"/>
          <a:ea typeface="+mn-ea"/>
          <a:cs typeface="Arial"/>
        </a:defRPr>
      </a:lvl4pPr>
      <a:lvl5pPr marL="687182" indent="-174573" algn="l" defTabSz="457063" rtl="0" eaLnBrk="1" latinLnBrk="0" hangingPunct="1">
        <a:spcBef>
          <a:spcPts val="100"/>
        </a:spcBef>
        <a:buClr>
          <a:schemeClr val="accent1"/>
        </a:buClr>
        <a:buFont typeface="Lucida Grande"/>
        <a:buChar char="-"/>
        <a:defRPr sz="1999" kern="1200">
          <a:solidFill>
            <a:schemeClr val="tx1"/>
          </a:solidFill>
          <a:latin typeface="Arial"/>
          <a:ea typeface="+mn-ea"/>
          <a:cs typeface="Arial"/>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userDrawn="1">
          <p15:clr>
            <a:srgbClr val="F26B43"/>
          </p15:clr>
        </p15:guide>
        <p15:guide id="2" pos="239" userDrawn="1">
          <p15:clr>
            <a:srgbClr val="F26B43"/>
          </p15:clr>
        </p15:guide>
        <p15:guide id="3" pos="7437" userDrawn="1">
          <p15:clr>
            <a:srgbClr val="F26B43"/>
          </p15:clr>
        </p15:guide>
        <p15:guide id="4" orient="horz" pos="660" userDrawn="1">
          <p15:clr>
            <a:srgbClr val="F26B43"/>
          </p15:clr>
        </p15:guide>
        <p15:guide id="5" orient="horz" pos="83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074" name="Google Shape;185;ge783127671_0_136">
            <a:extLst>
              <a:ext uri="{FF2B5EF4-FFF2-40B4-BE49-F238E27FC236}">
                <a16:creationId xmlns:a16="http://schemas.microsoft.com/office/drawing/2014/main" id="{D95CA09F-BA96-22C1-8440-E57DC855E1A5}"/>
              </a:ext>
            </a:extLst>
          </p:cNvPr>
          <p:cNvGrpSpPr>
            <a:grpSpLocks/>
          </p:cNvGrpSpPr>
          <p:nvPr/>
        </p:nvGrpSpPr>
        <p:grpSpPr bwMode="auto">
          <a:xfrm>
            <a:off x="0" y="0"/>
            <a:ext cx="12188825" cy="6858000"/>
            <a:chOff x="1" y="0"/>
            <a:chExt cx="12188825" cy="6858000"/>
          </a:xfrm>
        </p:grpSpPr>
        <p:pic>
          <p:nvPicPr>
            <p:cNvPr id="3079" name="Google Shape;186;ge783127671_0_136">
              <a:extLst>
                <a:ext uri="{FF2B5EF4-FFF2-40B4-BE49-F238E27FC236}">
                  <a16:creationId xmlns:a16="http://schemas.microsoft.com/office/drawing/2014/main" id="{7BC1797E-596D-91AA-E9B7-446C03F25A48}"/>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l="62766"/>
            <a:stretch>
              <a:fillRect/>
            </a:stretch>
          </p:blipFill>
          <p:spPr bwMode="auto">
            <a:xfrm>
              <a:off x="7650481" y="893"/>
              <a:ext cx="4538342" cy="6856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Google Shape;187;ge783127671_0_136">
              <a:extLst>
                <a:ext uri="{FF2B5EF4-FFF2-40B4-BE49-F238E27FC236}">
                  <a16:creationId xmlns:a16="http://schemas.microsoft.com/office/drawing/2014/main" id="{54D60BD6-EAFA-0D16-CC35-2059D54DE160}"/>
                </a:ext>
              </a:extLst>
            </p:cNvPr>
            <p:cNvPicPr preferRelativeResize="0">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70243" y="5638124"/>
              <a:ext cx="2618581" cy="121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Google Shape;188;ge783127671_0_136">
              <a:extLst>
                <a:ext uri="{FF2B5EF4-FFF2-40B4-BE49-F238E27FC236}">
                  <a16:creationId xmlns:a16="http://schemas.microsoft.com/office/drawing/2014/main" id="{670EB3C4-026B-784C-9B14-39F5809ADFB9}"/>
                </a:ext>
              </a:extLst>
            </p:cNvPr>
            <p:cNvPicPr preferRelativeResize="0">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50533" y="0"/>
              <a:ext cx="1938293" cy="124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Google Shape;189;ge783127671_0_136">
              <a:extLst>
                <a:ext uri="{FF2B5EF4-FFF2-40B4-BE49-F238E27FC236}">
                  <a16:creationId xmlns:a16="http://schemas.microsoft.com/office/drawing/2014/main" id="{6071CEE6-385C-3153-AEE9-7D91EA7EDC71}"/>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r="83505"/>
            <a:stretch>
              <a:fillRect/>
            </a:stretch>
          </p:blipFill>
          <p:spPr bwMode="auto">
            <a:xfrm>
              <a:off x="1" y="1962467"/>
              <a:ext cx="1435464" cy="489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75" name="Google Shape;190;ge783127671_0_136">
            <a:extLst>
              <a:ext uri="{FF2B5EF4-FFF2-40B4-BE49-F238E27FC236}">
                <a16:creationId xmlns:a16="http://schemas.microsoft.com/office/drawing/2014/main" id="{D77B28A7-769C-B09E-4754-874ED33F7417}"/>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3076" name="Google Shape;191;ge783127671_0_136">
            <a:extLst>
              <a:ext uri="{FF2B5EF4-FFF2-40B4-BE49-F238E27FC236}">
                <a16:creationId xmlns:a16="http://schemas.microsoft.com/office/drawing/2014/main" id="{661069F1-F125-4D5D-A71B-FE95BC8A8A6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defRPr/>
            </a:pPr>
            <a:fld id="{5162DB36-675B-4543-B5C2-943BFD9503AE}" type="slidenum">
              <a:rPr lang="en-US" altLang="en-US" sz="700" b="1" smtClean="0">
                <a:solidFill>
                  <a:srgbClr val="FFFFFF"/>
                </a:solidFill>
              </a:rPr>
              <a:pPr algn="r" eaLnBrk="1" hangingPunct="1">
                <a:defRPr/>
              </a:pPr>
              <a:t>‹#›</a:t>
            </a:fld>
            <a:endParaRPr lang="en-US" altLang="en-US" sz="700" b="1">
              <a:solidFill>
                <a:srgbClr val="FFFFFF"/>
              </a:solidFill>
            </a:endParaRPr>
          </a:p>
        </p:txBody>
      </p:sp>
      <p:pic>
        <p:nvPicPr>
          <p:cNvPr id="3077" name="Google Shape;192;ge783127671_0_136">
            <a:extLst>
              <a:ext uri="{FF2B5EF4-FFF2-40B4-BE49-F238E27FC236}">
                <a16:creationId xmlns:a16="http://schemas.microsoft.com/office/drawing/2014/main" id="{05FCC8C3-1484-0791-4DAB-FE01BD226D23}"/>
              </a:ext>
            </a:extLst>
          </p:cNvPr>
          <p:cNvPicPr preferRelativeResize="0">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867900" y="357188"/>
            <a:ext cx="20097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Google Shape;193;ge783127671_0_136">
            <a:extLst>
              <a:ext uri="{FF2B5EF4-FFF2-40B4-BE49-F238E27FC236}">
                <a16:creationId xmlns:a16="http://schemas.microsoft.com/office/drawing/2014/main" id="{3959EF0D-70CD-2261-EF9D-154E14175653}"/>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81" r:id="rId1"/>
    <p:sldLayoutId id="2147484082" r:id="rId2"/>
    <p:sldLayoutId id="2147484067" r:id="rId3"/>
    <p:sldLayoutId id="2147484068" r:id="rId4"/>
    <p:sldLayoutId id="2147484069" r:id="rId5"/>
    <p:sldLayoutId id="2147484083" r:id="rId6"/>
    <p:sldLayoutId id="2147484084" r:id="rId7"/>
    <p:sldLayoutId id="2147484085" r:id="rId8"/>
    <p:sldLayoutId id="2147484086" r:id="rId9"/>
    <p:sldLayoutId id="2147484087" r:id="rId10"/>
    <p:sldLayoutId id="2147484070" r:id="rId11"/>
    <p:sldLayoutId id="2147484071" r:id="rId12"/>
    <p:sldLayoutId id="2147484072" r:id="rId13"/>
    <p:sldLayoutId id="2147484073" r:id="rId14"/>
    <p:sldLayoutId id="2147484074" r:id="rId15"/>
    <p:sldLayoutId id="2147484075" r:id="rId16"/>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Google Shape;115;p30">
            <a:extLst>
              <a:ext uri="{FF2B5EF4-FFF2-40B4-BE49-F238E27FC236}">
                <a16:creationId xmlns:a16="http://schemas.microsoft.com/office/drawing/2014/main" id="{990492BC-73E9-0048-1DAB-3C38B47455EA}"/>
              </a:ext>
            </a:extLst>
          </p:cNvPr>
          <p:cNvPicPr preferRelativeResize="0">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588"/>
            <a:ext cx="12188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Google Shape;116;p30">
            <a:extLst>
              <a:ext uri="{FF2B5EF4-FFF2-40B4-BE49-F238E27FC236}">
                <a16:creationId xmlns:a16="http://schemas.microsoft.com/office/drawing/2014/main" id="{6E0F2C24-4FEB-3F94-61E6-959D79B5FCB3}"/>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2052" name="Google Shape;117;p30">
            <a:extLst>
              <a:ext uri="{FF2B5EF4-FFF2-40B4-BE49-F238E27FC236}">
                <a16:creationId xmlns:a16="http://schemas.microsoft.com/office/drawing/2014/main" id="{517EDEAA-1774-F426-291C-C59138DD0ECD}"/>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E0C6D91E-D131-4DFE-B952-B9B660B6AA8A}"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pic>
        <p:nvPicPr>
          <p:cNvPr id="2053" name="Google Shape;118;p30">
            <a:extLst>
              <a:ext uri="{FF2B5EF4-FFF2-40B4-BE49-F238E27FC236}">
                <a16:creationId xmlns:a16="http://schemas.microsoft.com/office/drawing/2014/main" id="{F5F96EE4-3644-FB91-9FEF-5B1C11FFC24D}"/>
              </a:ext>
            </a:extLst>
          </p:cNvPr>
          <p:cNvPicPr preferRelativeResize="0">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67900" y="357188"/>
            <a:ext cx="2011363"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Google Shape;119;p30">
            <a:extLst>
              <a:ext uri="{FF2B5EF4-FFF2-40B4-BE49-F238E27FC236}">
                <a16:creationId xmlns:a16="http://schemas.microsoft.com/office/drawing/2014/main" id="{C30F3FB1-8DEC-03F7-4768-70675966ACC6}"/>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58" r:id="rId1"/>
    <p:sldLayoutId id="2147484060" r:id="rId2"/>
    <p:sldLayoutId id="2147484061" r:id="rId3"/>
    <p:sldLayoutId id="2147484062" r:id="rId4"/>
    <p:sldLayoutId id="2147484063" r:id="rId5"/>
    <p:sldLayoutId id="2147484064" r:id="rId6"/>
    <p:sldLayoutId id="2147484065" r:id="rId7"/>
    <p:sldLayoutId id="2147484066" r:id="rId8"/>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oogle Shape;10;p28">
            <a:extLst>
              <a:ext uri="{FF2B5EF4-FFF2-40B4-BE49-F238E27FC236}">
                <a16:creationId xmlns:a16="http://schemas.microsoft.com/office/drawing/2014/main" id="{EEC49681-2639-5CF2-0BF5-0303225D3C4D}"/>
              </a:ext>
            </a:extLst>
          </p:cNvPr>
          <p:cNvGrpSpPr>
            <a:grpSpLocks/>
          </p:cNvGrpSpPr>
          <p:nvPr/>
        </p:nvGrpSpPr>
        <p:grpSpPr bwMode="auto">
          <a:xfrm>
            <a:off x="0" y="0"/>
            <a:ext cx="12188825" cy="6858000"/>
            <a:chOff x="1" y="0"/>
            <a:chExt cx="12188824" cy="6858000"/>
          </a:xfrm>
        </p:grpSpPr>
        <p:pic>
          <p:nvPicPr>
            <p:cNvPr id="1031" name="Google Shape;11;p28">
              <a:extLst>
                <a:ext uri="{FF2B5EF4-FFF2-40B4-BE49-F238E27FC236}">
                  <a16:creationId xmlns:a16="http://schemas.microsoft.com/office/drawing/2014/main" id="{BB8B84BD-7E7E-A406-80C4-802E3E12B399}"/>
                </a:ext>
              </a:extLst>
            </p:cNvPr>
            <p:cNvPicPr preferRelativeResize="0">
              <a:picLocks noChangeAspect="1" noChangeArrowheads="1"/>
            </p:cNvPicPr>
            <p:nvPr/>
          </p:nvPicPr>
          <p:blipFill>
            <a:blip r:embed="rId15">
              <a:extLst>
                <a:ext uri="{28A0092B-C50C-407E-A947-70E740481C1C}">
                  <a14:useLocalDpi xmlns:a14="http://schemas.microsoft.com/office/drawing/2010/main" val="0"/>
                </a:ext>
              </a:extLst>
            </a:blip>
            <a:srcRect l="62766"/>
            <a:stretch>
              <a:fillRect/>
            </a:stretch>
          </p:blipFill>
          <p:spPr bwMode="auto">
            <a:xfrm>
              <a:off x="7650481" y="893"/>
              <a:ext cx="4538344" cy="6856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Google Shape;12;p28">
              <a:extLst>
                <a:ext uri="{FF2B5EF4-FFF2-40B4-BE49-F238E27FC236}">
                  <a16:creationId xmlns:a16="http://schemas.microsoft.com/office/drawing/2014/main" id="{86D7A447-D736-1E21-BDCA-3A707D371F9C}"/>
                </a:ext>
              </a:extLst>
            </p:cNvPr>
            <p:cNvPicPr preferRelativeResize="0">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570243" y="5638124"/>
              <a:ext cx="2618581" cy="121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Google Shape;13;p28">
              <a:extLst>
                <a:ext uri="{FF2B5EF4-FFF2-40B4-BE49-F238E27FC236}">
                  <a16:creationId xmlns:a16="http://schemas.microsoft.com/office/drawing/2014/main" id="{40B2A6F2-A8B6-442E-F7BD-DDB5C4FD3285}"/>
                </a:ext>
              </a:extLst>
            </p:cNvPr>
            <p:cNvPicPr preferRelativeResize="0">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50533" y="0"/>
              <a:ext cx="1938291"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Google Shape;14;p28">
              <a:extLst>
                <a:ext uri="{FF2B5EF4-FFF2-40B4-BE49-F238E27FC236}">
                  <a16:creationId xmlns:a16="http://schemas.microsoft.com/office/drawing/2014/main" id="{31995A75-DD8F-8050-F75E-F22E20DC3142}"/>
                </a:ext>
              </a:extLst>
            </p:cNvPr>
            <p:cNvPicPr preferRelativeResize="0">
              <a:picLocks noChangeAspect="1" noChangeArrowheads="1"/>
            </p:cNvPicPr>
            <p:nvPr/>
          </p:nvPicPr>
          <p:blipFill>
            <a:blip r:embed="rId15">
              <a:extLst>
                <a:ext uri="{28A0092B-C50C-407E-A947-70E740481C1C}">
                  <a14:useLocalDpi xmlns:a14="http://schemas.microsoft.com/office/drawing/2010/main" val="0"/>
                </a:ext>
              </a:extLst>
            </a:blip>
            <a:srcRect r="83505"/>
            <a:stretch>
              <a:fillRect/>
            </a:stretch>
          </p:blipFill>
          <p:spPr bwMode="auto">
            <a:xfrm>
              <a:off x="1" y="1962467"/>
              <a:ext cx="1435465" cy="489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Google Shape;15;p28">
            <a:extLst>
              <a:ext uri="{FF2B5EF4-FFF2-40B4-BE49-F238E27FC236}">
                <a16:creationId xmlns:a16="http://schemas.microsoft.com/office/drawing/2014/main" id="{54A0DB79-1734-C242-32E3-1FC547E64175}"/>
              </a:ext>
            </a:extLst>
          </p:cNvPr>
          <p:cNvSpPr txBox="1">
            <a:spLocks noGrp="1" noChangeArrowheads="1"/>
          </p:cNvSpPr>
          <p:nvPr>
            <p:ph type="body" idx="1"/>
          </p:nvPr>
        </p:nvSpPr>
        <p:spPr bwMode="auto">
          <a:xfrm>
            <a:off x="381000" y="1322388"/>
            <a:ext cx="91424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1028" name="Google Shape;16;p28">
            <a:extLst>
              <a:ext uri="{FF2B5EF4-FFF2-40B4-BE49-F238E27FC236}">
                <a16:creationId xmlns:a16="http://schemas.microsoft.com/office/drawing/2014/main" id="{2246BBEF-AF71-DB4E-57E7-F4520F8002F7}"/>
              </a:ext>
            </a:extLst>
          </p:cNvPr>
          <p:cNvSpPr txBox="1">
            <a:spLocks noChangeArrowheads="1"/>
          </p:cNvSpPr>
          <p:nvPr/>
        </p:nvSpPr>
        <p:spPr bwMode="auto">
          <a:xfrm>
            <a:off x="11455400" y="6472238"/>
            <a:ext cx="352425" cy="123825"/>
          </a:xfrm>
          <a:prstGeom prst="rect">
            <a:avLst/>
          </a:prstGeom>
          <a:noFill/>
          <a:ln>
            <a:noFill/>
          </a:ln>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defRPr/>
            </a:pPr>
            <a:fld id="{5F3D16C9-72FA-46AB-9CFC-FFAA54E44FD3}" type="slidenum">
              <a:rPr lang="en-US" altLang="en-US" sz="700" b="1" smtClean="0">
                <a:solidFill>
                  <a:srgbClr val="FFFFFF"/>
                </a:solidFill>
              </a:rPr>
              <a:pPr algn="r" eaLnBrk="1" hangingPunct="1">
                <a:buSzPts val="700"/>
                <a:defRPr/>
              </a:pPr>
              <a:t>‹#›</a:t>
            </a:fld>
            <a:endParaRPr lang="en-US" altLang="en-US" sz="700" b="1">
              <a:solidFill>
                <a:srgbClr val="FFFFFF"/>
              </a:solidFill>
            </a:endParaRPr>
          </a:p>
        </p:txBody>
      </p:sp>
      <p:pic>
        <p:nvPicPr>
          <p:cNvPr id="1029" name="Google Shape;17;p28">
            <a:extLst>
              <a:ext uri="{FF2B5EF4-FFF2-40B4-BE49-F238E27FC236}">
                <a16:creationId xmlns:a16="http://schemas.microsoft.com/office/drawing/2014/main" id="{7ED1840A-FF0E-96B0-C5FA-0B87589A1E6F}"/>
              </a:ext>
            </a:extLst>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867900" y="357188"/>
            <a:ext cx="2011363"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Google Shape;18;p28">
            <a:extLst>
              <a:ext uri="{FF2B5EF4-FFF2-40B4-BE49-F238E27FC236}">
                <a16:creationId xmlns:a16="http://schemas.microsoft.com/office/drawing/2014/main" id="{71020852-8A31-6F1D-B8AB-F387F67410A2}"/>
              </a:ext>
            </a:extLst>
          </p:cNvPr>
          <p:cNvSpPr txBox="1">
            <a:spLocks noGrp="1" noChangeArrowheads="1"/>
          </p:cNvSpPr>
          <p:nvPr>
            <p:ph type="title"/>
          </p:nvPr>
        </p:nvSpPr>
        <p:spPr bwMode="auto">
          <a:xfrm>
            <a:off x="381000" y="365125"/>
            <a:ext cx="755015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cSld>
  <p:clrMap bg1="lt1" tx1="dk1" bg2="dk2" tx2="lt2" accent1="accent1" accent2="accent2" accent3="accent3" accent4="accent4" accent5="accent5" accent6="accent6" hlink="hlink" folHlink="folHlink"/>
  <p:sldLayoutIdLst>
    <p:sldLayoutId id="2147484076" r:id="rId1"/>
    <p:sldLayoutId id="2147484051" r:id="rId2"/>
    <p:sldLayoutId id="2147484052" r:id="rId3"/>
    <p:sldLayoutId id="2147484053" r:id="rId4"/>
    <p:sldLayoutId id="2147484054" r:id="rId5"/>
    <p:sldLayoutId id="2147484077" r:id="rId6"/>
    <p:sldLayoutId id="2147484078" r:id="rId7"/>
    <p:sldLayoutId id="2147484079" r:id="rId8"/>
    <p:sldLayoutId id="2147484080" r:id="rId9"/>
    <p:sldLayoutId id="2147484056" r:id="rId10"/>
    <p:sldLayoutId id="2147484057" r:id="rId11"/>
    <p:sldLayoutId id="2147484088" r:id="rId12"/>
    <p:sldLayoutId id="2147484089" r:id="rId13"/>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0.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19.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40.png"/><Relationship Id="rId4" Type="http://schemas.openxmlformats.org/officeDocument/2006/relationships/image" Target="../media/image60.svg"/><Relationship Id="rId9" Type="http://schemas.openxmlformats.org/officeDocument/2006/relationships/image" Target="../media/image65.png"/></Relationships>
</file>

<file path=ppt/slides/_rels/slide11.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19.xml"/><Relationship Id="rId6" Type="http://schemas.openxmlformats.org/officeDocument/2006/relationships/image" Target="../media/image62.svg"/><Relationship Id="rId11" Type="http://schemas.openxmlformats.org/officeDocument/2006/relationships/image" Target="../media/image40.png"/><Relationship Id="rId5" Type="http://schemas.openxmlformats.org/officeDocument/2006/relationships/image" Target="../media/image61.png"/><Relationship Id="rId10" Type="http://schemas.openxmlformats.org/officeDocument/2006/relationships/image" Target="../media/image67.png"/><Relationship Id="rId4" Type="http://schemas.openxmlformats.org/officeDocument/2006/relationships/image" Target="../media/image60.svg"/><Relationship Id="rId9" Type="http://schemas.openxmlformats.org/officeDocument/2006/relationships/image" Target="../media/image66.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9.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0.png"/><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0.png"/><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0.png"/><Relationship Id="rId2" Type="http://schemas.openxmlformats.org/officeDocument/2006/relationships/diagramData" Target="../diagrams/data3.xml"/><Relationship Id="rId1" Type="http://schemas.openxmlformats.org/officeDocument/2006/relationships/slideLayout" Target="../slideLayouts/slideLayout2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8" Type="http://schemas.openxmlformats.org/officeDocument/2006/relationships/hyperlink" Target="https://www.uipath.com/rpa/academic-alliance" TargetMode="External"/><Relationship Id="rId13" Type="http://schemas.openxmlformats.org/officeDocument/2006/relationships/image" Target="../media/image77.png"/><Relationship Id="rId3" Type="http://schemas.openxmlformats.org/officeDocument/2006/relationships/hyperlink" Target="https://docs.uipath.com/" TargetMode="External"/><Relationship Id="rId7" Type="http://schemas.openxmlformats.org/officeDocument/2006/relationships/hyperlink" Target="https://academy.uipath.com/static-page/5" TargetMode="External"/><Relationship Id="rId12" Type="http://schemas.openxmlformats.org/officeDocument/2006/relationships/image" Target="../media/image76.png"/><Relationship Id="rId2" Type="http://schemas.openxmlformats.org/officeDocument/2006/relationships/hyperlink" Target="https://forum.uipath.com/" TargetMode="External"/><Relationship Id="rId1" Type="http://schemas.openxmlformats.org/officeDocument/2006/relationships/slideLayout" Target="../slideLayouts/slideLayout19.xml"/><Relationship Id="rId6" Type="http://schemas.openxmlformats.org/officeDocument/2006/relationships/hyperlink" Target="https://www.uipath.com/events/devcon?_ga=2.76325591.372552458.1618239302-2028535120.1618239302" TargetMode="External"/><Relationship Id="rId11" Type="http://schemas.openxmlformats.org/officeDocument/2006/relationships/image" Target="../media/image75.png"/><Relationship Id="rId5" Type="http://schemas.openxmlformats.org/officeDocument/2006/relationships/hyperlink" Target="https://community.uipath.com/hackathons/" TargetMode="External"/><Relationship Id="rId10" Type="http://schemas.openxmlformats.org/officeDocument/2006/relationships/image" Target="../media/image74.png"/><Relationship Id="rId4" Type="http://schemas.openxmlformats.org/officeDocument/2006/relationships/hyperlink" Target="https://community.uipath.com/" TargetMode="External"/><Relationship Id="rId9" Type="http://schemas.openxmlformats.org/officeDocument/2006/relationships/hyperlink" Target="https://www.uipath.com/learning/certification" TargetMode="External"/><Relationship Id="rId14"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hyperlink" Target="https://mukeshkala.com/" TargetMode="External"/><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40.png"/><Relationship Id="rId4" Type="http://schemas.openxmlformats.org/officeDocument/2006/relationships/image" Target="../media/image79.png"/><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99.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xml"/><Relationship Id="rId1" Type="http://schemas.openxmlformats.org/officeDocument/2006/relationships/slideLayout" Target="../slideLayouts/slideLayout22.xml"/><Relationship Id="rId5" Type="http://schemas.openxmlformats.org/officeDocument/2006/relationships/image" Target="../media/image40.png"/><Relationship Id="rId4" Type="http://schemas.openxmlformats.org/officeDocument/2006/relationships/image" Target="../media/image84.webp"/></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100.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xml"/><Relationship Id="rId6" Type="http://schemas.openxmlformats.org/officeDocument/2006/relationships/image" Target="../media/image90.jpeg"/><Relationship Id="rId5" Type="http://schemas.openxmlformats.org/officeDocument/2006/relationships/image" Target="../media/image89.tiff"/><Relationship Id="rId4" Type="http://schemas.openxmlformats.org/officeDocument/2006/relationships/image" Target="../media/image88.tiff"/></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40.png"/><Relationship Id="rId4" Type="http://schemas.openxmlformats.org/officeDocument/2006/relationships/image" Target="../media/image92.svg"/></Relationships>
</file>

<file path=ppt/slides/_rels/slide2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image" Target="../media/image93.emf"/><Relationship Id="rId1" Type="http://schemas.openxmlformats.org/officeDocument/2006/relationships/slideLayout" Target="../slideLayouts/slideLayout4.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100.xml"/><Relationship Id="rId6" Type="http://schemas.openxmlformats.org/officeDocument/2006/relationships/image" Target="../media/image40.png"/><Relationship Id="rId5" Type="http://schemas.openxmlformats.org/officeDocument/2006/relationships/image" Target="../media/image102.png"/><Relationship Id="rId4" Type="http://schemas.openxmlformats.org/officeDocument/2006/relationships/image" Target="../media/image101.png"/></Relationships>
</file>

<file path=ppt/slides/_rels/slide27.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2.xml"/><Relationship Id="rId1" Type="http://schemas.openxmlformats.org/officeDocument/2006/relationships/slideLayout" Target="../slideLayouts/slideLayout100.xml"/><Relationship Id="rId5" Type="http://schemas.openxmlformats.org/officeDocument/2006/relationships/image" Target="../media/image40.png"/><Relationship Id="rId4" Type="http://schemas.openxmlformats.org/officeDocument/2006/relationships/image" Target="../media/image104.gif"/></Relationships>
</file>

<file path=ppt/slides/_rels/slide2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3.xml"/><Relationship Id="rId1" Type="http://schemas.openxmlformats.org/officeDocument/2006/relationships/slideLayout" Target="../slideLayouts/slideLayout100.xml"/><Relationship Id="rId5" Type="http://schemas.openxmlformats.org/officeDocument/2006/relationships/image" Target="../media/image40.png"/><Relationship Id="rId4" Type="http://schemas.openxmlformats.org/officeDocument/2006/relationships/image" Target="../media/image106.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07.jpeg"/><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3" Type="http://schemas.openxmlformats.org/officeDocument/2006/relationships/hyperlink" Target="https://upes-open.org/" TargetMode="External"/><Relationship Id="rId2" Type="http://schemas.openxmlformats.org/officeDocument/2006/relationships/notesSlide" Target="../notesSlides/notesSlide2.xml"/><Relationship Id="rId1" Type="http://schemas.openxmlformats.org/officeDocument/2006/relationships/slideLayout" Target="../slideLayouts/slideLayout99.xml"/><Relationship Id="rId4" Type="http://schemas.openxmlformats.org/officeDocument/2006/relationships/image" Target="../media/image40.png"/></Relationships>
</file>

<file path=ppt/slides/_rels/slide30.xml.rels><?xml version="1.0" encoding="UTF-8" standalone="yes"?>
<Relationships xmlns="http://schemas.openxmlformats.org/package/2006/relationships"><Relationship Id="rId3" Type="http://schemas.openxmlformats.org/officeDocument/2006/relationships/hyperlink" Target="https://bit.ly/3rOHDkd" TargetMode="External"/><Relationship Id="rId2" Type="http://schemas.openxmlformats.org/officeDocument/2006/relationships/notesSlide" Target="../notesSlides/notesSlide14.xml"/><Relationship Id="rId1" Type="http://schemas.openxmlformats.org/officeDocument/2006/relationships/slideLayout" Target="../slideLayouts/slideLayout100.xml"/><Relationship Id="rId5" Type="http://schemas.openxmlformats.org/officeDocument/2006/relationships/image" Target="../media/image40.png"/><Relationship Id="rId4" Type="http://schemas.openxmlformats.org/officeDocument/2006/relationships/hyperlink" Target="https://docs.uipath.com/installation-and-upgrade/docs/studio-install-studio"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100.xml"/><Relationship Id="rId5" Type="http://schemas.openxmlformats.org/officeDocument/2006/relationships/image" Target="../media/image40.png"/><Relationship Id="rId4" Type="http://schemas.openxmlformats.org/officeDocument/2006/relationships/image" Target="../media/image109.pn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uipath.com/studentdevelopers/" TargetMode="External"/><Relationship Id="rId2" Type="http://schemas.openxmlformats.org/officeDocument/2006/relationships/notesSlide" Target="../notesSlides/notesSlide16.xml"/><Relationship Id="rId1" Type="http://schemas.openxmlformats.org/officeDocument/2006/relationships/slideLayout" Target="../slideLayouts/slideLayout91.xml"/><Relationship Id="rId6" Type="http://schemas.openxmlformats.org/officeDocument/2006/relationships/image" Target="../media/image40.png"/><Relationship Id="rId5" Type="http://schemas.openxmlformats.org/officeDocument/2006/relationships/image" Target="../media/image110.png"/><Relationship Id="rId4" Type="http://schemas.openxmlformats.org/officeDocument/2006/relationships/hyperlink" Target="https://upes-open.or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99.xml"/><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99.xml"/><Relationship Id="rId5" Type="http://schemas.openxmlformats.org/officeDocument/2006/relationships/image" Target="../media/image113.png"/><Relationship Id="rId4" Type="http://schemas.openxmlformats.org/officeDocument/2006/relationships/image" Target="../media/image112.png"/></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20.xml"/><Relationship Id="rId1" Type="http://schemas.openxmlformats.org/officeDocument/2006/relationships/slideLayout" Target="../slideLayouts/slideLayout8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99.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hyperlink" Target="https://mukeshkala.com/" TargetMode="External"/><Relationship Id="rId2" Type="http://schemas.openxmlformats.org/officeDocument/2006/relationships/image" Target="../media/image41.png"/><Relationship Id="rId1" Type="http://schemas.openxmlformats.org/officeDocument/2006/relationships/slideLayout" Target="../slideLayouts/slideLayout18.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00.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40.png"/><Relationship Id="rId4" Type="http://schemas.openxmlformats.org/officeDocument/2006/relationships/image" Target="../media/image52.png"/><Relationship Id="rId9"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B941FB-775F-3A03-3C88-E9FC68B42A89}"/>
              </a:ext>
            </a:extLst>
          </p:cNvPr>
          <p:cNvPicPr>
            <a:picLocks noChangeAspect="1"/>
          </p:cNvPicPr>
          <p:nvPr/>
        </p:nvPicPr>
        <p:blipFill>
          <a:blip r:embed="rId2"/>
          <a:stretch>
            <a:fillRect/>
          </a:stretch>
        </p:blipFill>
        <p:spPr>
          <a:xfrm>
            <a:off x="3712386" y="579074"/>
            <a:ext cx="1184110" cy="1184110"/>
          </a:xfrm>
          <a:prstGeom prst="rect">
            <a:avLst/>
          </a:prstGeom>
        </p:spPr>
      </p:pic>
      <p:pic>
        <p:nvPicPr>
          <p:cNvPr id="4" name="Picture 3">
            <a:extLst>
              <a:ext uri="{FF2B5EF4-FFF2-40B4-BE49-F238E27FC236}">
                <a16:creationId xmlns:a16="http://schemas.microsoft.com/office/drawing/2014/main" id="{9F8EE430-E7DF-2984-4710-7DB66EA604B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816" b="89980" l="8917" r="93083">
                        <a14:foregroundMark x1="8250" y1="33333" x2="8417" y2="46830"/>
                        <a14:foregroundMark x1="8417" y1="46830" x2="8917" y2="34560"/>
                        <a14:foregroundMark x1="8917" y1="34560" x2="9583" y2="38650"/>
                        <a14:foregroundMark x1="9500" y1="65031" x2="12250" y2="73415"/>
                        <a14:foregroundMark x1="12250" y1="73415" x2="18167" y2="76483"/>
                        <a14:foregroundMark x1="18167" y1="76483" x2="22000" y2="69734"/>
                        <a14:foregroundMark x1="22000" y1="69734" x2="23250" y2="63599"/>
                        <a14:foregroundMark x1="13000" y1="49080" x2="12750" y2="59918"/>
                        <a14:foregroundMark x1="12750" y1="59918" x2="16500" y2="66258"/>
                        <a14:foregroundMark x1="16500" y1="66258" x2="23167" y2="51125"/>
                        <a14:foregroundMark x1="23167" y1="51125" x2="23417" y2="49898"/>
                        <a14:foregroundMark x1="46917" y1="33742" x2="52023" y2="36036"/>
                        <a14:foregroundMark x1="63417" y1="32515" x2="68667" y2="31697"/>
                        <a14:foregroundMark x1="68667" y1="31697" x2="75333" y2="33333"/>
                        <a14:foregroundMark x1="63417" y1="54601" x2="73333" y2="53988"/>
                        <a14:foregroundMark x1="94083" y1="40695" x2="91167" y2="32720"/>
                        <a14:foregroundMark x1="91167" y1="32720" x2="86917" y2="32311"/>
                        <a14:foregroundMark x1="86917" y1="32311" x2="83833" y2="39059"/>
                        <a14:foregroundMark x1="83833" y1="39059" x2="84667" y2="49489"/>
                        <a14:foregroundMark x1="84667" y1="49489" x2="92750" y2="60532"/>
                        <a14:foregroundMark x1="92750" y1="60532" x2="93083" y2="70961"/>
                        <a14:foregroundMark x1="93083" y1="70961" x2="88417" y2="76074"/>
                        <a14:foregroundMark x1="88417" y1="76074" x2="84000" y2="72597"/>
                        <a14:foregroundMark x1="84000" y1="72597" x2="82500" y2="67485"/>
                        <a14:backgroundMark x1="53667" y1="37832" x2="54667" y2="40695"/>
                        <a14:backgroundMark x1="52167" y1="36605" x2="55333" y2="42536"/>
                        <a14:backgroundMark x1="51917" y1="36401" x2="52417" y2="36605"/>
                      </a14:backgroundRemoval>
                    </a14:imgEffect>
                  </a14:imgLayer>
                </a14:imgProps>
              </a:ext>
            </a:extLst>
          </a:blip>
          <a:stretch>
            <a:fillRect/>
          </a:stretch>
        </p:blipFill>
        <p:spPr>
          <a:xfrm>
            <a:off x="4896496" y="519469"/>
            <a:ext cx="2630646" cy="1071988"/>
          </a:xfrm>
          <a:prstGeom prst="rect">
            <a:avLst/>
          </a:prstGeom>
        </p:spPr>
      </p:pic>
      <p:sp>
        <p:nvSpPr>
          <p:cNvPr id="6" name="TextBox 5">
            <a:extLst>
              <a:ext uri="{FF2B5EF4-FFF2-40B4-BE49-F238E27FC236}">
                <a16:creationId xmlns:a16="http://schemas.microsoft.com/office/drawing/2014/main" id="{9B732628-B917-FF71-9426-DAB5133961F0}"/>
              </a:ext>
            </a:extLst>
          </p:cNvPr>
          <p:cNvSpPr txBox="1"/>
          <p:nvPr/>
        </p:nvSpPr>
        <p:spPr>
          <a:xfrm>
            <a:off x="3048000" y="3182779"/>
            <a:ext cx="6096000" cy="492443"/>
          </a:xfrm>
          <a:prstGeom prst="rect">
            <a:avLst/>
          </a:prstGeom>
          <a:noFill/>
        </p:spPr>
        <p:txBody>
          <a:bodyPr wrap="square">
            <a:spAutoFit/>
          </a:bodyPr>
          <a:lstStyle/>
          <a:p>
            <a:r>
              <a:rPr lang="en-IN" sz="1800" b="1">
                <a:solidFill>
                  <a:schemeClr val="bg1"/>
                </a:solidFill>
                <a:cs typeface="Arial"/>
              </a:rPr>
              <a:t>Open Community </a:t>
            </a:r>
          </a:p>
          <a:p>
            <a:endParaRPr lang="en-IN" sz="800">
              <a:latin typeface="Arial"/>
              <a:cs typeface="Arial"/>
            </a:endParaRPr>
          </a:p>
        </p:txBody>
      </p:sp>
      <p:sp>
        <p:nvSpPr>
          <p:cNvPr id="8" name="TextBox 7">
            <a:extLst>
              <a:ext uri="{FF2B5EF4-FFF2-40B4-BE49-F238E27FC236}">
                <a16:creationId xmlns:a16="http://schemas.microsoft.com/office/drawing/2014/main" id="{DCD5FB94-F346-FDC1-DE18-9676646597F0}"/>
              </a:ext>
            </a:extLst>
          </p:cNvPr>
          <p:cNvSpPr txBox="1"/>
          <p:nvPr/>
        </p:nvSpPr>
        <p:spPr>
          <a:xfrm>
            <a:off x="3206761" y="2129531"/>
            <a:ext cx="9489439" cy="1569660"/>
          </a:xfrm>
          <a:prstGeom prst="rect">
            <a:avLst/>
          </a:prstGeom>
          <a:noFill/>
        </p:spPr>
        <p:txBody>
          <a:bodyPr wrap="square">
            <a:spAutoFit/>
          </a:bodyPr>
          <a:lstStyle/>
          <a:p>
            <a:r>
              <a:rPr lang="en-IN" sz="4800" b="1">
                <a:latin typeface="Century" panose="02040604050505020304" pitchFamily="18" charset="0"/>
                <a:cs typeface="Arial"/>
              </a:rPr>
              <a:t>Open Community </a:t>
            </a:r>
          </a:p>
          <a:p>
            <a:endParaRPr lang="en-IN" sz="4800">
              <a:latin typeface="Century" panose="02040604050505020304" pitchFamily="18" charset="0"/>
              <a:cs typeface="Arial"/>
            </a:endParaRPr>
          </a:p>
        </p:txBody>
      </p:sp>
      <p:sp>
        <p:nvSpPr>
          <p:cNvPr id="10" name="TextBox 9">
            <a:extLst>
              <a:ext uri="{FF2B5EF4-FFF2-40B4-BE49-F238E27FC236}">
                <a16:creationId xmlns:a16="http://schemas.microsoft.com/office/drawing/2014/main" id="{A193F84A-751F-9D94-8220-FCD98E847A4F}"/>
              </a:ext>
            </a:extLst>
          </p:cNvPr>
          <p:cNvSpPr txBox="1"/>
          <p:nvPr/>
        </p:nvSpPr>
        <p:spPr>
          <a:xfrm>
            <a:off x="4125547" y="3175528"/>
            <a:ext cx="6096000" cy="461665"/>
          </a:xfrm>
          <a:prstGeom prst="rect">
            <a:avLst/>
          </a:prstGeom>
          <a:noFill/>
        </p:spPr>
        <p:txBody>
          <a:bodyPr wrap="square">
            <a:spAutoFit/>
          </a:bodyPr>
          <a:lstStyle/>
          <a:p>
            <a:r>
              <a:rPr lang="en-IN" sz="2400" b="1">
                <a:latin typeface="Lucida Handwriting" panose="03010101010101010101" pitchFamily="66" charset="0"/>
                <a:cs typeface="Arial"/>
              </a:rPr>
              <a:t>Welcomes You All</a:t>
            </a:r>
          </a:p>
        </p:txBody>
      </p:sp>
      <p:sp>
        <p:nvSpPr>
          <p:cNvPr id="12" name="TextBox 11">
            <a:extLst>
              <a:ext uri="{FF2B5EF4-FFF2-40B4-BE49-F238E27FC236}">
                <a16:creationId xmlns:a16="http://schemas.microsoft.com/office/drawing/2014/main" id="{8C350C20-8CDE-52FC-F190-F8DC6C5106DC}"/>
              </a:ext>
            </a:extLst>
          </p:cNvPr>
          <p:cNvSpPr txBox="1"/>
          <p:nvPr/>
        </p:nvSpPr>
        <p:spPr>
          <a:xfrm>
            <a:off x="5232400" y="3828550"/>
            <a:ext cx="6096000" cy="369332"/>
          </a:xfrm>
          <a:prstGeom prst="rect">
            <a:avLst/>
          </a:prstGeom>
          <a:noFill/>
        </p:spPr>
        <p:txBody>
          <a:bodyPr wrap="square">
            <a:spAutoFit/>
          </a:bodyPr>
          <a:lstStyle/>
          <a:p>
            <a:r>
              <a:rPr lang="en-IN" sz="1800" b="1">
                <a:latin typeface="Century" panose="02040604050505020304" pitchFamily="18" charset="0"/>
                <a:cs typeface="Arial"/>
              </a:rPr>
              <a:t>FOR</a:t>
            </a:r>
          </a:p>
        </p:txBody>
      </p:sp>
      <p:sp>
        <p:nvSpPr>
          <p:cNvPr id="14" name="TextBox 13">
            <a:extLst>
              <a:ext uri="{FF2B5EF4-FFF2-40B4-BE49-F238E27FC236}">
                <a16:creationId xmlns:a16="http://schemas.microsoft.com/office/drawing/2014/main" id="{48B7B3E9-DDBE-981A-C4DE-19FA24533A50}"/>
              </a:ext>
            </a:extLst>
          </p:cNvPr>
          <p:cNvSpPr txBox="1"/>
          <p:nvPr/>
        </p:nvSpPr>
        <p:spPr>
          <a:xfrm>
            <a:off x="4381032" y="4498814"/>
            <a:ext cx="8636000" cy="707886"/>
          </a:xfrm>
          <a:prstGeom prst="rect">
            <a:avLst/>
          </a:prstGeom>
          <a:noFill/>
        </p:spPr>
        <p:txBody>
          <a:bodyPr wrap="square">
            <a:spAutoFit/>
          </a:bodyPr>
          <a:lstStyle/>
          <a:p>
            <a:r>
              <a:rPr lang="en-IN" sz="4000" b="1">
                <a:latin typeface="Century" panose="02040604050505020304" pitchFamily="18" charset="0"/>
                <a:cs typeface="Arial"/>
              </a:rPr>
              <a:t>“RPA 3.0”</a:t>
            </a:r>
          </a:p>
        </p:txBody>
      </p:sp>
    </p:spTree>
    <p:extLst>
      <p:ext uri="{BB962C8B-B14F-4D97-AF65-F5344CB8AC3E}">
        <p14:creationId xmlns:p14="http://schemas.microsoft.com/office/powerpoint/2010/main" val="3296805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310C17C-E943-00F7-BF2D-1A28EE826276}"/>
              </a:ext>
            </a:extLst>
          </p:cNvPr>
          <p:cNvSpPr txBox="1">
            <a:spLocks/>
          </p:cNvSpPr>
          <p:nvPr/>
        </p:nvSpPr>
        <p:spPr>
          <a:xfrm>
            <a:off x="508450" y="106621"/>
            <a:ext cx="9702447" cy="791334"/>
          </a:xfrm>
          <a:prstGeom prst="rect">
            <a:avLst/>
          </a:prstGeom>
        </p:spPr>
        <p:txBody>
          <a:bodyPr vert="horz" lIns="91344" tIns="45672" rIns="91344" bIns="45672"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3304"/>
            <a:r>
              <a:rPr lang="en-US" sz="3197" b="1">
                <a:solidFill>
                  <a:srgbClr val="FA4616"/>
                </a:solidFill>
                <a:latin typeface="Arial"/>
              </a:rPr>
              <a:t>Global : </a:t>
            </a:r>
            <a:r>
              <a:rPr lang="en-US" sz="3197" b="1">
                <a:solidFill>
                  <a:srgbClr val="58595B"/>
                </a:solidFill>
                <a:latin typeface="Arial"/>
              </a:rPr>
              <a:t>Automation Growth &amp; Prospects</a:t>
            </a:r>
            <a:endParaRPr lang="en-US" sz="3197" b="1">
              <a:solidFill>
                <a:srgbClr val="58595B"/>
              </a:solidFill>
              <a:latin typeface="Calibri Light" panose="020F0302020204030204"/>
            </a:endParaRPr>
          </a:p>
        </p:txBody>
      </p:sp>
      <p:grpSp>
        <p:nvGrpSpPr>
          <p:cNvPr id="7" name="Group 6">
            <a:extLst>
              <a:ext uri="{FF2B5EF4-FFF2-40B4-BE49-F238E27FC236}">
                <a16:creationId xmlns:a16="http://schemas.microsoft.com/office/drawing/2014/main" id="{9A516E6E-4064-4314-8880-4C157097BDE0}"/>
              </a:ext>
            </a:extLst>
          </p:cNvPr>
          <p:cNvGrpSpPr/>
          <p:nvPr/>
        </p:nvGrpSpPr>
        <p:grpSpPr>
          <a:xfrm>
            <a:off x="286507" y="2878535"/>
            <a:ext cx="5489644" cy="1609585"/>
            <a:chOff x="502624" y="2877960"/>
            <a:chExt cx="5495366" cy="1611262"/>
          </a:xfrm>
        </p:grpSpPr>
        <p:pic>
          <p:nvPicPr>
            <p:cNvPr id="8" name="Picture 7">
              <a:extLst>
                <a:ext uri="{FF2B5EF4-FFF2-40B4-BE49-F238E27FC236}">
                  <a16:creationId xmlns:a16="http://schemas.microsoft.com/office/drawing/2014/main" id="{F8395A2B-3D11-077E-7555-4DBB45DF41F9}"/>
                </a:ext>
              </a:extLst>
            </p:cNvPr>
            <p:cNvPicPr>
              <a:picLocks noChangeAspect="1"/>
            </p:cNvPicPr>
            <p:nvPr/>
          </p:nvPicPr>
          <p:blipFill>
            <a:blip r:embed="rId2"/>
            <a:srcRect/>
            <a:stretch/>
          </p:blipFill>
          <p:spPr>
            <a:xfrm>
              <a:off x="502624" y="2877960"/>
              <a:ext cx="5495366" cy="1611262"/>
            </a:xfrm>
            <a:prstGeom prst="rect">
              <a:avLst/>
            </a:prstGeom>
          </p:spPr>
        </p:pic>
        <p:sp>
          <p:nvSpPr>
            <p:cNvPr id="9" name="TextBox 8">
              <a:extLst>
                <a:ext uri="{FF2B5EF4-FFF2-40B4-BE49-F238E27FC236}">
                  <a16:creationId xmlns:a16="http://schemas.microsoft.com/office/drawing/2014/main" id="{137D5B7E-8B01-985B-DF83-59133F80756B}"/>
                </a:ext>
              </a:extLst>
            </p:cNvPr>
            <p:cNvSpPr txBox="1"/>
            <p:nvPr/>
          </p:nvSpPr>
          <p:spPr>
            <a:xfrm>
              <a:off x="1875080" y="3432036"/>
              <a:ext cx="3210696" cy="8622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r>
                <a:rPr lang="en-US" sz="1050">
                  <a:solidFill>
                    <a:prstClr val="black"/>
                  </a:solidFill>
                </a:rPr>
                <a:t>The global </a:t>
              </a:r>
              <a:r>
                <a:rPr lang="en-US" sz="1050" b="1">
                  <a:solidFill>
                    <a:prstClr val="black"/>
                  </a:solidFill>
                </a:rPr>
                <a:t>Automation market size</a:t>
              </a:r>
              <a:r>
                <a:rPr lang="en-US" sz="1050">
                  <a:solidFill>
                    <a:prstClr val="black"/>
                  </a:solidFill>
                </a:rPr>
                <a:t> is anticipated to exhibit a CAGR of 32.8% over the forecast period from 2021 to 2028 for a worth of 13.74 billion in 2028 from 1.57 billion in 2020.</a:t>
              </a:r>
            </a:p>
            <a:p>
              <a:pPr defTabSz="913304"/>
              <a:endParaRPr lang="en-US" sz="200">
                <a:solidFill>
                  <a:prstClr val="black"/>
                </a:solidFill>
              </a:endParaRPr>
            </a:p>
            <a:p>
              <a:pPr defTabSz="913304"/>
              <a:r>
                <a:rPr lang="en-US" sz="1050">
                  <a:solidFill>
                    <a:prstClr val="black"/>
                  </a:solidFill>
                </a:rPr>
                <a:t>                               </a:t>
              </a:r>
              <a:r>
                <a:rPr lang="en-US" sz="1050" err="1">
                  <a:solidFill>
                    <a:prstClr val="black"/>
                  </a:solidFill>
                </a:rPr>
                <a:t>www.grandviewresearch.com</a:t>
              </a:r>
              <a:endParaRPr lang="en-US" sz="1050">
                <a:solidFill>
                  <a:prstClr val="black"/>
                </a:solidFill>
              </a:endParaRPr>
            </a:p>
          </p:txBody>
        </p:sp>
        <p:sp>
          <p:nvSpPr>
            <p:cNvPr id="10" name="TextBox 9">
              <a:extLst>
                <a:ext uri="{FF2B5EF4-FFF2-40B4-BE49-F238E27FC236}">
                  <a16:creationId xmlns:a16="http://schemas.microsoft.com/office/drawing/2014/main" id="{593B166A-862A-824F-8FD6-EE41DCAA8680}"/>
                </a:ext>
              </a:extLst>
            </p:cNvPr>
            <p:cNvSpPr txBox="1"/>
            <p:nvPr/>
          </p:nvSpPr>
          <p:spPr>
            <a:xfrm>
              <a:off x="2284555" y="3032806"/>
              <a:ext cx="2936376" cy="1847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prstClr val="white"/>
                  </a:solidFill>
                  <a:latin typeface="Arial" panose="020B0604020202020204" pitchFamily="34" charset="0"/>
                  <a:ea typeface="+mj-lt"/>
                  <a:cs typeface="Arial" panose="020B0604020202020204" pitchFamily="34" charset="0"/>
                </a:rPr>
                <a:t>RPA Market Size Growth Global </a:t>
              </a:r>
              <a:endParaRPr lang="en-US" sz="1200" b="1">
                <a:solidFill>
                  <a:prstClr val="white"/>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AE92E587-1CF8-CA1F-76D2-B51A7D46AB3F}"/>
                </a:ext>
              </a:extLst>
            </p:cNvPr>
            <p:cNvSpPr txBox="1"/>
            <p:nvPr/>
          </p:nvSpPr>
          <p:spPr>
            <a:xfrm>
              <a:off x="647600" y="3272033"/>
              <a:ext cx="906408" cy="5542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798" b="1">
                  <a:solidFill>
                    <a:prstClr val="white"/>
                  </a:solidFill>
                  <a:latin typeface="Arial" panose="020B0604020202020204" pitchFamily="34" charset="0"/>
                  <a:ea typeface="+mj-lt"/>
                  <a:cs typeface="Arial" panose="020B0604020202020204" pitchFamily="34" charset="0"/>
                </a:rPr>
                <a:t>32.8% </a:t>
              </a:r>
            </a:p>
            <a:p>
              <a:pPr algn="ctr" defTabSz="913304"/>
              <a:r>
                <a:rPr lang="en-US" sz="1798" b="1">
                  <a:solidFill>
                    <a:prstClr val="white"/>
                  </a:solidFill>
                  <a:latin typeface="Arial" panose="020B0604020202020204" pitchFamily="34" charset="0"/>
                  <a:ea typeface="+mj-lt"/>
                  <a:cs typeface="Arial" panose="020B0604020202020204" pitchFamily="34" charset="0"/>
                </a:rPr>
                <a:t>CAGR</a:t>
              </a:r>
              <a:endParaRPr lang="en-US" sz="1600">
                <a:solidFill>
                  <a:prstClr val="white"/>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CF6C1F8F-8069-AD49-FF36-08492C416B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4912" y="3764015"/>
              <a:ext cx="508062" cy="508062"/>
            </a:xfrm>
            <a:prstGeom prst="rect">
              <a:avLst/>
            </a:prstGeom>
          </p:spPr>
        </p:pic>
      </p:grpSp>
      <p:grpSp>
        <p:nvGrpSpPr>
          <p:cNvPr id="13" name="Group 12">
            <a:extLst>
              <a:ext uri="{FF2B5EF4-FFF2-40B4-BE49-F238E27FC236}">
                <a16:creationId xmlns:a16="http://schemas.microsoft.com/office/drawing/2014/main" id="{2E7DDD9C-6D6C-850E-2256-54C63044636A}"/>
              </a:ext>
            </a:extLst>
          </p:cNvPr>
          <p:cNvGrpSpPr/>
          <p:nvPr/>
        </p:nvGrpSpPr>
        <p:grpSpPr>
          <a:xfrm>
            <a:off x="286507" y="911646"/>
            <a:ext cx="5489644" cy="1609586"/>
            <a:chOff x="502624" y="896758"/>
            <a:chExt cx="5495366" cy="1611263"/>
          </a:xfrm>
        </p:grpSpPr>
        <p:pic>
          <p:nvPicPr>
            <p:cNvPr id="14" name="Picture 13" descr="A picture containing shape&#10;&#10;Description automatically generated">
              <a:extLst>
                <a:ext uri="{FF2B5EF4-FFF2-40B4-BE49-F238E27FC236}">
                  <a16:creationId xmlns:a16="http://schemas.microsoft.com/office/drawing/2014/main" id="{67637258-D87A-A422-0DA8-070AB420E7A9}"/>
                </a:ext>
              </a:extLst>
            </p:cNvPr>
            <p:cNvPicPr>
              <a:picLocks noChangeAspect="1"/>
            </p:cNvPicPr>
            <p:nvPr/>
          </p:nvPicPr>
          <p:blipFill>
            <a:blip r:embed="rId2"/>
            <a:stretch>
              <a:fillRect/>
            </a:stretch>
          </p:blipFill>
          <p:spPr>
            <a:xfrm>
              <a:off x="502624" y="896758"/>
              <a:ext cx="5495366" cy="1611263"/>
            </a:xfrm>
            <a:prstGeom prst="rect">
              <a:avLst/>
            </a:prstGeom>
          </p:spPr>
        </p:pic>
        <p:sp>
          <p:nvSpPr>
            <p:cNvPr id="15" name="TextBox 14">
              <a:extLst>
                <a:ext uri="{FF2B5EF4-FFF2-40B4-BE49-F238E27FC236}">
                  <a16:creationId xmlns:a16="http://schemas.microsoft.com/office/drawing/2014/main" id="{2D0346BD-E24B-6A98-7CBB-7DE7937D3B80}"/>
                </a:ext>
              </a:extLst>
            </p:cNvPr>
            <p:cNvSpPr txBox="1"/>
            <p:nvPr/>
          </p:nvSpPr>
          <p:spPr>
            <a:xfrm>
              <a:off x="2248695" y="1041114"/>
              <a:ext cx="2936376" cy="1847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prstClr val="white"/>
                  </a:solidFill>
                  <a:latin typeface="Arial" panose="020B0604020202020204" pitchFamily="34" charset="0"/>
                  <a:cs typeface="Arial" panose="020B0604020202020204" pitchFamily="34" charset="0"/>
                </a:rPr>
                <a:t>Future of work – Global </a:t>
              </a:r>
            </a:p>
          </p:txBody>
        </p:sp>
        <p:sp>
          <p:nvSpPr>
            <p:cNvPr id="16" name="TextBox 15">
              <a:extLst>
                <a:ext uri="{FF2B5EF4-FFF2-40B4-BE49-F238E27FC236}">
                  <a16:creationId xmlns:a16="http://schemas.microsoft.com/office/drawing/2014/main" id="{3B2FE0EA-ABFE-E488-0C19-8B1160B161A2}"/>
                </a:ext>
              </a:extLst>
            </p:cNvPr>
            <p:cNvSpPr txBox="1"/>
            <p:nvPr/>
          </p:nvSpPr>
          <p:spPr>
            <a:xfrm>
              <a:off x="623149" y="1245962"/>
              <a:ext cx="906408" cy="70825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2798" b="1">
                  <a:solidFill>
                    <a:prstClr val="white"/>
                  </a:solidFill>
                  <a:latin typeface="Arial" panose="020B0604020202020204" pitchFamily="34" charset="0"/>
                  <a:ea typeface="+mj-lt"/>
                  <a:cs typeface="Arial" panose="020B0604020202020204" pitchFamily="34" charset="0"/>
                </a:rPr>
                <a:t>97</a:t>
              </a:r>
            </a:p>
            <a:p>
              <a:pPr algn="ctr" defTabSz="913304"/>
              <a:r>
                <a:rPr lang="en-US" sz="1798" b="1">
                  <a:solidFill>
                    <a:prstClr val="white"/>
                  </a:solidFill>
                  <a:latin typeface="Arial" panose="020B0604020202020204" pitchFamily="34" charset="0"/>
                  <a:ea typeface="+mj-lt"/>
                  <a:cs typeface="Arial" panose="020B0604020202020204" pitchFamily="34" charset="0"/>
                </a:rPr>
                <a:t>million</a:t>
              </a:r>
            </a:p>
          </p:txBody>
        </p:sp>
        <p:sp>
          <p:nvSpPr>
            <p:cNvPr id="17" name="TextBox 16">
              <a:extLst>
                <a:ext uri="{FF2B5EF4-FFF2-40B4-BE49-F238E27FC236}">
                  <a16:creationId xmlns:a16="http://schemas.microsoft.com/office/drawing/2014/main" id="{F8BD81F5-4D9C-161F-EF47-86FF6C2A034D}"/>
                </a:ext>
              </a:extLst>
            </p:cNvPr>
            <p:cNvSpPr txBox="1"/>
            <p:nvPr/>
          </p:nvSpPr>
          <p:spPr>
            <a:xfrm>
              <a:off x="1875080" y="1536394"/>
              <a:ext cx="3210696" cy="7621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r>
                <a:rPr lang="en-US" sz="1050">
                  <a:solidFill>
                    <a:prstClr val="black"/>
                  </a:solidFill>
                  <a:latin typeface="Arial" panose="020B0604020202020204" pitchFamily="34" charset="0"/>
                  <a:cs typeface="Arial" panose="020B0604020202020204" pitchFamily="34" charset="0"/>
                </a:rPr>
                <a:t>By 2025, 85 million jobs may be replaced, and 97 million new roles created, with new relationships  between humans, machines, and algorithms</a:t>
              </a:r>
            </a:p>
            <a:p>
              <a:pPr defTabSz="913304"/>
              <a:endParaRPr lang="en-US" sz="700">
                <a:solidFill>
                  <a:prstClr val="black"/>
                </a:solidFill>
                <a:latin typeface="Arial" panose="020B0604020202020204" pitchFamily="34" charset="0"/>
                <a:cs typeface="Arial" panose="020B0604020202020204" pitchFamily="34" charset="0"/>
              </a:endParaRPr>
            </a:p>
            <a:p>
              <a:pPr defTabSz="913304"/>
              <a:r>
                <a:rPr lang="en-US" sz="1050">
                  <a:solidFill>
                    <a:prstClr val="black"/>
                  </a:solidFill>
                  <a:latin typeface="Arial" panose="020B0604020202020204" pitchFamily="34" charset="0"/>
                  <a:cs typeface="Arial" panose="020B0604020202020204" pitchFamily="34" charset="0"/>
                </a:rPr>
                <a:t>                        Future of Work Report 2020 – WEF</a:t>
              </a:r>
            </a:p>
          </p:txBody>
        </p:sp>
        <p:pic>
          <p:nvPicPr>
            <p:cNvPr id="18" name="Graphic 17">
              <a:extLst>
                <a:ext uri="{FF2B5EF4-FFF2-40B4-BE49-F238E27FC236}">
                  <a16:creationId xmlns:a16="http://schemas.microsoft.com/office/drawing/2014/main" id="{3A3AAE00-CFB4-5772-5B21-136A8F3D63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47825" y="1768278"/>
              <a:ext cx="530708" cy="530708"/>
            </a:xfrm>
            <a:prstGeom prst="rect">
              <a:avLst/>
            </a:prstGeom>
          </p:spPr>
        </p:pic>
      </p:grpSp>
      <p:grpSp>
        <p:nvGrpSpPr>
          <p:cNvPr id="19" name="Group 18">
            <a:extLst>
              <a:ext uri="{FF2B5EF4-FFF2-40B4-BE49-F238E27FC236}">
                <a16:creationId xmlns:a16="http://schemas.microsoft.com/office/drawing/2014/main" id="{78774467-72A9-9C32-4302-5490B3C4C00E}"/>
              </a:ext>
            </a:extLst>
          </p:cNvPr>
          <p:cNvGrpSpPr/>
          <p:nvPr/>
        </p:nvGrpSpPr>
        <p:grpSpPr>
          <a:xfrm>
            <a:off x="286507" y="4735196"/>
            <a:ext cx="5489644" cy="1609585"/>
            <a:chOff x="502624" y="4859161"/>
            <a:chExt cx="5495366" cy="1611262"/>
          </a:xfrm>
        </p:grpSpPr>
        <p:pic>
          <p:nvPicPr>
            <p:cNvPr id="20" name="Picture 19">
              <a:extLst>
                <a:ext uri="{FF2B5EF4-FFF2-40B4-BE49-F238E27FC236}">
                  <a16:creationId xmlns:a16="http://schemas.microsoft.com/office/drawing/2014/main" id="{62072964-CA84-A948-406B-5AEFFD234B93}"/>
                </a:ext>
              </a:extLst>
            </p:cNvPr>
            <p:cNvPicPr>
              <a:picLocks noChangeAspect="1"/>
            </p:cNvPicPr>
            <p:nvPr/>
          </p:nvPicPr>
          <p:blipFill>
            <a:blip r:embed="rId2"/>
            <a:srcRect/>
            <a:stretch/>
          </p:blipFill>
          <p:spPr>
            <a:xfrm>
              <a:off x="502624" y="4859161"/>
              <a:ext cx="5495366" cy="1611262"/>
            </a:xfrm>
            <a:prstGeom prst="rect">
              <a:avLst/>
            </a:prstGeom>
          </p:spPr>
        </p:pic>
        <p:sp>
          <p:nvSpPr>
            <p:cNvPr id="21" name="TextBox 20">
              <a:extLst>
                <a:ext uri="{FF2B5EF4-FFF2-40B4-BE49-F238E27FC236}">
                  <a16:creationId xmlns:a16="http://schemas.microsoft.com/office/drawing/2014/main" id="{7C7C27D4-59CB-EB60-3212-7FAA2F415827}"/>
                </a:ext>
              </a:extLst>
            </p:cNvPr>
            <p:cNvSpPr txBox="1"/>
            <p:nvPr/>
          </p:nvSpPr>
          <p:spPr>
            <a:xfrm>
              <a:off x="642282" y="5301482"/>
              <a:ext cx="906408" cy="431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2798" b="1">
                  <a:solidFill>
                    <a:prstClr val="white"/>
                  </a:solidFill>
                  <a:latin typeface="Arial" panose="020B0604020202020204" pitchFamily="34" charset="0"/>
                  <a:ea typeface="+mj-lt"/>
                  <a:cs typeface="Arial" panose="020B0604020202020204" pitchFamily="34" charset="0"/>
                </a:rPr>
                <a:t>84%</a:t>
              </a:r>
            </a:p>
          </p:txBody>
        </p:sp>
        <p:sp>
          <p:nvSpPr>
            <p:cNvPr id="22" name="TextBox 21">
              <a:extLst>
                <a:ext uri="{FF2B5EF4-FFF2-40B4-BE49-F238E27FC236}">
                  <a16:creationId xmlns:a16="http://schemas.microsoft.com/office/drawing/2014/main" id="{BAB341E5-FDA1-D67B-C1ED-9DDC179C6818}"/>
                </a:ext>
              </a:extLst>
            </p:cNvPr>
            <p:cNvSpPr txBox="1"/>
            <p:nvPr/>
          </p:nvSpPr>
          <p:spPr>
            <a:xfrm>
              <a:off x="1875080" y="5494363"/>
              <a:ext cx="3129368" cy="7851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lnSpc>
                  <a:spcPct val="107000"/>
                </a:lnSpc>
                <a:spcAft>
                  <a:spcPts val="800"/>
                </a:spcAft>
                <a:tabLst>
                  <a:tab pos="456652" algn="l"/>
                </a:tabLst>
              </a:pPr>
              <a:r>
                <a:rPr lang="en-US" sz="1050">
                  <a:solidFill>
                    <a:prstClr val="black"/>
                  </a:solidFill>
                  <a:latin typeface="Arial" panose="020B0604020202020204" pitchFamily="34" charset="0"/>
                  <a:ea typeface="Calibri" panose="020F0502020204030204" pitchFamily="34" charset="0"/>
                  <a:cs typeface="Arial" panose="020B0604020202020204" pitchFamily="34" charset="0"/>
                </a:rPr>
                <a:t>Eighty-four percent of employers are set to rapidly digitize working processes.</a:t>
              </a:r>
            </a:p>
            <a:p>
              <a:pPr defTabSz="913304">
                <a:lnSpc>
                  <a:spcPct val="107000"/>
                </a:lnSpc>
                <a:spcAft>
                  <a:spcPts val="800"/>
                </a:spcAft>
                <a:tabLst>
                  <a:tab pos="456652" algn="l"/>
                </a:tabLst>
              </a:pPr>
              <a:endParaRPr lang="en-US" sz="400">
                <a:solidFill>
                  <a:prstClr val="black"/>
                </a:solidFill>
                <a:latin typeface="Arial" panose="020B0604020202020204" pitchFamily="34" charset="0"/>
                <a:ea typeface="Calibri" panose="020F0502020204030204" pitchFamily="34" charset="0"/>
                <a:cs typeface="Arial" panose="020B0604020202020204" pitchFamily="34" charset="0"/>
              </a:endParaRPr>
            </a:p>
            <a:p>
              <a:pPr algn="r" defTabSz="913304">
                <a:lnSpc>
                  <a:spcPct val="107000"/>
                </a:lnSpc>
                <a:spcAft>
                  <a:spcPts val="800"/>
                </a:spcAft>
                <a:tabLst>
                  <a:tab pos="456652" algn="l"/>
                </a:tabLst>
              </a:pPr>
              <a:r>
                <a:rPr lang="en-US" sz="1050">
                  <a:solidFill>
                    <a:prstClr val="black"/>
                  </a:solidFill>
                  <a:latin typeface="Arial" panose="020B0604020202020204" pitchFamily="34" charset="0"/>
                  <a:cs typeface="Arial" panose="020B0604020202020204" pitchFamily="34" charset="0"/>
                </a:rPr>
                <a:t>Future of Work Report 2020 – WEF</a:t>
              </a:r>
              <a:endParaRPr lang="en-US" sz="105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7A4F1022-197E-6D41-22B8-0288CC1E61B1}"/>
                </a:ext>
              </a:extLst>
            </p:cNvPr>
            <p:cNvSpPr txBox="1"/>
            <p:nvPr/>
          </p:nvSpPr>
          <p:spPr>
            <a:xfrm>
              <a:off x="2173511" y="5011073"/>
              <a:ext cx="3129368" cy="1847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prstClr val="white"/>
                  </a:solidFill>
                  <a:latin typeface="Arial" panose="020B0604020202020204" pitchFamily="34" charset="0"/>
                  <a:cs typeface="Arial" panose="020B0604020202020204" pitchFamily="34" charset="0"/>
                </a:rPr>
                <a:t>Rapid Business Transformation Global </a:t>
              </a:r>
            </a:p>
          </p:txBody>
        </p:sp>
        <p:pic>
          <p:nvPicPr>
            <p:cNvPr id="24" name="Graphic 23">
              <a:extLst>
                <a:ext uri="{FF2B5EF4-FFF2-40B4-BE49-F238E27FC236}">
                  <a16:creationId xmlns:a16="http://schemas.microsoft.com/office/drawing/2014/main" id="{6C16A6D9-68BD-78E6-25BE-A21ACA71DE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8220" y="5763588"/>
              <a:ext cx="508062" cy="508062"/>
            </a:xfrm>
            <a:prstGeom prst="rect">
              <a:avLst/>
            </a:prstGeom>
          </p:spPr>
        </p:pic>
      </p:grpSp>
      <p:pic>
        <p:nvPicPr>
          <p:cNvPr id="25" name="Picture 24">
            <a:extLst>
              <a:ext uri="{FF2B5EF4-FFF2-40B4-BE49-F238E27FC236}">
                <a16:creationId xmlns:a16="http://schemas.microsoft.com/office/drawing/2014/main" id="{F7DBCF2F-8018-7E88-7042-18C0F55D569C}"/>
              </a:ext>
            </a:extLst>
          </p:cNvPr>
          <p:cNvPicPr>
            <a:picLocks noChangeAspect="1"/>
          </p:cNvPicPr>
          <p:nvPr/>
        </p:nvPicPr>
        <p:blipFill>
          <a:blip r:embed="rId9"/>
          <a:stretch>
            <a:fillRect/>
          </a:stretch>
        </p:blipFill>
        <p:spPr>
          <a:xfrm>
            <a:off x="6294514" y="863600"/>
            <a:ext cx="4372015" cy="2208808"/>
          </a:xfrm>
          <a:prstGeom prst="rect">
            <a:avLst/>
          </a:prstGeom>
        </p:spPr>
      </p:pic>
      <p:cxnSp>
        <p:nvCxnSpPr>
          <p:cNvPr id="26" name="Straight Connector 25">
            <a:extLst>
              <a:ext uri="{FF2B5EF4-FFF2-40B4-BE49-F238E27FC236}">
                <a16:creationId xmlns:a16="http://schemas.microsoft.com/office/drawing/2014/main" id="{1E6E3C6A-33DF-1AA1-2370-81F7FECB6787}"/>
              </a:ext>
            </a:extLst>
          </p:cNvPr>
          <p:cNvCxnSpPr>
            <a:cxnSpLocks/>
          </p:cNvCxnSpPr>
          <p:nvPr/>
        </p:nvCxnSpPr>
        <p:spPr>
          <a:xfrm>
            <a:off x="135935" y="1788"/>
            <a:ext cx="0" cy="6791178"/>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5D006DD5-22FE-6997-2D3E-0C0ADF160FD2}"/>
              </a:ext>
            </a:extLst>
          </p:cNvPr>
          <p:cNvSpPr txBox="1"/>
          <p:nvPr/>
        </p:nvSpPr>
        <p:spPr>
          <a:xfrm>
            <a:off x="6224619" y="3451723"/>
            <a:ext cx="5667958" cy="2676262"/>
          </a:xfrm>
          <a:prstGeom prst="rect">
            <a:avLst/>
          </a:prstGeom>
          <a:noFill/>
        </p:spPr>
        <p:txBody>
          <a:bodyPr wrap="square">
            <a:spAutoFit/>
          </a:bodyPr>
          <a:lstStyle/>
          <a:p>
            <a:pPr defTabSz="457063"/>
            <a:r>
              <a:rPr lang="en-SG" sz="1200" b="1">
                <a:solidFill>
                  <a:srgbClr val="212529"/>
                </a:solidFill>
              </a:rPr>
              <a:t>Automation Job Roles In Demand</a:t>
            </a:r>
          </a:p>
          <a:p>
            <a:pPr defTabSz="457063"/>
            <a:r>
              <a:rPr lang="en-SG" sz="1200">
                <a:solidFill>
                  <a:srgbClr val="212529"/>
                </a:solidFill>
              </a:rPr>
              <a:t>Below are the various RPA job roles that are in great demand globally-</a:t>
            </a:r>
          </a:p>
          <a:p>
            <a:pPr marL="171348" indent="-171348" defTabSz="457063">
              <a:buFont typeface="Arial" panose="020B0604020202020204" pitchFamily="34" charset="0"/>
              <a:buChar char="•"/>
            </a:pPr>
            <a:r>
              <a:rPr lang="en-SG" sz="1200">
                <a:solidFill>
                  <a:srgbClr val="212529"/>
                </a:solidFill>
              </a:rPr>
              <a:t>RPA Developer</a:t>
            </a:r>
          </a:p>
          <a:p>
            <a:pPr marL="171348" indent="-171348" defTabSz="457063">
              <a:buFont typeface="Arial" panose="020B0604020202020204" pitchFamily="34" charset="0"/>
              <a:buChar char="•"/>
            </a:pPr>
            <a:r>
              <a:rPr lang="en-SG" sz="1200">
                <a:solidFill>
                  <a:srgbClr val="212529"/>
                </a:solidFill>
              </a:rPr>
              <a:t>RPA Engineer</a:t>
            </a:r>
          </a:p>
          <a:p>
            <a:pPr marL="171348" indent="-171348" defTabSz="457063">
              <a:buFont typeface="Arial" panose="020B0604020202020204" pitchFamily="34" charset="0"/>
              <a:buChar char="•"/>
            </a:pPr>
            <a:r>
              <a:rPr lang="en-SG" sz="1200">
                <a:solidFill>
                  <a:srgbClr val="212529"/>
                </a:solidFill>
              </a:rPr>
              <a:t>RPA Technical Lead</a:t>
            </a:r>
          </a:p>
          <a:p>
            <a:pPr marL="171348" indent="-171348" defTabSz="457063">
              <a:buFont typeface="Arial" panose="020B0604020202020204" pitchFamily="34" charset="0"/>
              <a:buChar char="•"/>
            </a:pPr>
            <a:r>
              <a:rPr lang="en-SG" sz="1200">
                <a:solidFill>
                  <a:srgbClr val="212529"/>
                </a:solidFill>
              </a:rPr>
              <a:t>RPA Solutions Senior Developer</a:t>
            </a:r>
          </a:p>
          <a:p>
            <a:pPr marL="171348" indent="-171348" defTabSz="457063">
              <a:buFont typeface="Arial" panose="020B0604020202020204" pitchFamily="34" charset="0"/>
              <a:buChar char="•"/>
            </a:pPr>
            <a:r>
              <a:rPr lang="en-SG" sz="1200">
                <a:solidFill>
                  <a:srgbClr val="212529"/>
                </a:solidFill>
              </a:rPr>
              <a:t>RPA Consultant</a:t>
            </a:r>
          </a:p>
          <a:p>
            <a:pPr marL="171348" indent="-171348" defTabSz="457063">
              <a:buFont typeface="Arial" panose="020B0604020202020204" pitchFamily="34" charset="0"/>
              <a:buChar char="•"/>
            </a:pPr>
            <a:r>
              <a:rPr lang="en-SG" sz="1200">
                <a:solidFill>
                  <a:srgbClr val="212529"/>
                </a:solidFill>
              </a:rPr>
              <a:t>RPA Administrator</a:t>
            </a:r>
          </a:p>
          <a:p>
            <a:pPr marL="171348" indent="-171348" defTabSz="457063">
              <a:buFont typeface="Arial" panose="020B0604020202020204" pitchFamily="34" charset="0"/>
              <a:buChar char="•"/>
            </a:pPr>
            <a:r>
              <a:rPr lang="en-SG" sz="1200">
                <a:solidFill>
                  <a:srgbClr val="212529"/>
                </a:solidFill>
              </a:rPr>
              <a:t>RPA Business Analyst</a:t>
            </a:r>
          </a:p>
          <a:p>
            <a:pPr marL="171348" indent="-171348" defTabSz="457063">
              <a:buFont typeface="Arial" panose="020B0604020202020204" pitchFamily="34" charset="0"/>
              <a:buChar char="•"/>
            </a:pPr>
            <a:r>
              <a:rPr lang="en-SG" sz="1200">
                <a:solidFill>
                  <a:srgbClr val="212529"/>
                </a:solidFill>
              </a:rPr>
              <a:t>RPA Data Analyst</a:t>
            </a:r>
          </a:p>
          <a:p>
            <a:pPr marL="171348" indent="-171348" defTabSz="457063">
              <a:buFont typeface="Arial" panose="020B0604020202020204" pitchFamily="34" charset="0"/>
              <a:buChar char="•"/>
            </a:pPr>
            <a:r>
              <a:rPr lang="en-SG" sz="1200">
                <a:solidFill>
                  <a:srgbClr val="212529"/>
                </a:solidFill>
              </a:rPr>
              <a:t>RPA Project Manager</a:t>
            </a:r>
          </a:p>
          <a:p>
            <a:pPr marL="171348" indent="-171348" defTabSz="457063">
              <a:buFont typeface="Arial" panose="020B0604020202020204" pitchFamily="34" charset="0"/>
              <a:buChar char="•"/>
            </a:pPr>
            <a:r>
              <a:rPr lang="en-SG" sz="1200">
                <a:solidFill>
                  <a:srgbClr val="212529"/>
                </a:solidFill>
              </a:rPr>
              <a:t>RPA Process Architect </a:t>
            </a:r>
          </a:p>
          <a:p>
            <a:pPr marL="171348" indent="-171348" defTabSz="457063">
              <a:buFont typeface="Arial" panose="020B0604020202020204" pitchFamily="34" charset="0"/>
              <a:buChar char="•"/>
            </a:pPr>
            <a:r>
              <a:rPr lang="en-SG" sz="1200">
                <a:solidFill>
                  <a:srgbClr val="212529"/>
                </a:solidFill>
              </a:rPr>
              <a:t>RPA Tester</a:t>
            </a:r>
          </a:p>
          <a:p>
            <a:pPr marL="171348" indent="-171348" defTabSz="457063">
              <a:buFont typeface="Arial" panose="020B0604020202020204" pitchFamily="34" charset="0"/>
              <a:buChar char="•"/>
            </a:pPr>
            <a:r>
              <a:rPr lang="en-SG" sz="1200">
                <a:solidFill>
                  <a:srgbClr val="212529"/>
                </a:solidFill>
              </a:rPr>
              <a:t>RPA Support</a:t>
            </a:r>
          </a:p>
        </p:txBody>
      </p:sp>
      <p:sp>
        <p:nvSpPr>
          <p:cNvPr id="28" name="TextBox 27">
            <a:extLst>
              <a:ext uri="{FF2B5EF4-FFF2-40B4-BE49-F238E27FC236}">
                <a16:creationId xmlns:a16="http://schemas.microsoft.com/office/drawing/2014/main" id="{36DDD8DD-A76D-719F-8BAA-14A27A78BBE4}"/>
              </a:ext>
            </a:extLst>
          </p:cNvPr>
          <p:cNvSpPr txBox="1"/>
          <p:nvPr/>
        </p:nvSpPr>
        <p:spPr>
          <a:xfrm>
            <a:off x="6224622" y="6472939"/>
            <a:ext cx="5914152" cy="230712"/>
          </a:xfrm>
          <a:prstGeom prst="rect">
            <a:avLst/>
          </a:prstGeom>
          <a:noFill/>
        </p:spPr>
        <p:txBody>
          <a:bodyPr wrap="square">
            <a:spAutoFit/>
          </a:bodyPr>
          <a:lstStyle/>
          <a:p>
            <a:pPr defTabSz="457063"/>
            <a:r>
              <a:rPr lang="en-US" sz="900"/>
              <a:t>https://</a:t>
            </a:r>
            <a:r>
              <a:rPr lang="en-US" sz="900" err="1"/>
              <a:t>www.koenig-solutions.com</a:t>
            </a:r>
            <a:r>
              <a:rPr lang="en-US" sz="900"/>
              <a:t>/blog/</a:t>
            </a:r>
            <a:r>
              <a:rPr lang="en-US" sz="900" err="1"/>
              <a:t>rpa</a:t>
            </a:r>
            <a:r>
              <a:rPr lang="en-US" sz="900"/>
              <a:t>-developer-roles-and-responsibilities</a:t>
            </a:r>
          </a:p>
        </p:txBody>
      </p:sp>
      <p:pic>
        <p:nvPicPr>
          <p:cNvPr id="3" name="Picture 2" descr="A picture containing text, clipart&#10;&#10;Description automatically generated">
            <a:extLst>
              <a:ext uri="{FF2B5EF4-FFF2-40B4-BE49-F238E27FC236}">
                <a16:creationId xmlns:a16="http://schemas.microsoft.com/office/drawing/2014/main" id="{FB3170DC-9DBF-21FA-C970-3A495498216F}"/>
              </a:ext>
            </a:extLst>
          </p:cNvPr>
          <p:cNvPicPr>
            <a:picLocks noChangeAspect="1"/>
          </p:cNvPicPr>
          <p:nvPr/>
        </p:nvPicPr>
        <p:blipFill>
          <a:blip r:embed="rId10"/>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045896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C295903-C6BB-5A24-2D3F-6AF5C42A90D9}"/>
              </a:ext>
            </a:extLst>
          </p:cNvPr>
          <p:cNvGrpSpPr/>
          <p:nvPr/>
        </p:nvGrpSpPr>
        <p:grpSpPr>
          <a:xfrm>
            <a:off x="279984" y="2878535"/>
            <a:ext cx="5489644" cy="1609585"/>
            <a:chOff x="502624" y="2877960"/>
            <a:chExt cx="5495366" cy="1611262"/>
          </a:xfrm>
        </p:grpSpPr>
        <p:pic>
          <p:nvPicPr>
            <p:cNvPr id="7" name="Picture 6">
              <a:extLst>
                <a:ext uri="{FF2B5EF4-FFF2-40B4-BE49-F238E27FC236}">
                  <a16:creationId xmlns:a16="http://schemas.microsoft.com/office/drawing/2014/main" id="{B379493B-015B-77D8-F011-D82E09B69F73}"/>
                </a:ext>
              </a:extLst>
            </p:cNvPr>
            <p:cNvPicPr>
              <a:picLocks noChangeAspect="1"/>
            </p:cNvPicPr>
            <p:nvPr/>
          </p:nvPicPr>
          <p:blipFill>
            <a:blip r:embed="rId2"/>
            <a:srcRect/>
            <a:stretch/>
          </p:blipFill>
          <p:spPr>
            <a:xfrm>
              <a:off x="502624" y="2877960"/>
              <a:ext cx="5495366" cy="1611262"/>
            </a:xfrm>
            <a:prstGeom prst="rect">
              <a:avLst/>
            </a:prstGeom>
          </p:spPr>
        </p:pic>
        <p:sp>
          <p:nvSpPr>
            <p:cNvPr id="8" name="TextBox 7">
              <a:extLst>
                <a:ext uri="{FF2B5EF4-FFF2-40B4-BE49-F238E27FC236}">
                  <a16:creationId xmlns:a16="http://schemas.microsoft.com/office/drawing/2014/main" id="{A526FDD2-C2AE-B2BA-5E69-B43061AC139E}"/>
                </a:ext>
              </a:extLst>
            </p:cNvPr>
            <p:cNvSpPr txBox="1"/>
            <p:nvPr/>
          </p:nvSpPr>
          <p:spPr>
            <a:xfrm>
              <a:off x="1875080" y="3432036"/>
              <a:ext cx="3210696" cy="9619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lnSpc>
                  <a:spcPct val="85000"/>
                </a:lnSpc>
              </a:pPr>
              <a:r>
                <a:rPr lang="en-US" sz="1050"/>
                <a:t>Talent crunch has become a significant business challenge as 59% of surveyed APJ organizations. The IDC report points to the shortage of automation skills and talent as the top challenge they face in scaling automation. </a:t>
              </a:r>
            </a:p>
            <a:p>
              <a:pPr algn="r" defTabSz="913304">
                <a:lnSpc>
                  <a:spcPct val="85000"/>
                </a:lnSpc>
                <a:spcBef>
                  <a:spcPct val="0"/>
                </a:spcBef>
              </a:pPr>
              <a:r>
                <a:rPr lang="en-US" sz="1050"/>
                <a:t> </a:t>
              </a:r>
              <a:r>
                <a:rPr lang="en-US" sz="800"/>
                <a:t>    IDC </a:t>
              </a:r>
              <a:r>
                <a:rPr lang="en-US" sz="800" err="1"/>
                <a:t>InfoBrief</a:t>
              </a:r>
              <a:r>
                <a:rPr lang="en-US" sz="800"/>
                <a:t> -Automation Mindset Asia/Pacific</a:t>
              </a:r>
            </a:p>
            <a:p>
              <a:pPr algn="r" defTabSz="913304">
                <a:lnSpc>
                  <a:spcPct val="85000"/>
                </a:lnSpc>
              </a:pPr>
              <a:endParaRPr lang="en-US" sz="105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EB30F6D-4676-EE7D-20AC-D95E4E1300B8}"/>
                </a:ext>
              </a:extLst>
            </p:cNvPr>
            <p:cNvSpPr txBox="1"/>
            <p:nvPr/>
          </p:nvSpPr>
          <p:spPr>
            <a:xfrm>
              <a:off x="2284555" y="3032806"/>
              <a:ext cx="2936376" cy="1847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srgbClr val="FFFFFF"/>
                  </a:solidFill>
                </a:rPr>
                <a:t>Talent Shortage</a:t>
              </a:r>
            </a:p>
          </p:txBody>
        </p:sp>
        <p:sp>
          <p:nvSpPr>
            <p:cNvPr id="10" name="TextBox 9">
              <a:extLst>
                <a:ext uri="{FF2B5EF4-FFF2-40B4-BE49-F238E27FC236}">
                  <a16:creationId xmlns:a16="http://schemas.microsoft.com/office/drawing/2014/main" id="{6E741155-CF7B-94C5-EEB0-478B871D40E5}"/>
                </a:ext>
              </a:extLst>
            </p:cNvPr>
            <p:cNvSpPr txBox="1"/>
            <p:nvPr/>
          </p:nvSpPr>
          <p:spPr>
            <a:xfrm>
              <a:off x="642282" y="3428999"/>
              <a:ext cx="906408" cy="431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2798" b="1">
                  <a:solidFill>
                    <a:prstClr val="white"/>
                  </a:solidFill>
                  <a:latin typeface="Arial" panose="020B0604020202020204" pitchFamily="34" charset="0"/>
                  <a:cs typeface="Arial" panose="020B0604020202020204" pitchFamily="34" charset="0"/>
                </a:rPr>
                <a:t>59%</a:t>
              </a:r>
            </a:p>
          </p:txBody>
        </p:sp>
        <p:pic>
          <p:nvPicPr>
            <p:cNvPr id="11" name="Graphic 10">
              <a:extLst>
                <a:ext uri="{FF2B5EF4-FFF2-40B4-BE49-F238E27FC236}">
                  <a16:creationId xmlns:a16="http://schemas.microsoft.com/office/drawing/2014/main" id="{E318EF89-77F0-8706-E00E-A0BA39D39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4912" y="3764015"/>
              <a:ext cx="508062" cy="508062"/>
            </a:xfrm>
            <a:prstGeom prst="rect">
              <a:avLst/>
            </a:prstGeom>
          </p:spPr>
        </p:pic>
      </p:grpSp>
      <p:grpSp>
        <p:nvGrpSpPr>
          <p:cNvPr id="12" name="Group 11">
            <a:extLst>
              <a:ext uri="{FF2B5EF4-FFF2-40B4-BE49-F238E27FC236}">
                <a16:creationId xmlns:a16="http://schemas.microsoft.com/office/drawing/2014/main" id="{926FD596-F62F-7377-F302-91FDE7676F9B}"/>
              </a:ext>
            </a:extLst>
          </p:cNvPr>
          <p:cNvGrpSpPr/>
          <p:nvPr/>
        </p:nvGrpSpPr>
        <p:grpSpPr>
          <a:xfrm>
            <a:off x="279984" y="911646"/>
            <a:ext cx="5489644" cy="1609586"/>
            <a:chOff x="502624" y="896758"/>
            <a:chExt cx="5495366" cy="1611263"/>
          </a:xfrm>
        </p:grpSpPr>
        <p:pic>
          <p:nvPicPr>
            <p:cNvPr id="13" name="Picture 12" descr="A picture containing shape&#10;&#10;Description automatically generated">
              <a:extLst>
                <a:ext uri="{FF2B5EF4-FFF2-40B4-BE49-F238E27FC236}">
                  <a16:creationId xmlns:a16="http://schemas.microsoft.com/office/drawing/2014/main" id="{C48EAAC9-F9BE-5E07-EA2D-F3C14A7C7001}"/>
                </a:ext>
              </a:extLst>
            </p:cNvPr>
            <p:cNvPicPr>
              <a:picLocks noChangeAspect="1"/>
            </p:cNvPicPr>
            <p:nvPr/>
          </p:nvPicPr>
          <p:blipFill>
            <a:blip r:embed="rId2"/>
            <a:stretch>
              <a:fillRect/>
            </a:stretch>
          </p:blipFill>
          <p:spPr>
            <a:xfrm>
              <a:off x="502624" y="896758"/>
              <a:ext cx="5495366" cy="1611263"/>
            </a:xfrm>
            <a:prstGeom prst="rect">
              <a:avLst/>
            </a:prstGeom>
          </p:spPr>
        </p:pic>
        <p:sp>
          <p:nvSpPr>
            <p:cNvPr id="14" name="TextBox 13">
              <a:extLst>
                <a:ext uri="{FF2B5EF4-FFF2-40B4-BE49-F238E27FC236}">
                  <a16:creationId xmlns:a16="http://schemas.microsoft.com/office/drawing/2014/main" id="{3FD6C3D4-36A9-28E7-DF73-41B83E4C157C}"/>
                </a:ext>
              </a:extLst>
            </p:cNvPr>
            <p:cNvSpPr txBox="1"/>
            <p:nvPr/>
          </p:nvSpPr>
          <p:spPr>
            <a:xfrm>
              <a:off x="2248695" y="1041114"/>
              <a:ext cx="2936376" cy="36952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srgbClr val="FFFFFF"/>
                  </a:solidFill>
                </a:rPr>
                <a:t>Automation will be a critical requirement</a:t>
              </a:r>
            </a:p>
          </p:txBody>
        </p:sp>
        <p:sp>
          <p:nvSpPr>
            <p:cNvPr id="15" name="TextBox 14">
              <a:extLst>
                <a:ext uri="{FF2B5EF4-FFF2-40B4-BE49-F238E27FC236}">
                  <a16:creationId xmlns:a16="http://schemas.microsoft.com/office/drawing/2014/main" id="{3792E5F9-2C41-610E-3D95-4746BF5372B7}"/>
                </a:ext>
              </a:extLst>
            </p:cNvPr>
            <p:cNvSpPr txBox="1"/>
            <p:nvPr/>
          </p:nvSpPr>
          <p:spPr>
            <a:xfrm>
              <a:off x="608957" y="1410639"/>
              <a:ext cx="906408" cy="431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2798" b="1">
                  <a:solidFill>
                    <a:prstClr val="white"/>
                  </a:solidFill>
                  <a:latin typeface="Arial" panose="020B0604020202020204" pitchFamily="34" charset="0"/>
                  <a:ea typeface="+mj-lt"/>
                  <a:cs typeface="Arial" panose="020B0604020202020204" pitchFamily="34" charset="0"/>
                </a:rPr>
                <a:t>86%</a:t>
              </a:r>
            </a:p>
          </p:txBody>
        </p:sp>
        <p:sp>
          <p:nvSpPr>
            <p:cNvPr id="16" name="TextBox 15">
              <a:extLst>
                <a:ext uri="{FF2B5EF4-FFF2-40B4-BE49-F238E27FC236}">
                  <a16:creationId xmlns:a16="http://schemas.microsoft.com/office/drawing/2014/main" id="{3443C549-198D-715F-9D78-DA2ACFB735E8}"/>
                </a:ext>
              </a:extLst>
            </p:cNvPr>
            <p:cNvSpPr txBox="1"/>
            <p:nvPr/>
          </p:nvSpPr>
          <p:spPr>
            <a:xfrm>
              <a:off x="1875080" y="1484119"/>
              <a:ext cx="3210696" cy="80833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r>
                <a:rPr lang="en-SG" sz="1050">
                  <a:ea typeface="+mn-lt"/>
                </a:rPr>
                <a:t>Organizations in APJ agree that automation will be a critical requirement for business excellence, customer experience, and competitive success within the next 3 years </a:t>
              </a:r>
              <a:endParaRPr lang="en-US" sz="1050">
                <a:ea typeface="+mn-lt"/>
              </a:endParaRPr>
            </a:p>
            <a:p>
              <a:pPr defTabSz="913304"/>
              <a:r>
                <a:rPr lang="en-US" sz="1050">
                  <a:ea typeface="+mn-lt"/>
                </a:rPr>
                <a:t>	</a:t>
              </a:r>
              <a:r>
                <a:rPr lang="en-US" sz="800"/>
                <a:t>IDC </a:t>
              </a:r>
              <a:r>
                <a:rPr lang="en-US" sz="800" err="1"/>
                <a:t>InfoBrief</a:t>
              </a:r>
              <a:r>
                <a:rPr lang="en-US" sz="800"/>
                <a:t> -Automation Mindset Asia/Pacific</a:t>
              </a:r>
            </a:p>
          </p:txBody>
        </p:sp>
        <p:pic>
          <p:nvPicPr>
            <p:cNvPr id="17" name="Graphic 16">
              <a:extLst>
                <a:ext uri="{FF2B5EF4-FFF2-40B4-BE49-F238E27FC236}">
                  <a16:creationId xmlns:a16="http://schemas.microsoft.com/office/drawing/2014/main" id="{1B545926-F492-0155-3307-A8B83FA273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47825" y="1768278"/>
              <a:ext cx="530708" cy="530708"/>
            </a:xfrm>
            <a:prstGeom prst="rect">
              <a:avLst/>
            </a:prstGeom>
          </p:spPr>
        </p:pic>
      </p:grpSp>
      <p:grpSp>
        <p:nvGrpSpPr>
          <p:cNvPr id="18" name="Group 17">
            <a:extLst>
              <a:ext uri="{FF2B5EF4-FFF2-40B4-BE49-F238E27FC236}">
                <a16:creationId xmlns:a16="http://schemas.microsoft.com/office/drawing/2014/main" id="{FF5D8665-6081-1AEF-3263-7113FBFDEB7F}"/>
              </a:ext>
            </a:extLst>
          </p:cNvPr>
          <p:cNvGrpSpPr/>
          <p:nvPr/>
        </p:nvGrpSpPr>
        <p:grpSpPr>
          <a:xfrm>
            <a:off x="279984" y="4735196"/>
            <a:ext cx="5489644" cy="1609585"/>
            <a:chOff x="502624" y="4859161"/>
            <a:chExt cx="5495366" cy="1611262"/>
          </a:xfrm>
        </p:grpSpPr>
        <p:pic>
          <p:nvPicPr>
            <p:cNvPr id="19" name="Picture 18">
              <a:extLst>
                <a:ext uri="{FF2B5EF4-FFF2-40B4-BE49-F238E27FC236}">
                  <a16:creationId xmlns:a16="http://schemas.microsoft.com/office/drawing/2014/main" id="{BFCE53E8-B410-0445-1C57-AEC76EF28C9C}"/>
                </a:ext>
              </a:extLst>
            </p:cNvPr>
            <p:cNvPicPr>
              <a:picLocks noChangeAspect="1"/>
            </p:cNvPicPr>
            <p:nvPr/>
          </p:nvPicPr>
          <p:blipFill>
            <a:blip r:embed="rId2"/>
            <a:srcRect/>
            <a:stretch/>
          </p:blipFill>
          <p:spPr>
            <a:xfrm>
              <a:off x="502624" y="4859161"/>
              <a:ext cx="5495366" cy="1611262"/>
            </a:xfrm>
            <a:prstGeom prst="rect">
              <a:avLst/>
            </a:prstGeom>
          </p:spPr>
        </p:pic>
        <p:sp>
          <p:nvSpPr>
            <p:cNvPr id="20" name="TextBox 19">
              <a:extLst>
                <a:ext uri="{FF2B5EF4-FFF2-40B4-BE49-F238E27FC236}">
                  <a16:creationId xmlns:a16="http://schemas.microsoft.com/office/drawing/2014/main" id="{2E8621DF-A3F2-B070-2667-D15F3C97957B}"/>
                </a:ext>
              </a:extLst>
            </p:cNvPr>
            <p:cNvSpPr txBox="1"/>
            <p:nvPr/>
          </p:nvSpPr>
          <p:spPr>
            <a:xfrm>
              <a:off x="642282" y="5301482"/>
              <a:ext cx="906408" cy="7390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2798" b="1">
                  <a:solidFill>
                    <a:srgbClr val="FFFFFF"/>
                  </a:solidFill>
                </a:rPr>
                <a:t>32% </a:t>
              </a:r>
              <a:r>
                <a:rPr lang="en-US" sz="1998" b="1">
                  <a:solidFill>
                    <a:srgbClr val="FFFFFF"/>
                  </a:solidFill>
                </a:rPr>
                <a:t>Growth</a:t>
              </a:r>
            </a:p>
          </p:txBody>
        </p:sp>
        <p:sp>
          <p:nvSpPr>
            <p:cNvPr id="21" name="TextBox 20">
              <a:extLst>
                <a:ext uri="{FF2B5EF4-FFF2-40B4-BE49-F238E27FC236}">
                  <a16:creationId xmlns:a16="http://schemas.microsoft.com/office/drawing/2014/main" id="{A1E48E3A-41B1-0D27-5220-892D2462C09C}"/>
                </a:ext>
              </a:extLst>
            </p:cNvPr>
            <p:cNvSpPr txBox="1"/>
            <p:nvPr/>
          </p:nvSpPr>
          <p:spPr>
            <a:xfrm>
              <a:off x="1875080" y="5494363"/>
              <a:ext cx="3129368" cy="64666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3304"/>
              <a:r>
                <a:rPr lang="en-US" sz="1050">
                  <a:ea typeface="+mn-lt"/>
                </a:rPr>
                <a:t>The top 7 cities with Automation Developer talent are in APJ and each city has been seeing an average 32% growth </a:t>
              </a:r>
              <a:endParaRPr lang="en-US" sz="1050"/>
            </a:p>
            <a:p>
              <a:pPr algn="r" defTabSz="913304"/>
              <a:r>
                <a:rPr lang="en-US" sz="1050" err="1">
                  <a:ea typeface="+mn-lt"/>
                </a:rPr>
                <a:t>Linkedin</a:t>
              </a:r>
              <a:r>
                <a:rPr lang="en-US" sz="1050">
                  <a:ea typeface="+mn-lt"/>
                </a:rPr>
                <a:t> Jobs Insight July 2022</a:t>
              </a:r>
              <a:endParaRPr lang="en-US" sz="1050"/>
            </a:p>
          </p:txBody>
        </p:sp>
        <p:sp>
          <p:nvSpPr>
            <p:cNvPr id="22" name="TextBox 21">
              <a:extLst>
                <a:ext uri="{FF2B5EF4-FFF2-40B4-BE49-F238E27FC236}">
                  <a16:creationId xmlns:a16="http://schemas.microsoft.com/office/drawing/2014/main" id="{1FE77EA1-0933-679B-672A-8C46D6833ABA}"/>
                </a:ext>
              </a:extLst>
            </p:cNvPr>
            <p:cNvSpPr txBox="1"/>
            <p:nvPr/>
          </p:nvSpPr>
          <p:spPr>
            <a:xfrm>
              <a:off x="2173511" y="5011073"/>
              <a:ext cx="3129368" cy="18476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3304"/>
              <a:r>
                <a:rPr lang="en-US" sz="1200" b="1">
                  <a:solidFill>
                    <a:srgbClr val="FFFFFF"/>
                  </a:solidFill>
                </a:rPr>
                <a:t>Talent Growth in Major IT Capitals</a:t>
              </a:r>
            </a:p>
          </p:txBody>
        </p:sp>
        <p:pic>
          <p:nvPicPr>
            <p:cNvPr id="23" name="Graphic 22">
              <a:extLst>
                <a:ext uri="{FF2B5EF4-FFF2-40B4-BE49-F238E27FC236}">
                  <a16:creationId xmlns:a16="http://schemas.microsoft.com/office/drawing/2014/main" id="{51EFC839-B61A-E278-A08D-41EB82944A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8220" y="5763588"/>
              <a:ext cx="508062" cy="508062"/>
            </a:xfrm>
            <a:prstGeom prst="rect">
              <a:avLst/>
            </a:prstGeom>
          </p:spPr>
        </p:pic>
      </p:grpSp>
      <p:sp>
        <p:nvSpPr>
          <p:cNvPr id="24" name="Title 1">
            <a:extLst>
              <a:ext uri="{FF2B5EF4-FFF2-40B4-BE49-F238E27FC236}">
                <a16:creationId xmlns:a16="http://schemas.microsoft.com/office/drawing/2014/main" id="{3D277CB4-FB92-467C-A077-9A1F201BA570}"/>
              </a:ext>
            </a:extLst>
          </p:cNvPr>
          <p:cNvSpPr txBox="1">
            <a:spLocks/>
          </p:cNvSpPr>
          <p:nvPr/>
        </p:nvSpPr>
        <p:spPr>
          <a:xfrm>
            <a:off x="423594" y="106881"/>
            <a:ext cx="9724092" cy="825434"/>
          </a:xfrm>
          <a:prstGeom prst="rect">
            <a:avLst/>
          </a:prstGeom>
        </p:spPr>
        <p:txBody>
          <a:bodyPr vert="horz" lIns="91344" tIns="45672" rIns="91344" bIns="45672"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3304"/>
            <a:r>
              <a:rPr lang="en-US" sz="3197" b="1">
                <a:solidFill>
                  <a:srgbClr val="FA4616"/>
                </a:solidFill>
                <a:latin typeface="Arial"/>
              </a:rPr>
              <a:t>APJ: </a:t>
            </a:r>
            <a:r>
              <a:rPr lang="en-US" sz="3197" b="1">
                <a:solidFill>
                  <a:srgbClr val="58595B"/>
                </a:solidFill>
                <a:latin typeface="Arial"/>
              </a:rPr>
              <a:t>Automation - Growth &amp; Prospects</a:t>
            </a:r>
            <a:endParaRPr lang="en-US" sz="3197" b="1">
              <a:solidFill>
                <a:srgbClr val="FA4616"/>
              </a:solidFill>
              <a:latin typeface="Calibri Light" panose="020F0302020204030204"/>
            </a:endParaRPr>
          </a:p>
        </p:txBody>
      </p:sp>
      <p:cxnSp>
        <p:nvCxnSpPr>
          <p:cNvPr id="25" name="Straight Connector 24">
            <a:extLst>
              <a:ext uri="{FF2B5EF4-FFF2-40B4-BE49-F238E27FC236}">
                <a16:creationId xmlns:a16="http://schemas.microsoft.com/office/drawing/2014/main" id="{FAB16FCA-53E9-1163-2122-8D8A96C6411F}"/>
              </a:ext>
            </a:extLst>
          </p:cNvPr>
          <p:cNvCxnSpPr>
            <a:cxnSpLocks/>
          </p:cNvCxnSpPr>
          <p:nvPr/>
        </p:nvCxnSpPr>
        <p:spPr>
          <a:xfrm>
            <a:off x="142462" y="1786"/>
            <a:ext cx="0" cy="6854429"/>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B3438A84-970A-70AC-C212-F6F004CED418}"/>
              </a:ext>
            </a:extLst>
          </p:cNvPr>
          <p:cNvPicPr>
            <a:picLocks noChangeAspect="1"/>
          </p:cNvPicPr>
          <p:nvPr/>
        </p:nvPicPr>
        <p:blipFill>
          <a:blip r:embed="rId9"/>
          <a:stretch>
            <a:fillRect/>
          </a:stretch>
        </p:blipFill>
        <p:spPr>
          <a:xfrm>
            <a:off x="6583471" y="935756"/>
            <a:ext cx="4372015" cy="2223155"/>
          </a:xfrm>
          <a:prstGeom prst="rect">
            <a:avLst/>
          </a:prstGeom>
        </p:spPr>
      </p:pic>
      <p:sp>
        <p:nvSpPr>
          <p:cNvPr id="27" name="TextBox 26">
            <a:extLst>
              <a:ext uri="{FF2B5EF4-FFF2-40B4-BE49-F238E27FC236}">
                <a16:creationId xmlns:a16="http://schemas.microsoft.com/office/drawing/2014/main" id="{E246B16A-D4CD-1647-4CD9-7D11752EEFA6}"/>
              </a:ext>
            </a:extLst>
          </p:cNvPr>
          <p:cNvSpPr txBox="1"/>
          <p:nvPr/>
        </p:nvSpPr>
        <p:spPr>
          <a:xfrm>
            <a:off x="7745414" y="497917"/>
            <a:ext cx="0" cy="0"/>
          </a:xfrm>
          <a:prstGeom prst="rect">
            <a:avLst/>
          </a:prstGeom>
          <a:noFill/>
        </p:spPr>
        <p:txBody>
          <a:bodyPr wrap="none" lIns="0" tIns="0" rIns="0" bIns="0" rtlCol="0">
            <a:noAutofit/>
          </a:bodyPr>
          <a:lstStyle/>
          <a:p>
            <a:pPr defTabSz="457063"/>
            <a:endParaRPr lang="en-US" sz="1799" err="1"/>
          </a:p>
        </p:txBody>
      </p:sp>
      <p:sp>
        <p:nvSpPr>
          <p:cNvPr id="28" name="TextBox 27">
            <a:extLst>
              <a:ext uri="{FF2B5EF4-FFF2-40B4-BE49-F238E27FC236}">
                <a16:creationId xmlns:a16="http://schemas.microsoft.com/office/drawing/2014/main" id="{DD375AA6-4EEB-725F-5A47-A95DED478293}"/>
              </a:ext>
            </a:extLst>
          </p:cNvPr>
          <p:cNvSpPr txBox="1"/>
          <p:nvPr/>
        </p:nvSpPr>
        <p:spPr>
          <a:xfrm>
            <a:off x="6224621" y="6472939"/>
            <a:ext cx="5831446" cy="261474"/>
          </a:xfrm>
          <a:prstGeom prst="rect">
            <a:avLst/>
          </a:prstGeom>
          <a:noFill/>
        </p:spPr>
        <p:txBody>
          <a:bodyPr wrap="square">
            <a:spAutoFit/>
          </a:bodyPr>
          <a:lstStyle/>
          <a:p>
            <a:pPr defTabSz="457063"/>
            <a:r>
              <a:rPr lang="en-US" sz="1100"/>
              <a:t>https://</a:t>
            </a:r>
            <a:r>
              <a:rPr lang="en-US" sz="1100" err="1"/>
              <a:t>www.koenig-solutions.com</a:t>
            </a:r>
            <a:r>
              <a:rPr lang="en-US" sz="1100"/>
              <a:t>/blog/</a:t>
            </a:r>
            <a:r>
              <a:rPr lang="en-US" sz="1100" err="1"/>
              <a:t>rpa</a:t>
            </a:r>
            <a:r>
              <a:rPr lang="en-US" sz="1100"/>
              <a:t>-career-opportunities</a:t>
            </a:r>
          </a:p>
        </p:txBody>
      </p:sp>
      <p:pic>
        <p:nvPicPr>
          <p:cNvPr id="29" name="Picture 28">
            <a:extLst>
              <a:ext uri="{FF2B5EF4-FFF2-40B4-BE49-F238E27FC236}">
                <a16:creationId xmlns:a16="http://schemas.microsoft.com/office/drawing/2014/main" id="{5391130E-F8C9-698A-0AD0-AEDBBBC23BCB}"/>
              </a:ext>
            </a:extLst>
          </p:cNvPr>
          <p:cNvPicPr>
            <a:picLocks noChangeAspect="1"/>
          </p:cNvPicPr>
          <p:nvPr/>
        </p:nvPicPr>
        <p:blipFill>
          <a:blip r:embed="rId10"/>
          <a:stretch>
            <a:fillRect/>
          </a:stretch>
        </p:blipFill>
        <p:spPr>
          <a:xfrm>
            <a:off x="6583471" y="3709148"/>
            <a:ext cx="5350128" cy="1830842"/>
          </a:xfrm>
          <a:prstGeom prst="rect">
            <a:avLst/>
          </a:prstGeom>
        </p:spPr>
      </p:pic>
      <p:pic>
        <p:nvPicPr>
          <p:cNvPr id="3" name="Picture 2" descr="A picture containing text, clipart&#10;&#10;Description automatically generated">
            <a:extLst>
              <a:ext uri="{FF2B5EF4-FFF2-40B4-BE49-F238E27FC236}">
                <a16:creationId xmlns:a16="http://schemas.microsoft.com/office/drawing/2014/main" id="{C889C494-35C7-2A74-1D35-E0A0C433346D}"/>
              </a:ext>
            </a:extLst>
          </p:cNvPr>
          <p:cNvPicPr>
            <a:picLocks noChangeAspect="1"/>
          </p:cNvPicPr>
          <p:nvPr/>
        </p:nvPicPr>
        <p:blipFill>
          <a:blip r:embed="rId11"/>
          <a:stretch>
            <a:fillRect/>
          </a:stretch>
        </p:blipFill>
        <p:spPr>
          <a:xfrm>
            <a:off x="11039875" y="705071"/>
            <a:ext cx="753407" cy="752919"/>
          </a:xfrm>
          <a:prstGeom prst="rect">
            <a:avLst/>
          </a:prstGeom>
        </p:spPr>
      </p:pic>
    </p:spTree>
    <p:extLst>
      <p:ext uri="{BB962C8B-B14F-4D97-AF65-F5344CB8AC3E}">
        <p14:creationId xmlns:p14="http://schemas.microsoft.com/office/powerpoint/2010/main" val="251014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278401F8-1F9B-2B18-4A28-6BBF16F3D392}"/>
              </a:ext>
            </a:extLst>
          </p:cNvPr>
          <p:cNvSpPr>
            <a:spLocks noGrp="1"/>
          </p:cNvSpPr>
          <p:nvPr>
            <p:ph type="title"/>
          </p:nvPr>
        </p:nvSpPr>
        <p:spPr>
          <a:xfrm>
            <a:off x="385569" y="359324"/>
            <a:ext cx="8588322" cy="689669"/>
          </a:xfrm>
        </p:spPr>
        <p:txBody>
          <a:bodyPr/>
          <a:lstStyle/>
          <a:p>
            <a:r>
              <a:rPr lang="en-US"/>
              <a:t>By working with robots, employees save time – unlocking capacity at scale</a:t>
            </a:r>
          </a:p>
        </p:txBody>
      </p:sp>
      <p:sp>
        <p:nvSpPr>
          <p:cNvPr id="7" name="TextBox 6">
            <a:extLst>
              <a:ext uri="{FF2B5EF4-FFF2-40B4-BE49-F238E27FC236}">
                <a16:creationId xmlns:a16="http://schemas.microsoft.com/office/drawing/2014/main" id="{5FADC9C4-FCA5-B4FC-1D1A-B8C852AD66E6}"/>
              </a:ext>
            </a:extLst>
          </p:cNvPr>
          <p:cNvSpPr txBox="1"/>
          <p:nvPr/>
        </p:nvSpPr>
        <p:spPr>
          <a:xfrm>
            <a:off x="385565" y="1373012"/>
            <a:ext cx="4328446" cy="531767"/>
          </a:xfrm>
          <a:prstGeom prst="rect">
            <a:avLst/>
          </a:prstGeom>
          <a:noFill/>
        </p:spPr>
        <p:txBody>
          <a:bodyPr wrap="square" lIns="0" tIns="0" rIns="0" bIns="0" rtlCol="0">
            <a:noAutofit/>
          </a:bodyPr>
          <a:lstStyle/>
          <a:p>
            <a:pPr algn="ctr" defTabSz="456926">
              <a:defRPr/>
            </a:pPr>
            <a:r>
              <a:rPr lang="en-US" sz="1600"/>
              <a:t>Estimated time savings by providing a </a:t>
            </a:r>
            <a:br>
              <a:rPr lang="en-US" sz="1600"/>
            </a:br>
            <a:r>
              <a:rPr lang="en-US" sz="1600"/>
              <a:t>digital assistant to </a:t>
            </a:r>
            <a:r>
              <a:rPr lang="en-US" sz="1600" b="1">
                <a:solidFill>
                  <a:srgbClr val="0067DF"/>
                </a:solidFill>
              </a:rPr>
              <a:t>one employee</a:t>
            </a:r>
          </a:p>
        </p:txBody>
      </p:sp>
      <p:sp>
        <p:nvSpPr>
          <p:cNvPr id="8" name="TextBox 7">
            <a:extLst>
              <a:ext uri="{FF2B5EF4-FFF2-40B4-BE49-F238E27FC236}">
                <a16:creationId xmlns:a16="http://schemas.microsoft.com/office/drawing/2014/main" id="{B99A5A29-0128-5EBC-47BB-930DCC534D40}"/>
              </a:ext>
            </a:extLst>
          </p:cNvPr>
          <p:cNvSpPr txBox="1"/>
          <p:nvPr/>
        </p:nvSpPr>
        <p:spPr>
          <a:xfrm>
            <a:off x="4714013" y="1373012"/>
            <a:ext cx="7092430" cy="531767"/>
          </a:xfrm>
          <a:prstGeom prst="rect">
            <a:avLst/>
          </a:prstGeom>
          <a:noFill/>
        </p:spPr>
        <p:txBody>
          <a:bodyPr wrap="square" lIns="0" tIns="0" rIns="0" bIns="0" rtlCol="0">
            <a:noAutofit/>
          </a:bodyPr>
          <a:lstStyle/>
          <a:p>
            <a:pPr algn="ctr" defTabSz="456926">
              <a:defRPr/>
            </a:pPr>
            <a:r>
              <a:rPr lang="en-US" sz="1600"/>
              <a:t>Estimated time savings by providing a </a:t>
            </a:r>
            <a:br>
              <a:rPr lang="en-US" sz="1600"/>
            </a:br>
            <a:r>
              <a:rPr lang="en-US" sz="1600"/>
              <a:t>digital assistant to </a:t>
            </a:r>
            <a:r>
              <a:rPr lang="en-US" sz="1600" b="1">
                <a:solidFill>
                  <a:srgbClr val="FA4616"/>
                </a:solidFill>
              </a:rPr>
              <a:t>15k employees</a:t>
            </a:r>
          </a:p>
        </p:txBody>
      </p:sp>
      <p:pic>
        <p:nvPicPr>
          <p:cNvPr id="9" name="Picture 8" descr="A black and white photo of a robot&#10;&#10;Description automatically generated with low confidence">
            <a:extLst>
              <a:ext uri="{FF2B5EF4-FFF2-40B4-BE49-F238E27FC236}">
                <a16:creationId xmlns:a16="http://schemas.microsoft.com/office/drawing/2014/main" id="{FBE0D883-934F-32C8-077F-5A728B5DB9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18133" y="3323862"/>
            <a:ext cx="1223872" cy="2940578"/>
          </a:xfrm>
          <a:prstGeom prst="rect">
            <a:avLst/>
          </a:prstGeom>
        </p:spPr>
      </p:pic>
      <p:pic>
        <p:nvPicPr>
          <p:cNvPr id="10" name="Picture 9">
            <a:extLst>
              <a:ext uri="{FF2B5EF4-FFF2-40B4-BE49-F238E27FC236}">
                <a16:creationId xmlns:a16="http://schemas.microsoft.com/office/drawing/2014/main" id="{CADC6FCA-8927-348D-CE82-3B5BE3E3AC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17285" y="2888624"/>
            <a:ext cx="5710434" cy="3422455"/>
          </a:xfrm>
          <a:prstGeom prst="rect">
            <a:avLst/>
          </a:prstGeom>
        </p:spPr>
      </p:pic>
      <p:cxnSp>
        <p:nvCxnSpPr>
          <p:cNvPr id="11" name="Straight Connector 10">
            <a:extLst>
              <a:ext uri="{FF2B5EF4-FFF2-40B4-BE49-F238E27FC236}">
                <a16:creationId xmlns:a16="http://schemas.microsoft.com/office/drawing/2014/main" id="{84EEF47C-41B2-49A8-56A5-A0C20DAE16CD}"/>
              </a:ext>
            </a:extLst>
          </p:cNvPr>
          <p:cNvCxnSpPr>
            <a:cxnSpLocks/>
          </p:cNvCxnSpPr>
          <p:nvPr/>
        </p:nvCxnSpPr>
        <p:spPr>
          <a:xfrm>
            <a:off x="4714009" y="3338333"/>
            <a:ext cx="0" cy="2669239"/>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5C8929C4-9A8A-8C75-CDE1-7818AA8EEF0A}"/>
              </a:ext>
            </a:extLst>
          </p:cNvPr>
          <p:cNvSpPr/>
          <p:nvPr/>
        </p:nvSpPr>
        <p:spPr>
          <a:xfrm>
            <a:off x="385564" y="2100830"/>
            <a:ext cx="4328445" cy="845825"/>
          </a:xfrm>
          <a:prstGeom prst="rect">
            <a:avLst/>
          </a:prstGeom>
          <a:solidFill>
            <a:schemeClr val="accent2"/>
          </a:solidFill>
        </p:spPr>
        <p:txBody>
          <a:bodyPr wrap="square" lIns="182784" tIns="0" rIns="182784" bIns="0" anchor="ctr">
            <a:noAutofit/>
          </a:bodyPr>
          <a:lstStyle/>
          <a:p>
            <a:pPr algn="ctr" defTabSz="456926">
              <a:defRPr/>
            </a:pPr>
            <a:r>
              <a:rPr lang="en-US" sz="4798" b="1" spc="-150">
                <a:solidFill>
                  <a:srgbClr val="FFFFFF"/>
                </a:solidFill>
              </a:rPr>
              <a:t>240 </a:t>
            </a:r>
            <a:r>
              <a:rPr lang="en-US" sz="2398" b="1" spc="-150">
                <a:solidFill>
                  <a:srgbClr val="FFFFFF"/>
                </a:solidFill>
              </a:rPr>
              <a:t>hours per year</a:t>
            </a:r>
          </a:p>
        </p:txBody>
      </p:sp>
      <p:sp>
        <p:nvSpPr>
          <p:cNvPr id="13" name="Rectangle 12">
            <a:extLst>
              <a:ext uri="{FF2B5EF4-FFF2-40B4-BE49-F238E27FC236}">
                <a16:creationId xmlns:a16="http://schemas.microsoft.com/office/drawing/2014/main" id="{CD4E71F1-A74E-A37C-E7EB-37D9296B32C9}"/>
              </a:ext>
            </a:extLst>
          </p:cNvPr>
          <p:cNvSpPr/>
          <p:nvPr/>
        </p:nvSpPr>
        <p:spPr>
          <a:xfrm>
            <a:off x="4714013" y="2100830"/>
            <a:ext cx="7092430" cy="845825"/>
          </a:xfrm>
          <a:prstGeom prst="rect">
            <a:avLst/>
          </a:prstGeom>
          <a:solidFill>
            <a:schemeClr val="accent1"/>
          </a:solidFill>
        </p:spPr>
        <p:txBody>
          <a:bodyPr wrap="square" lIns="182784" tIns="0" rIns="182784" bIns="0" anchor="ctr">
            <a:noAutofit/>
          </a:bodyPr>
          <a:lstStyle/>
          <a:p>
            <a:pPr algn="ctr" defTabSz="456926">
              <a:defRPr/>
            </a:pPr>
            <a:r>
              <a:rPr lang="en-US" sz="4798" b="1" spc="-150">
                <a:solidFill>
                  <a:srgbClr val="FFFFFF"/>
                </a:solidFill>
              </a:rPr>
              <a:t>3.6M+ </a:t>
            </a:r>
            <a:r>
              <a:rPr lang="en-US" sz="2398" b="1" spc="-150">
                <a:solidFill>
                  <a:srgbClr val="FFFFFF"/>
                </a:solidFill>
              </a:rPr>
              <a:t>hours per year</a:t>
            </a:r>
            <a:endParaRPr lang="en-US" sz="4798" spc="-150">
              <a:solidFill>
                <a:srgbClr val="FFFFFF"/>
              </a:solidFill>
            </a:endParaRPr>
          </a:p>
        </p:txBody>
      </p:sp>
      <p:sp>
        <p:nvSpPr>
          <p:cNvPr id="14" name="Isosceles Triangle 13">
            <a:extLst>
              <a:ext uri="{FF2B5EF4-FFF2-40B4-BE49-F238E27FC236}">
                <a16:creationId xmlns:a16="http://schemas.microsoft.com/office/drawing/2014/main" id="{78784954-6D51-846D-D64A-46A5934343F5}"/>
              </a:ext>
            </a:extLst>
          </p:cNvPr>
          <p:cNvSpPr/>
          <p:nvPr/>
        </p:nvSpPr>
        <p:spPr>
          <a:xfrm rot="5400000">
            <a:off x="4632008" y="2436049"/>
            <a:ext cx="339392" cy="17539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defTabSz="456926">
              <a:defRPr/>
            </a:pPr>
            <a:endParaRPr lang="en-US" sz="1200" err="1">
              <a:solidFill>
                <a:srgbClr val="FFFFFF"/>
              </a:solidFill>
              <a:latin typeface="Arial"/>
              <a:cs typeface="Arial"/>
            </a:endParaRPr>
          </a:p>
        </p:txBody>
      </p:sp>
      <p:sp>
        <p:nvSpPr>
          <p:cNvPr id="15" name="TextBox 14">
            <a:extLst>
              <a:ext uri="{FF2B5EF4-FFF2-40B4-BE49-F238E27FC236}">
                <a16:creationId xmlns:a16="http://schemas.microsoft.com/office/drawing/2014/main" id="{F92AE499-29C0-4E9F-B817-CE55C6411D51}"/>
              </a:ext>
            </a:extLst>
          </p:cNvPr>
          <p:cNvSpPr txBox="1"/>
          <p:nvPr/>
        </p:nvSpPr>
        <p:spPr>
          <a:xfrm>
            <a:off x="2035706" y="3522159"/>
            <a:ext cx="2460704" cy="531767"/>
          </a:xfrm>
          <a:prstGeom prst="rect">
            <a:avLst/>
          </a:prstGeom>
          <a:noFill/>
        </p:spPr>
        <p:txBody>
          <a:bodyPr wrap="square" lIns="0" tIns="0" rIns="0" bIns="0" rtlCol="0">
            <a:noAutofit/>
          </a:bodyPr>
          <a:lstStyle/>
          <a:p>
            <a:pPr defTabSz="456926">
              <a:defRPr/>
            </a:pPr>
            <a:r>
              <a:rPr lang="en-US" sz="1798" b="1">
                <a:solidFill>
                  <a:srgbClr val="0067DF"/>
                </a:solidFill>
              </a:rPr>
              <a:t>1 hour </a:t>
            </a:r>
            <a:r>
              <a:rPr lang="en-US" sz="1798"/>
              <a:t>per day</a:t>
            </a:r>
            <a:br>
              <a:rPr lang="en-US" sz="1798"/>
            </a:br>
            <a:r>
              <a:rPr lang="en-US" sz="1798" b="1">
                <a:solidFill>
                  <a:srgbClr val="0067DF"/>
                </a:solidFill>
              </a:rPr>
              <a:t>20 hours </a:t>
            </a:r>
            <a:r>
              <a:rPr lang="en-US" sz="1798"/>
              <a:t>per month</a:t>
            </a:r>
          </a:p>
        </p:txBody>
      </p:sp>
      <p:sp>
        <p:nvSpPr>
          <p:cNvPr id="16" name="TextBox 15">
            <a:extLst>
              <a:ext uri="{FF2B5EF4-FFF2-40B4-BE49-F238E27FC236}">
                <a16:creationId xmlns:a16="http://schemas.microsoft.com/office/drawing/2014/main" id="{09C5DA88-7BC1-F10D-A794-E3085ECD4425}"/>
              </a:ext>
            </a:extLst>
          </p:cNvPr>
          <p:cNvSpPr txBox="1"/>
          <p:nvPr/>
        </p:nvSpPr>
        <p:spPr>
          <a:xfrm>
            <a:off x="264298" y="6311081"/>
            <a:ext cx="11542136" cy="410324"/>
          </a:xfrm>
          <a:prstGeom prst="rect">
            <a:avLst/>
          </a:prstGeom>
          <a:noFill/>
        </p:spPr>
        <p:txBody>
          <a:bodyPr wrap="none" lIns="0" tIns="0" rIns="0" bIns="0" rtlCol="0">
            <a:noAutofit/>
          </a:bodyPr>
          <a:lstStyle/>
          <a:p>
            <a:pPr algn="ctr" defTabSz="457063"/>
            <a:r>
              <a:rPr lang="en-US" sz="1799"/>
              <a:t>To take advantage of the opportunity we need to educate individuals to have an Automation Intent Mindset (AIM)</a:t>
            </a:r>
          </a:p>
        </p:txBody>
      </p:sp>
      <p:pic>
        <p:nvPicPr>
          <p:cNvPr id="3" name="Picture 2" descr="A picture containing text, clipart&#10;&#10;Description automatically generated">
            <a:extLst>
              <a:ext uri="{FF2B5EF4-FFF2-40B4-BE49-F238E27FC236}">
                <a16:creationId xmlns:a16="http://schemas.microsoft.com/office/drawing/2014/main" id="{A4F6FB31-32B7-238C-A04F-DEC2A8671027}"/>
              </a:ext>
            </a:extLst>
          </p:cNvPr>
          <p:cNvPicPr>
            <a:picLocks noChangeAspect="1"/>
          </p:cNvPicPr>
          <p:nvPr/>
        </p:nvPicPr>
        <p:blipFill>
          <a:blip r:embed="rId4"/>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704433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A4437F-ED28-49C8-A947-221EB518E62C}"/>
              </a:ext>
            </a:extLst>
          </p:cNvPr>
          <p:cNvSpPr txBox="1"/>
          <p:nvPr/>
        </p:nvSpPr>
        <p:spPr>
          <a:xfrm>
            <a:off x="974452" y="600508"/>
            <a:ext cx="8418126" cy="2584362"/>
          </a:xfrm>
          <a:prstGeom prst="rect">
            <a:avLst/>
          </a:prstGeom>
          <a:noFill/>
        </p:spPr>
        <p:txBody>
          <a:bodyPr wrap="square" rtlCol="0">
            <a:spAutoFit/>
          </a:bodyPr>
          <a:lstStyle/>
          <a:p>
            <a:r>
              <a:rPr lang="en-IN" sz="5398">
                <a:latin typeface="Inter"/>
              </a:rPr>
              <a:t>Intelligent Process Automation</a:t>
            </a:r>
          </a:p>
          <a:p>
            <a:endParaRPr lang="en-IN" sz="5398"/>
          </a:p>
        </p:txBody>
      </p:sp>
      <p:graphicFrame>
        <p:nvGraphicFramePr>
          <p:cNvPr id="4" name="Diagram 3">
            <a:extLst>
              <a:ext uri="{FF2B5EF4-FFF2-40B4-BE49-F238E27FC236}">
                <a16:creationId xmlns:a16="http://schemas.microsoft.com/office/drawing/2014/main" id="{F2927200-A4B9-469A-9BFD-A36E74E8B10F}"/>
              </a:ext>
            </a:extLst>
          </p:cNvPr>
          <p:cNvGraphicFramePr/>
          <p:nvPr/>
        </p:nvGraphicFramePr>
        <p:xfrm>
          <a:off x="912700" y="1534019"/>
          <a:ext cx="10685729" cy="45719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5" name="Picture 14" descr="A picture containing text, clipart&#10;&#10;Description automatically generated">
            <a:extLst>
              <a:ext uri="{FF2B5EF4-FFF2-40B4-BE49-F238E27FC236}">
                <a16:creationId xmlns:a16="http://schemas.microsoft.com/office/drawing/2014/main" id="{4191F358-FD86-0442-24F1-3BD13FB48EAA}"/>
              </a:ext>
            </a:extLst>
          </p:cNvPr>
          <p:cNvPicPr>
            <a:picLocks noChangeAspect="1"/>
          </p:cNvPicPr>
          <p:nvPr/>
        </p:nvPicPr>
        <p:blipFill>
          <a:blip r:embed="rId7"/>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029665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B06A508-0515-6E87-FD72-58EE93F534E0}"/>
              </a:ext>
            </a:extLst>
          </p:cNvPr>
          <p:cNvGraphicFramePr/>
          <p:nvPr/>
        </p:nvGraphicFramePr>
        <p:xfrm>
          <a:off x="361855" y="686515"/>
          <a:ext cx="10665222" cy="58111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2">
            <a:extLst>
              <a:ext uri="{FF2B5EF4-FFF2-40B4-BE49-F238E27FC236}">
                <a16:creationId xmlns:a16="http://schemas.microsoft.com/office/drawing/2014/main" id="{2F8112F4-E67C-AB59-A88D-AACFBA079A26}"/>
              </a:ext>
            </a:extLst>
          </p:cNvPr>
          <p:cNvSpPr txBox="1">
            <a:spLocks/>
          </p:cNvSpPr>
          <p:nvPr/>
        </p:nvSpPr>
        <p:spPr>
          <a:xfrm>
            <a:off x="428513" y="477019"/>
            <a:ext cx="10512862" cy="67609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199" b="1"/>
              <a:t>Benefits </a:t>
            </a:r>
            <a:endParaRPr lang="en-IN" sz="3199" b="1"/>
          </a:p>
        </p:txBody>
      </p:sp>
      <p:pic>
        <p:nvPicPr>
          <p:cNvPr id="20" name="Picture 19" descr="A picture containing text, clipart&#10;&#10;Description automatically generated">
            <a:extLst>
              <a:ext uri="{FF2B5EF4-FFF2-40B4-BE49-F238E27FC236}">
                <a16:creationId xmlns:a16="http://schemas.microsoft.com/office/drawing/2014/main" id="{BEA014A6-71FE-4FF5-E5C1-891BA2E5CD0F}"/>
              </a:ext>
            </a:extLst>
          </p:cNvPr>
          <p:cNvPicPr>
            <a:picLocks noChangeAspect="1"/>
          </p:cNvPicPr>
          <p:nvPr/>
        </p:nvPicPr>
        <p:blipFill>
          <a:blip r:embed="rId7"/>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1656899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B06A508-0515-6E87-FD72-58EE93F534E0}"/>
              </a:ext>
            </a:extLst>
          </p:cNvPr>
          <p:cNvGraphicFramePr/>
          <p:nvPr/>
        </p:nvGraphicFramePr>
        <p:xfrm>
          <a:off x="361855" y="686515"/>
          <a:ext cx="10665222" cy="58111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2">
            <a:extLst>
              <a:ext uri="{FF2B5EF4-FFF2-40B4-BE49-F238E27FC236}">
                <a16:creationId xmlns:a16="http://schemas.microsoft.com/office/drawing/2014/main" id="{2F8112F4-E67C-AB59-A88D-AACFBA079A26}"/>
              </a:ext>
            </a:extLst>
          </p:cNvPr>
          <p:cNvSpPr txBox="1">
            <a:spLocks/>
          </p:cNvSpPr>
          <p:nvPr/>
        </p:nvSpPr>
        <p:spPr>
          <a:xfrm>
            <a:off x="4523196" y="22289"/>
            <a:ext cx="10512862" cy="67609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199" b="1"/>
              <a:t>Applications</a:t>
            </a:r>
            <a:endParaRPr lang="en-IN" sz="3199" b="1"/>
          </a:p>
        </p:txBody>
      </p:sp>
      <p:pic>
        <p:nvPicPr>
          <p:cNvPr id="13" name="Picture 12" descr="A picture containing text, clipart&#10;&#10;Description automatically generated">
            <a:extLst>
              <a:ext uri="{FF2B5EF4-FFF2-40B4-BE49-F238E27FC236}">
                <a16:creationId xmlns:a16="http://schemas.microsoft.com/office/drawing/2014/main" id="{CF370A75-7467-CA92-14C6-C98DCD945ABA}"/>
              </a:ext>
            </a:extLst>
          </p:cNvPr>
          <p:cNvPicPr>
            <a:picLocks noChangeAspect="1"/>
          </p:cNvPicPr>
          <p:nvPr/>
        </p:nvPicPr>
        <p:blipFill>
          <a:blip r:embed="rId7"/>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0136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AF302A-3F23-4814-97A5-3FCC64AC904C}"/>
              </a:ext>
            </a:extLst>
          </p:cNvPr>
          <p:cNvPicPr>
            <a:picLocks noChangeAspect="1"/>
          </p:cNvPicPr>
          <p:nvPr/>
        </p:nvPicPr>
        <p:blipFill>
          <a:blip r:embed="rId2"/>
          <a:stretch>
            <a:fillRect/>
          </a:stretch>
        </p:blipFill>
        <p:spPr>
          <a:xfrm>
            <a:off x="4827229" y="462438"/>
            <a:ext cx="5457832" cy="5670571"/>
          </a:xfrm>
          <a:prstGeom prst="rect">
            <a:avLst/>
          </a:prstGeom>
        </p:spPr>
      </p:pic>
      <p:sp>
        <p:nvSpPr>
          <p:cNvPr id="4" name="TextBox 3">
            <a:extLst>
              <a:ext uri="{FF2B5EF4-FFF2-40B4-BE49-F238E27FC236}">
                <a16:creationId xmlns:a16="http://schemas.microsoft.com/office/drawing/2014/main" id="{B7E8CDA7-BBEE-48E3-9FDB-5C8060FAC8B3}"/>
              </a:ext>
            </a:extLst>
          </p:cNvPr>
          <p:cNvSpPr txBox="1"/>
          <p:nvPr/>
        </p:nvSpPr>
        <p:spPr>
          <a:xfrm>
            <a:off x="211548" y="245828"/>
            <a:ext cx="4732026" cy="923090"/>
          </a:xfrm>
          <a:prstGeom prst="rect">
            <a:avLst/>
          </a:prstGeom>
          <a:noFill/>
        </p:spPr>
        <p:txBody>
          <a:bodyPr wrap="square" rtlCol="0">
            <a:spAutoFit/>
          </a:bodyPr>
          <a:lstStyle/>
          <a:p>
            <a:r>
              <a:rPr lang="en-IN" sz="5398">
                <a:latin typeface="Inter"/>
              </a:rPr>
              <a:t>RPA and the AI</a:t>
            </a:r>
            <a:endParaRPr lang="en-IN" sz="5398"/>
          </a:p>
        </p:txBody>
      </p:sp>
      <p:sp>
        <p:nvSpPr>
          <p:cNvPr id="5" name="TextBox 4">
            <a:extLst>
              <a:ext uri="{FF2B5EF4-FFF2-40B4-BE49-F238E27FC236}">
                <a16:creationId xmlns:a16="http://schemas.microsoft.com/office/drawing/2014/main" id="{D62BA1A8-0787-4A8D-A835-46174C0B7EA7}"/>
              </a:ext>
            </a:extLst>
          </p:cNvPr>
          <p:cNvSpPr txBox="1"/>
          <p:nvPr/>
        </p:nvSpPr>
        <p:spPr>
          <a:xfrm>
            <a:off x="9335902" y="6616584"/>
            <a:ext cx="2936257" cy="253850"/>
          </a:xfrm>
          <a:prstGeom prst="rect">
            <a:avLst/>
          </a:prstGeom>
          <a:noFill/>
        </p:spPr>
        <p:txBody>
          <a:bodyPr wrap="none" rtlCol="0">
            <a:spAutoFit/>
          </a:bodyPr>
          <a:lstStyle/>
          <a:p>
            <a:r>
              <a:rPr lang="en-IN" sz="1050"/>
              <a:t>https://www.uipath.com/automation/ai-and-rpa</a:t>
            </a:r>
          </a:p>
        </p:txBody>
      </p:sp>
      <p:pic>
        <p:nvPicPr>
          <p:cNvPr id="3" name="Picture 2">
            <a:extLst>
              <a:ext uri="{FF2B5EF4-FFF2-40B4-BE49-F238E27FC236}">
                <a16:creationId xmlns:a16="http://schemas.microsoft.com/office/drawing/2014/main" id="{B361B959-D45D-423A-9DD1-CF432EF4A091}"/>
              </a:ext>
            </a:extLst>
          </p:cNvPr>
          <p:cNvPicPr>
            <a:picLocks noChangeAspect="1"/>
          </p:cNvPicPr>
          <p:nvPr/>
        </p:nvPicPr>
        <p:blipFill>
          <a:blip r:embed="rId3"/>
          <a:stretch>
            <a:fillRect/>
          </a:stretch>
        </p:blipFill>
        <p:spPr>
          <a:xfrm>
            <a:off x="834283" y="5459207"/>
            <a:ext cx="4990910" cy="1135214"/>
          </a:xfrm>
          <a:prstGeom prst="rect">
            <a:avLst/>
          </a:prstGeom>
        </p:spPr>
      </p:pic>
      <p:pic>
        <p:nvPicPr>
          <p:cNvPr id="6" name="Picture 5" descr="A picture containing text, clipart&#10;&#10;Description automatically generated">
            <a:extLst>
              <a:ext uri="{FF2B5EF4-FFF2-40B4-BE49-F238E27FC236}">
                <a16:creationId xmlns:a16="http://schemas.microsoft.com/office/drawing/2014/main" id="{D71C241B-C836-1BA4-510C-D12156C8B1AF}"/>
              </a:ext>
            </a:extLst>
          </p:cNvPr>
          <p:cNvPicPr>
            <a:picLocks noChangeAspect="1"/>
          </p:cNvPicPr>
          <p:nvPr/>
        </p:nvPicPr>
        <p:blipFill>
          <a:blip r:embed="rId4"/>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764605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5952D2-B72B-47F8-87E2-B469C03DA5BD}"/>
              </a:ext>
            </a:extLst>
          </p:cNvPr>
          <p:cNvPicPr>
            <a:picLocks noChangeAspect="1"/>
          </p:cNvPicPr>
          <p:nvPr/>
        </p:nvPicPr>
        <p:blipFill>
          <a:blip r:embed="rId2"/>
          <a:stretch>
            <a:fillRect/>
          </a:stretch>
        </p:blipFill>
        <p:spPr>
          <a:xfrm>
            <a:off x="-1" y="930502"/>
            <a:ext cx="12188825" cy="5476265"/>
          </a:xfrm>
          <a:prstGeom prst="rect">
            <a:avLst/>
          </a:prstGeom>
        </p:spPr>
      </p:pic>
      <p:pic>
        <p:nvPicPr>
          <p:cNvPr id="4" name="Picture 3" descr="A picture containing shape&#10;&#10;Description automatically generated">
            <a:extLst>
              <a:ext uri="{FF2B5EF4-FFF2-40B4-BE49-F238E27FC236}">
                <a16:creationId xmlns:a16="http://schemas.microsoft.com/office/drawing/2014/main" id="{C0E19EB2-D107-42FA-9D0D-2FBA9408E535}"/>
              </a:ext>
            </a:extLst>
          </p:cNvPr>
          <p:cNvPicPr>
            <a:picLocks noChangeAspect="1"/>
          </p:cNvPicPr>
          <p:nvPr/>
        </p:nvPicPr>
        <p:blipFill rotWithShape="1">
          <a:blip r:embed="rId3">
            <a:extLst>
              <a:ext uri="{28A0092B-C50C-407E-A947-70E740481C1C}">
                <a14:useLocalDpi xmlns:a14="http://schemas.microsoft.com/office/drawing/2010/main" val="0"/>
              </a:ext>
            </a:extLst>
          </a:blip>
          <a:srcRect r="58193"/>
          <a:stretch/>
        </p:blipFill>
        <p:spPr>
          <a:xfrm>
            <a:off x="249098" y="1000758"/>
            <a:ext cx="1779269" cy="716152"/>
          </a:xfrm>
          <a:prstGeom prst="rect">
            <a:avLst/>
          </a:prstGeom>
        </p:spPr>
      </p:pic>
    </p:spTree>
    <p:extLst>
      <p:ext uri="{BB962C8B-B14F-4D97-AF65-F5344CB8AC3E}">
        <p14:creationId xmlns:p14="http://schemas.microsoft.com/office/powerpoint/2010/main" val="222070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168;p10">
            <a:extLst>
              <a:ext uri="{FF2B5EF4-FFF2-40B4-BE49-F238E27FC236}">
                <a16:creationId xmlns:a16="http://schemas.microsoft.com/office/drawing/2014/main" id="{4BC7E93B-8AA3-704B-8A36-CF1592A87DB8}"/>
              </a:ext>
            </a:extLst>
          </p:cNvPr>
          <p:cNvSpPr txBox="1"/>
          <p:nvPr/>
        </p:nvSpPr>
        <p:spPr>
          <a:xfrm>
            <a:off x="1229992" y="2364064"/>
            <a:ext cx="2502848" cy="649031"/>
          </a:xfrm>
          <a:prstGeom prst="rect">
            <a:avLst/>
          </a:prstGeom>
          <a:solidFill>
            <a:schemeClr val="accent1"/>
          </a:solid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algn="ctr">
              <a:lnSpc>
                <a:spcPct val="90000"/>
              </a:lnSpc>
              <a:buClr>
                <a:schemeClr val="lt1"/>
              </a:buClr>
              <a:buSzPts val="1600"/>
            </a:pPr>
            <a:r>
              <a:rPr lang="en-US" sz="1600" b="1">
                <a:solidFill>
                  <a:schemeClr val="lt1"/>
                </a:solidFill>
              </a:rPr>
              <a:t>Academy</a:t>
            </a:r>
            <a:endParaRPr sz="1799"/>
          </a:p>
        </p:txBody>
      </p:sp>
      <p:sp>
        <p:nvSpPr>
          <p:cNvPr id="3" name="Google Shape;1169;p10">
            <a:extLst>
              <a:ext uri="{FF2B5EF4-FFF2-40B4-BE49-F238E27FC236}">
                <a16:creationId xmlns:a16="http://schemas.microsoft.com/office/drawing/2014/main" id="{E0B95C4E-7945-8E2F-FFA6-C652BF1DE0D9}"/>
              </a:ext>
            </a:extLst>
          </p:cNvPr>
          <p:cNvSpPr txBox="1"/>
          <p:nvPr/>
        </p:nvSpPr>
        <p:spPr>
          <a:xfrm>
            <a:off x="3824878" y="3360755"/>
            <a:ext cx="6214981" cy="650830"/>
          </a:xfrm>
          <a:prstGeom prst="rect">
            <a:avLst/>
          </a:prstGeom>
          <a:no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marL="457063" indent="-285664">
              <a:lnSpc>
                <a:spcPct val="90000"/>
              </a:lnSpc>
              <a:buSzPts val="1200"/>
              <a:buFont typeface="Arial"/>
              <a:buChar char="•"/>
            </a:pPr>
            <a:r>
              <a:rPr lang="en-US" sz="1200">
                <a:solidFill>
                  <a:schemeClr val="dk1"/>
                </a:solidFill>
              </a:rPr>
              <a:t>Get crowdsourced support and share product feedback on </a:t>
            </a:r>
            <a:r>
              <a:rPr lang="en-US" sz="1200" u="sng">
                <a:solidFill>
                  <a:schemeClr val="hlink"/>
                </a:solidFill>
                <a:hlinkClick r:id="rId2"/>
              </a:rPr>
              <a:t>UiPath Forum</a:t>
            </a:r>
            <a:endParaRPr sz="1799"/>
          </a:p>
          <a:p>
            <a:pPr marL="457063" indent="-285664">
              <a:lnSpc>
                <a:spcPct val="90000"/>
              </a:lnSpc>
              <a:spcBef>
                <a:spcPts val="500"/>
              </a:spcBef>
              <a:buSzPts val="1200"/>
              <a:buFont typeface="Arial"/>
              <a:buChar char="•"/>
            </a:pPr>
            <a:r>
              <a:rPr lang="en-US" sz="1200">
                <a:solidFill>
                  <a:schemeClr val="dk1"/>
                </a:solidFill>
              </a:rPr>
              <a:t>Check the product </a:t>
            </a:r>
            <a:r>
              <a:rPr lang="en-US" sz="1200" u="sng">
                <a:solidFill>
                  <a:schemeClr val="hlink"/>
                </a:solidFill>
                <a:hlinkClick r:id="rId3"/>
              </a:rPr>
              <a:t>documentation</a:t>
            </a:r>
            <a:r>
              <a:rPr lang="en-US" sz="1200">
                <a:solidFill>
                  <a:schemeClr val="dk1"/>
                </a:solidFill>
              </a:rPr>
              <a:t> </a:t>
            </a:r>
            <a:endParaRPr sz="1799"/>
          </a:p>
        </p:txBody>
      </p:sp>
      <p:sp>
        <p:nvSpPr>
          <p:cNvPr id="4" name="Google Shape;1170;p10">
            <a:extLst>
              <a:ext uri="{FF2B5EF4-FFF2-40B4-BE49-F238E27FC236}">
                <a16:creationId xmlns:a16="http://schemas.microsoft.com/office/drawing/2014/main" id="{DC128408-211C-6757-E64E-3D3269FA2A43}"/>
              </a:ext>
            </a:extLst>
          </p:cNvPr>
          <p:cNvSpPr txBox="1"/>
          <p:nvPr/>
        </p:nvSpPr>
        <p:spPr>
          <a:xfrm>
            <a:off x="1229992" y="3360755"/>
            <a:ext cx="2502848" cy="650830"/>
          </a:xfrm>
          <a:prstGeom prst="rect">
            <a:avLst/>
          </a:prstGeom>
          <a:solidFill>
            <a:schemeClr val="accent1"/>
          </a:solid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algn="ctr">
              <a:lnSpc>
                <a:spcPct val="90000"/>
              </a:lnSpc>
              <a:buClr>
                <a:schemeClr val="lt1"/>
              </a:buClr>
              <a:buSzPts val="1600"/>
            </a:pPr>
            <a:r>
              <a:rPr lang="en-US" sz="1600" b="1">
                <a:solidFill>
                  <a:schemeClr val="lt1"/>
                </a:solidFill>
              </a:rPr>
              <a:t>Forum</a:t>
            </a:r>
            <a:endParaRPr sz="1799"/>
          </a:p>
        </p:txBody>
      </p:sp>
      <p:sp>
        <p:nvSpPr>
          <p:cNvPr id="5" name="Google Shape;1171;p10">
            <a:extLst>
              <a:ext uri="{FF2B5EF4-FFF2-40B4-BE49-F238E27FC236}">
                <a16:creationId xmlns:a16="http://schemas.microsoft.com/office/drawing/2014/main" id="{FB9360EC-427B-91A2-A36E-54E9BEE3DC10}"/>
              </a:ext>
            </a:extLst>
          </p:cNvPr>
          <p:cNvSpPr txBox="1"/>
          <p:nvPr/>
        </p:nvSpPr>
        <p:spPr>
          <a:xfrm>
            <a:off x="1229992" y="4455844"/>
            <a:ext cx="2502848" cy="649031"/>
          </a:xfrm>
          <a:prstGeom prst="rect">
            <a:avLst/>
          </a:prstGeom>
          <a:solidFill>
            <a:schemeClr val="accent1"/>
          </a:solid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algn="ctr">
              <a:lnSpc>
                <a:spcPct val="90000"/>
              </a:lnSpc>
              <a:buClr>
                <a:schemeClr val="lt1"/>
              </a:buClr>
              <a:buSzPts val="1600"/>
            </a:pPr>
            <a:r>
              <a:rPr lang="en-US" sz="1600" b="1">
                <a:solidFill>
                  <a:schemeClr val="lt1"/>
                </a:solidFill>
              </a:rPr>
              <a:t>Community Events</a:t>
            </a:r>
            <a:endParaRPr sz="1799"/>
          </a:p>
        </p:txBody>
      </p:sp>
      <p:sp>
        <p:nvSpPr>
          <p:cNvPr id="6" name="Google Shape;1173;p10">
            <a:extLst>
              <a:ext uri="{FF2B5EF4-FFF2-40B4-BE49-F238E27FC236}">
                <a16:creationId xmlns:a16="http://schemas.microsoft.com/office/drawing/2014/main" id="{7EAB2CA2-2CFD-B1F0-596C-1CABEE3AE374}"/>
              </a:ext>
            </a:extLst>
          </p:cNvPr>
          <p:cNvSpPr txBox="1"/>
          <p:nvPr/>
        </p:nvSpPr>
        <p:spPr>
          <a:xfrm>
            <a:off x="3824878" y="4457432"/>
            <a:ext cx="6214981" cy="650830"/>
          </a:xfrm>
          <a:prstGeom prst="rect">
            <a:avLst/>
          </a:prstGeom>
          <a:no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marL="457063" indent="-285664">
              <a:lnSpc>
                <a:spcPct val="90000"/>
              </a:lnSpc>
              <a:buSzPts val="1200"/>
              <a:buFont typeface="Arial"/>
              <a:buChar char="•"/>
            </a:pPr>
            <a:r>
              <a:rPr lang="en-US" sz="1200">
                <a:solidFill>
                  <a:schemeClr val="dk1"/>
                </a:solidFill>
              </a:rPr>
              <a:t>Connect with like-minded people and share best practices with the </a:t>
            </a:r>
            <a:r>
              <a:rPr lang="en-US" sz="1200" u="sng">
                <a:solidFill>
                  <a:schemeClr val="hlink"/>
                </a:solidFill>
                <a:hlinkClick r:id="rId4"/>
              </a:rPr>
              <a:t>UiPath Community</a:t>
            </a:r>
            <a:endParaRPr sz="1799"/>
          </a:p>
          <a:p>
            <a:pPr marL="457063" indent="-285664">
              <a:lnSpc>
                <a:spcPct val="90000"/>
              </a:lnSpc>
              <a:spcBef>
                <a:spcPts val="500"/>
              </a:spcBef>
              <a:buSzPts val="1200"/>
              <a:buFont typeface="Arial"/>
              <a:buChar char="•"/>
            </a:pPr>
            <a:r>
              <a:rPr lang="en-US" sz="1200">
                <a:solidFill>
                  <a:schemeClr val="dk1"/>
                </a:solidFill>
              </a:rPr>
              <a:t>Solve challenges in engaging </a:t>
            </a:r>
            <a:r>
              <a:rPr lang="en-US" sz="1200" u="sng">
                <a:solidFill>
                  <a:schemeClr val="hlink"/>
                </a:solidFill>
                <a:hlinkClick r:id="rId5"/>
              </a:rPr>
              <a:t>hackathon</a:t>
            </a:r>
            <a:r>
              <a:rPr lang="en-US" sz="1200">
                <a:solidFill>
                  <a:schemeClr val="dk1"/>
                </a:solidFill>
              </a:rPr>
              <a:t> competitions</a:t>
            </a:r>
            <a:endParaRPr sz="1200" b="1">
              <a:solidFill>
                <a:schemeClr val="dk1"/>
              </a:solidFill>
            </a:endParaRPr>
          </a:p>
          <a:p>
            <a:pPr marL="457063" indent="-285664">
              <a:lnSpc>
                <a:spcPct val="90000"/>
              </a:lnSpc>
              <a:spcBef>
                <a:spcPts val="500"/>
              </a:spcBef>
              <a:buSzPts val="1200"/>
              <a:buFont typeface="Arial"/>
              <a:buChar char="•"/>
            </a:pPr>
            <a:r>
              <a:rPr lang="en-US" sz="1200">
                <a:solidFill>
                  <a:schemeClr val="dk1"/>
                </a:solidFill>
              </a:rPr>
              <a:t>Join meetups and </a:t>
            </a:r>
            <a:r>
              <a:rPr lang="en-US" sz="1200" u="sng">
                <a:solidFill>
                  <a:schemeClr val="hlink"/>
                </a:solidFill>
                <a:hlinkClick r:id="rId6"/>
              </a:rPr>
              <a:t>conferences</a:t>
            </a:r>
            <a:endParaRPr sz="1799"/>
          </a:p>
        </p:txBody>
      </p:sp>
      <p:sp>
        <p:nvSpPr>
          <p:cNvPr id="7" name="Google Shape;1174;p10">
            <a:extLst>
              <a:ext uri="{FF2B5EF4-FFF2-40B4-BE49-F238E27FC236}">
                <a16:creationId xmlns:a16="http://schemas.microsoft.com/office/drawing/2014/main" id="{E7542E0D-7A8B-A56E-34B4-7F2A62240F35}"/>
              </a:ext>
            </a:extLst>
          </p:cNvPr>
          <p:cNvSpPr txBox="1"/>
          <p:nvPr/>
        </p:nvSpPr>
        <p:spPr>
          <a:xfrm>
            <a:off x="3824878" y="2364064"/>
            <a:ext cx="6214981" cy="649031"/>
          </a:xfrm>
          <a:prstGeom prst="rect">
            <a:avLst/>
          </a:prstGeom>
          <a:noFill/>
          <a:ln w="9525" cap="flat" cmpd="sng">
            <a:solidFill>
              <a:srgbClr val="ECEEEE"/>
            </a:solidFill>
            <a:prstDash val="solid"/>
            <a:miter lim="800000"/>
            <a:headEnd type="none" w="sm" len="sm"/>
            <a:tailEnd type="none" w="sm" len="sm"/>
          </a:ln>
        </p:spPr>
        <p:txBody>
          <a:bodyPr spcFirstLastPara="1" wrap="square" lIns="0" tIns="0" rIns="0" bIns="0" anchor="ctr" anchorCtr="0">
            <a:noAutofit/>
          </a:bodyPr>
          <a:lstStyle/>
          <a:p>
            <a:pPr marL="457063" indent="-285664">
              <a:lnSpc>
                <a:spcPct val="90000"/>
              </a:lnSpc>
              <a:buSzPts val="1200"/>
              <a:buFont typeface="Arial"/>
              <a:buChar char="•"/>
            </a:pPr>
            <a:r>
              <a:rPr lang="en-US" sz="1200">
                <a:solidFill>
                  <a:schemeClr val="dk1"/>
                </a:solidFill>
              </a:rPr>
              <a:t>Learn the skills of the future on </a:t>
            </a:r>
            <a:r>
              <a:rPr lang="en-US" sz="1200" u="sng">
                <a:solidFill>
                  <a:schemeClr val="hlink"/>
                </a:solidFill>
                <a:hlinkClick r:id="rId7"/>
              </a:rPr>
              <a:t>UiPath Academy</a:t>
            </a:r>
            <a:r>
              <a:rPr lang="en-US" sz="1200" b="1">
                <a:solidFill>
                  <a:schemeClr val="dk1"/>
                </a:solidFill>
              </a:rPr>
              <a:t> </a:t>
            </a:r>
            <a:r>
              <a:rPr lang="en-US" sz="1200">
                <a:solidFill>
                  <a:schemeClr val="dk1"/>
                </a:solidFill>
              </a:rPr>
              <a:t>or through our </a:t>
            </a:r>
            <a:r>
              <a:rPr lang="en-US" sz="1200" u="sng">
                <a:solidFill>
                  <a:schemeClr val="hlink"/>
                </a:solidFill>
                <a:hlinkClick r:id="rId8"/>
              </a:rPr>
              <a:t>Academic Alliance</a:t>
            </a:r>
            <a:endParaRPr sz="1200" b="1">
              <a:solidFill>
                <a:schemeClr val="dk1"/>
              </a:solidFill>
            </a:endParaRPr>
          </a:p>
          <a:p>
            <a:pPr marL="457063" indent="-285664">
              <a:lnSpc>
                <a:spcPct val="90000"/>
              </a:lnSpc>
              <a:spcBef>
                <a:spcPts val="500"/>
              </a:spcBef>
              <a:buSzPts val="1200"/>
              <a:buFont typeface="Arial"/>
              <a:buChar char="•"/>
            </a:pPr>
            <a:r>
              <a:rPr lang="en-US" sz="1200">
                <a:solidFill>
                  <a:schemeClr val="dk1"/>
                </a:solidFill>
              </a:rPr>
              <a:t>Earn globally recognized credentials with </a:t>
            </a:r>
            <a:r>
              <a:rPr lang="en-US" sz="1200" u="sng">
                <a:solidFill>
                  <a:schemeClr val="hlink"/>
                </a:solidFill>
                <a:hlinkClick r:id="rId9"/>
              </a:rPr>
              <a:t>UiPath Certifications</a:t>
            </a:r>
            <a:endParaRPr sz="1799"/>
          </a:p>
        </p:txBody>
      </p:sp>
      <p:pic>
        <p:nvPicPr>
          <p:cNvPr id="8" name="Google Shape;1175;p10">
            <a:extLst>
              <a:ext uri="{FF2B5EF4-FFF2-40B4-BE49-F238E27FC236}">
                <a16:creationId xmlns:a16="http://schemas.microsoft.com/office/drawing/2014/main" id="{CB251110-B23A-5E74-3BEB-6F39EC6F9F97}"/>
              </a:ext>
            </a:extLst>
          </p:cNvPr>
          <p:cNvPicPr preferRelativeResize="0"/>
          <p:nvPr/>
        </p:nvPicPr>
        <p:blipFill rotWithShape="1">
          <a:blip r:embed="rId10">
            <a:alphaModFix/>
          </a:blip>
          <a:srcRect/>
          <a:stretch/>
        </p:blipFill>
        <p:spPr>
          <a:xfrm>
            <a:off x="539611" y="2403744"/>
            <a:ext cx="574525" cy="574525"/>
          </a:xfrm>
          <a:prstGeom prst="rect">
            <a:avLst/>
          </a:prstGeom>
          <a:noFill/>
          <a:ln>
            <a:noFill/>
          </a:ln>
        </p:spPr>
      </p:pic>
      <p:pic>
        <p:nvPicPr>
          <p:cNvPr id="9" name="Google Shape;1176;p10">
            <a:extLst>
              <a:ext uri="{FF2B5EF4-FFF2-40B4-BE49-F238E27FC236}">
                <a16:creationId xmlns:a16="http://schemas.microsoft.com/office/drawing/2014/main" id="{2B8ECC2E-C1E8-1271-DA7E-6313A37E35E5}"/>
              </a:ext>
            </a:extLst>
          </p:cNvPr>
          <p:cNvPicPr preferRelativeResize="0"/>
          <p:nvPr/>
        </p:nvPicPr>
        <p:blipFill rotWithShape="1">
          <a:blip r:embed="rId11">
            <a:alphaModFix/>
          </a:blip>
          <a:srcRect/>
          <a:stretch/>
        </p:blipFill>
        <p:spPr>
          <a:xfrm>
            <a:off x="568178" y="3398847"/>
            <a:ext cx="549132" cy="566589"/>
          </a:xfrm>
          <a:prstGeom prst="rect">
            <a:avLst/>
          </a:prstGeom>
          <a:noFill/>
          <a:ln>
            <a:noFill/>
          </a:ln>
        </p:spPr>
      </p:pic>
      <p:pic>
        <p:nvPicPr>
          <p:cNvPr id="10" name="Google Shape;1177;p10">
            <a:extLst>
              <a:ext uri="{FF2B5EF4-FFF2-40B4-BE49-F238E27FC236}">
                <a16:creationId xmlns:a16="http://schemas.microsoft.com/office/drawing/2014/main" id="{85DAEA28-4DBB-4349-99A4-F6DB528FAE5B}"/>
              </a:ext>
            </a:extLst>
          </p:cNvPr>
          <p:cNvPicPr preferRelativeResize="0"/>
          <p:nvPr/>
        </p:nvPicPr>
        <p:blipFill rotWithShape="1">
          <a:blip r:embed="rId12">
            <a:alphaModFix/>
          </a:blip>
          <a:srcRect/>
          <a:stretch/>
        </p:blipFill>
        <p:spPr>
          <a:xfrm>
            <a:off x="550721" y="4500283"/>
            <a:ext cx="549132" cy="558654"/>
          </a:xfrm>
          <a:prstGeom prst="rect">
            <a:avLst/>
          </a:prstGeom>
          <a:noFill/>
          <a:ln>
            <a:noFill/>
          </a:ln>
        </p:spPr>
      </p:pic>
      <p:sp>
        <p:nvSpPr>
          <p:cNvPr id="20" name="Google Shape;1167;p10">
            <a:extLst>
              <a:ext uri="{FF2B5EF4-FFF2-40B4-BE49-F238E27FC236}">
                <a16:creationId xmlns:a16="http://schemas.microsoft.com/office/drawing/2014/main" id="{99051755-8B64-1F5D-B4CC-229686A7F607}"/>
              </a:ext>
            </a:extLst>
          </p:cNvPr>
          <p:cNvSpPr txBox="1"/>
          <p:nvPr/>
        </p:nvSpPr>
        <p:spPr>
          <a:xfrm>
            <a:off x="768999" y="1028494"/>
            <a:ext cx="10650826" cy="614240"/>
          </a:xfrm>
          <a:prstGeom prst="rect">
            <a:avLst/>
          </a:prstGeom>
          <a:noFill/>
          <a:ln>
            <a:noFill/>
          </a:ln>
        </p:spPr>
        <p:txBody>
          <a:bodyPr spcFirstLastPara="1" wrap="square" lIns="91401" tIns="45688" rIns="91401" bIns="45688" anchor="t" anchorCtr="0">
            <a:noAutofit/>
          </a:bodyPr>
          <a:lstStyle/>
          <a:p>
            <a:pPr>
              <a:buClr>
                <a:schemeClr val="dk1"/>
              </a:buClr>
              <a:buSzPts val="1800"/>
            </a:pPr>
            <a:r>
              <a:rPr lang="en-US" sz="1799">
                <a:solidFill>
                  <a:schemeClr val="dk1"/>
                </a:solidFill>
              </a:rPr>
              <a:t>Vibrant ecosystem of more than </a:t>
            </a:r>
            <a:r>
              <a:rPr lang="en-US" sz="1799" b="1">
                <a:solidFill>
                  <a:schemeClr val="accent1"/>
                </a:solidFill>
              </a:rPr>
              <a:t>2 million professionals </a:t>
            </a:r>
            <a:r>
              <a:rPr lang="en-US" sz="1799">
                <a:solidFill>
                  <a:schemeClr val="dk1"/>
                </a:solidFill>
              </a:rPr>
              <a:t>and </a:t>
            </a:r>
            <a:r>
              <a:rPr lang="en-US" sz="1799" b="1">
                <a:solidFill>
                  <a:schemeClr val="accent1"/>
                </a:solidFill>
              </a:rPr>
              <a:t>citizen developers</a:t>
            </a:r>
            <a:r>
              <a:rPr lang="en-US" sz="1799">
                <a:solidFill>
                  <a:schemeClr val="dk1"/>
                </a:solidFill>
              </a:rPr>
              <a:t> learning, </a:t>
            </a:r>
            <a:endParaRPr sz="1799"/>
          </a:p>
          <a:p>
            <a:pPr>
              <a:spcBef>
                <a:spcPts val="1000"/>
              </a:spcBef>
              <a:buClr>
                <a:schemeClr val="dk1"/>
              </a:buClr>
              <a:buSzPts val="1800"/>
            </a:pPr>
            <a:r>
              <a:rPr lang="en-US" sz="1799">
                <a:solidFill>
                  <a:schemeClr val="dk1"/>
                </a:solidFill>
              </a:rPr>
              <a:t>getting support, and succeeding together in their </a:t>
            </a:r>
            <a:r>
              <a:rPr lang="en-US" sz="1799" b="1">
                <a:solidFill>
                  <a:schemeClr val="accent1"/>
                </a:solidFill>
              </a:rPr>
              <a:t>automation careers</a:t>
            </a:r>
            <a:r>
              <a:rPr lang="en-US" sz="1799">
                <a:solidFill>
                  <a:schemeClr val="dk1"/>
                </a:solidFill>
              </a:rPr>
              <a:t>.</a:t>
            </a:r>
            <a:endParaRPr sz="1799"/>
          </a:p>
        </p:txBody>
      </p:sp>
      <p:pic>
        <p:nvPicPr>
          <p:cNvPr id="21" name="Google Shape;1166;p10" descr="A picture containing shape&#10;&#10;Description automatically generated">
            <a:extLst>
              <a:ext uri="{FF2B5EF4-FFF2-40B4-BE49-F238E27FC236}">
                <a16:creationId xmlns:a16="http://schemas.microsoft.com/office/drawing/2014/main" id="{D5889A65-754B-3992-C3EB-75273ACE9E74}"/>
              </a:ext>
            </a:extLst>
          </p:cNvPr>
          <p:cNvPicPr preferRelativeResize="0"/>
          <p:nvPr/>
        </p:nvPicPr>
        <p:blipFill rotWithShape="1">
          <a:blip r:embed="rId13">
            <a:alphaModFix/>
          </a:blip>
          <a:srcRect/>
          <a:stretch/>
        </p:blipFill>
        <p:spPr>
          <a:xfrm>
            <a:off x="3534442" y="235783"/>
            <a:ext cx="3783614" cy="618964"/>
          </a:xfrm>
          <a:prstGeom prst="rect">
            <a:avLst/>
          </a:prstGeom>
          <a:noFill/>
          <a:ln>
            <a:noFill/>
          </a:ln>
        </p:spPr>
      </p:pic>
      <p:pic>
        <p:nvPicPr>
          <p:cNvPr id="12" name="Picture 11" descr="A picture containing text, clipart&#10;&#10;Description automatically generated">
            <a:extLst>
              <a:ext uri="{FF2B5EF4-FFF2-40B4-BE49-F238E27FC236}">
                <a16:creationId xmlns:a16="http://schemas.microsoft.com/office/drawing/2014/main" id="{FEDE615A-5487-B470-DBBF-4E6E4981D4D1}"/>
              </a:ext>
            </a:extLst>
          </p:cNvPr>
          <p:cNvPicPr>
            <a:picLocks noChangeAspect="1"/>
          </p:cNvPicPr>
          <p:nvPr/>
        </p:nvPicPr>
        <p:blipFill>
          <a:blip r:embed="rId14"/>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233265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88"/>
        <p:cNvGrpSpPr/>
        <p:nvPr/>
      </p:nvGrpSpPr>
      <p:grpSpPr>
        <a:xfrm>
          <a:off x="0" y="0"/>
          <a:ext cx="0" cy="0"/>
          <a:chOff x="0" y="0"/>
          <a:chExt cx="0" cy="0"/>
        </a:xfrm>
      </p:grpSpPr>
      <p:sp>
        <p:nvSpPr>
          <p:cNvPr id="1189" name="Google Shape;1189;p11"/>
          <p:cNvSpPr txBox="1">
            <a:spLocks noGrp="1"/>
          </p:cNvSpPr>
          <p:nvPr>
            <p:ph type="body" idx="1"/>
          </p:nvPr>
        </p:nvSpPr>
        <p:spPr>
          <a:xfrm>
            <a:off x="4198222" y="3562970"/>
            <a:ext cx="3469496" cy="492697"/>
          </a:xfrm>
          <a:prstGeom prst="rect">
            <a:avLst/>
          </a:prstGeom>
          <a:noFill/>
          <a:ln>
            <a:noFill/>
          </a:ln>
        </p:spPr>
        <p:txBody>
          <a:bodyPr spcFirstLastPara="1" vert="horz" wrap="square" lIns="0" tIns="0" rIns="0" bIns="0" rtlCol="0" anchor="b" anchorCtr="0">
            <a:noAutofit/>
          </a:bodyPr>
          <a:lstStyle/>
          <a:p>
            <a:r>
              <a:rPr lang="en-US"/>
              <a:t>Thank You</a:t>
            </a:r>
            <a:endParaRPr/>
          </a:p>
        </p:txBody>
      </p:sp>
      <p:grpSp>
        <p:nvGrpSpPr>
          <p:cNvPr id="1190" name="Google Shape;1190;p11"/>
          <p:cNvGrpSpPr/>
          <p:nvPr/>
        </p:nvGrpSpPr>
        <p:grpSpPr>
          <a:xfrm>
            <a:off x="4198223" y="713793"/>
            <a:ext cx="2644112" cy="2556821"/>
            <a:chOff x="-9854" y="1867694"/>
            <a:chExt cx="6391495" cy="5114974"/>
          </a:xfrm>
        </p:grpSpPr>
        <p:sp>
          <p:nvSpPr>
            <p:cNvPr id="1191" name="Google Shape;1191;p11"/>
            <p:cNvSpPr/>
            <p:nvPr/>
          </p:nvSpPr>
          <p:spPr>
            <a:xfrm>
              <a:off x="1615709" y="1867694"/>
              <a:ext cx="2969039" cy="3674194"/>
            </a:xfrm>
            <a:custGeom>
              <a:avLst/>
              <a:gdLst/>
              <a:ahLst/>
              <a:cxnLst/>
              <a:rect l="l" t="t" r="r" b="b"/>
              <a:pathLst>
                <a:path w="2969039" h="3674194" extrusionOk="0">
                  <a:moveTo>
                    <a:pt x="380406" y="1154004"/>
                  </a:moveTo>
                  <a:lnTo>
                    <a:pt x="0" y="472426"/>
                  </a:lnTo>
                  <a:cubicBezTo>
                    <a:pt x="0" y="472426"/>
                    <a:pt x="673632" y="-201205"/>
                    <a:pt x="1902031" y="60311"/>
                  </a:cubicBezTo>
                  <a:cubicBezTo>
                    <a:pt x="2943446" y="282019"/>
                    <a:pt x="3101353" y="1320547"/>
                    <a:pt x="2884755" y="1819690"/>
                  </a:cubicBezTo>
                  <a:cubicBezTo>
                    <a:pt x="2702473" y="2239751"/>
                    <a:pt x="2385792" y="2510696"/>
                    <a:pt x="2135978" y="2775432"/>
                  </a:cubicBezTo>
                  <a:cubicBezTo>
                    <a:pt x="1886189" y="3040168"/>
                    <a:pt x="1695960" y="3119427"/>
                    <a:pt x="1695960" y="3674195"/>
                  </a:cubicBezTo>
                  <a:cubicBezTo>
                    <a:pt x="1077800" y="3674195"/>
                    <a:pt x="852081" y="3674195"/>
                    <a:pt x="852081" y="3674195"/>
                  </a:cubicBezTo>
                  <a:cubicBezTo>
                    <a:pt x="852081" y="3674195"/>
                    <a:pt x="586425" y="2897541"/>
                    <a:pt x="1291766" y="2303143"/>
                  </a:cubicBezTo>
                  <a:cubicBezTo>
                    <a:pt x="1711828" y="2025760"/>
                    <a:pt x="1964912" y="1686874"/>
                    <a:pt x="1981291" y="1375891"/>
                  </a:cubicBezTo>
                  <a:cubicBezTo>
                    <a:pt x="2005079" y="924146"/>
                    <a:pt x="1497862" y="591291"/>
                    <a:pt x="776654" y="963776"/>
                  </a:cubicBezTo>
                  <a:cubicBezTo>
                    <a:pt x="694558" y="1006216"/>
                    <a:pt x="380406" y="1154004"/>
                    <a:pt x="380406" y="1154004"/>
                  </a:cubicBezTo>
                  <a:close/>
                </a:path>
              </a:pathLst>
            </a:custGeom>
            <a:noFill/>
            <a:ln w="76200" cap="flat" cmpd="sng">
              <a:solidFill>
                <a:srgbClr val="58595B"/>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192" name="Google Shape;1192;p11"/>
            <p:cNvSpPr/>
            <p:nvPr/>
          </p:nvSpPr>
          <p:spPr>
            <a:xfrm>
              <a:off x="1597720" y="5813964"/>
              <a:ext cx="3450696" cy="1027942"/>
            </a:xfrm>
            <a:custGeom>
              <a:avLst/>
              <a:gdLst/>
              <a:ahLst/>
              <a:cxnLst/>
              <a:rect l="l" t="t" r="r" b="b"/>
              <a:pathLst>
                <a:path w="3450696" h="1027942" extrusionOk="0">
                  <a:moveTo>
                    <a:pt x="3450697" y="1027942"/>
                  </a:moveTo>
                  <a:lnTo>
                    <a:pt x="1707440" y="1027942"/>
                  </a:lnTo>
                  <a:cubicBezTo>
                    <a:pt x="1707440" y="1027942"/>
                    <a:pt x="2110888" y="577884"/>
                    <a:pt x="1846817" y="234584"/>
                  </a:cubicBezTo>
                  <a:cubicBezTo>
                    <a:pt x="1586717" y="-103573"/>
                    <a:pt x="1172822" y="-9739"/>
                    <a:pt x="1028488" y="107226"/>
                  </a:cubicBezTo>
                  <a:cubicBezTo>
                    <a:pt x="527342" y="513339"/>
                    <a:pt x="1028488" y="1027942"/>
                    <a:pt x="1028488" y="1027942"/>
                  </a:cubicBezTo>
                  <a:lnTo>
                    <a:pt x="0" y="1027942"/>
                  </a:lnTo>
                  <a:lnTo>
                    <a:pt x="1028488" y="1027942"/>
                  </a:lnTo>
                </a:path>
              </a:pathLst>
            </a:custGeom>
            <a:noFill/>
            <a:ln w="67925" cap="flat" cmpd="sng">
              <a:solidFill>
                <a:srgbClr val="58595B"/>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nvGrpSpPr>
            <p:cNvPr id="1193" name="Google Shape;1193;p11"/>
            <p:cNvGrpSpPr/>
            <p:nvPr/>
          </p:nvGrpSpPr>
          <p:grpSpPr>
            <a:xfrm>
              <a:off x="3867961" y="2618099"/>
              <a:ext cx="624867" cy="622422"/>
              <a:chOff x="5716936" y="3051333"/>
              <a:chExt cx="754761" cy="751808"/>
            </a:xfrm>
          </p:grpSpPr>
          <p:sp>
            <p:nvSpPr>
              <p:cNvPr id="1194" name="Google Shape;1194;p11"/>
              <p:cNvSpPr/>
              <p:nvPr/>
            </p:nvSpPr>
            <p:spPr>
              <a:xfrm>
                <a:off x="5716936" y="3051333"/>
                <a:ext cx="754761" cy="751808"/>
              </a:xfrm>
              <a:custGeom>
                <a:avLst/>
                <a:gdLst/>
                <a:ahLst/>
                <a:cxnLst/>
                <a:rect l="l" t="t"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195" name="Google Shape;1195;p11"/>
              <p:cNvSpPr/>
              <p:nvPr/>
            </p:nvSpPr>
            <p:spPr>
              <a:xfrm>
                <a:off x="5867526" y="3200495"/>
                <a:ext cx="453580" cy="453580"/>
              </a:xfrm>
              <a:custGeom>
                <a:avLst/>
                <a:gdLst/>
                <a:ahLst/>
                <a:cxnLst/>
                <a:rect l="l" t="t"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196" name="Google Shape;1196;p11"/>
            <p:cNvGrpSpPr/>
            <p:nvPr/>
          </p:nvGrpSpPr>
          <p:grpSpPr>
            <a:xfrm>
              <a:off x="3298221" y="2081469"/>
              <a:ext cx="716083" cy="716099"/>
              <a:chOff x="5465747" y="2800335"/>
              <a:chExt cx="1253866" cy="1253894"/>
            </a:xfrm>
          </p:grpSpPr>
          <p:sp>
            <p:nvSpPr>
              <p:cNvPr id="1197" name="Google Shape;1197;p11"/>
              <p:cNvSpPr/>
              <p:nvPr/>
            </p:nvSpPr>
            <p:spPr>
              <a:xfrm>
                <a:off x="5499561" y="2834149"/>
                <a:ext cx="1186176" cy="1186176"/>
              </a:xfrm>
              <a:custGeom>
                <a:avLst/>
                <a:gdLst/>
                <a:ahLst/>
                <a:cxnLst/>
                <a:rect l="l" t="t" r="r" b="b"/>
                <a:pathLst>
                  <a:path w="1186176" h="1186176" extrusionOk="0">
                    <a:moveTo>
                      <a:pt x="946323" y="116695"/>
                    </a:moveTo>
                    <a:cubicBezTo>
                      <a:pt x="683242" y="-78377"/>
                      <a:pt x="311767" y="-23227"/>
                      <a:pt x="116695" y="239854"/>
                    </a:cubicBezTo>
                    <a:cubicBezTo>
                      <a:pt x="-78377" y="503029"/>
                      <a:pt x="-23227" y="874409"/>
                      <a:pt x="239854" y="1069481"/>
                    </a:cubicBezTo>
                    <a:cubicBezTo>
                      <a:pt x="502934" y="1264553"/>
                      <a:pt x="874409" y="1209404"/>
                      <a:pt x="1069481" y="946323"/>
                    </a:cubicBezTo>
                    <a:cubicBezTo>
                      <a:pt x="1264553" y="683242"/>
                      <a:pt x="1209404" y="311767"/>
                      <a:pt x="946323" y="116695"/>
                    </a:cubicBezTo>
                    <a:close/>
                    <a:moveTo>
                      <a:pt x="322340" y="958229"/>
                    </a:moveTo>
                    <a:cubicBezTo>
                      <a:pt x="120696" y="808782"/>
                      <a:pt x="78405" y="524080"/>
                      <a:pt x="227947" y="322340"/>
                    </a:cubicBezTo>
                    <a:cubicBezTo>
                      <a:pt x="377490" y="120696"/>
                      <a:pt x="662192" y="78405"/>
                      <a:pt x="863836" y="227947"/>
                    </a:cubicBezTo>
                    <a:cubicBezTo>
                      <a:pt x="1065481" y="377490"/>
                      <a:pt x="1107772" y="662192"/>
                      <a:pt x="958229" y="863836"/>
                    </a:cubicBezTo>
                    <a:cubicBezTo>
                      <a:pt x="808687" y="1065576"/>
                      <a:pt x="523984" y="1107772"/>
                      <a:pt x="322340" y="958229"/>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nvGrpSpPr>
              <p:cNvPr id="1198" name="Google Shape;1198;p11"/>
              <p:cNvGrpSpPr/>
              <p:nvPr/>
            </p:nvGrpSpPr>
            <p:grpSpPr>
              <a:xfrm>
                <a:off x="5539390" y="2873882"/>
                <a:ext cx="1106614" cy="1106710"/>
                <a:chOff x="5539390" y="2873882"/>
                <a:chExt cx="1106614" cy="1106710"/>
              </a:xfrm>
            </p:grpSpPr>
            <p:grpSp>
              <p:nvGrpSpPr>
                <p:cNvPr id="1199" name="Google Shape;1199;p11"/>
                <p:cNvGrpSpPr/>
                <p:nvPr/>
              </p:nvGrpSpPr>
              <p:grpSpPr>
                <a:xfrm>
                  <a:off x="5739796" y="2965418"/>
                  <a:ext cx="705707" cy="923734"/>
                  <a:chOff x="5739796" y="2965418"/>
                  <a:chExt cx="705707" cy="923734"/>
                </a:xfrm>
              </p:grpSpPr>
              <p:sp>
                <p:nvSpPr>
                  <p:cNvPr id="1200" name="Google Shape;1200;p11"/>
                  <p:cNvSpPr/>
                  <p:nvPr/>
                </p:nvSpPr>
                <p:spPr>
                  <a:xfrm>
                    <a:off x="5739796" y="3545871"/>
                    <a:ext cx="268509" cy="343281"/>
                  </a:xfrm>
                  <a:custGeom>
                    <a:avLst/>
                    <a:gdLst/>
                    <a:ahLst/>
                    <a:cxnLst/>
                    <a:rect l="l" t="t" r="r" b="b"/>
                    <a:pathLst>
                      <a:path w="268509" h="343281" extrusionOk="0">
                        <a:moveTo>
                          <a:pt x="113538" y="235363"/>
                        </a:moveTo>
                        <a:cubicBezTo>
                          <a:pt x="117157" y="233648"/>
                          <a:pt x="120110" y="235363"/>
                          <a:pt x="120110" y="235363"/>
                        </a:cubicBezTo>
                        <a:lnTo>
                          <a:pt x="268510" y="11525"/>
                        </a:lnTo>
                        <a:lnTo>
                          <a:pt x="252984" y="0"/>
                        </a:lnTo>
                        <a:lnTo>
                          <a:pt x="81820" y="206978"/>
                        </a:lnTo>
                        <a:cubicBezTo>
                          <a:pt x="81820" y="206978"/>
                          <a:pt x="84296" y="209264"/>
                          <a:pt x="83725" y="213170"/>
                        </a:cubicBezTo>
                        <a:cubicBezTo>
                          <a:pt x="83248" y="216408"/>
                          <a:pt x="80296" y="219647"/>
                          <a:pt x="80296" y="219647"/>
                        </a:cubicBezTo>
                        <a:lnTo>
                          <a:pt x="0" y="308896"/>
                        </a:lnTo>
                        <a:lnTo>
                          <a:pt x="46292" y="343281"/>
                        </a:lnTo>
                        <a:lnTo>
                          <a:pt x="108395" y="240506"/>
                        </a:lnTo>
                        <a:cubicBezTo>
                          <a:pt x="108395" y="240506"/>
                          <a:pt x="110585" y="236696"/>
                          <a:pt x="113538" y="23536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01" name="Google Shape;1201;p11"/>
                  <p:cNvSpPr/>
                  <p:nvPr/>
                </p:nvSpPr>
                <p:spPr>
                  <a:xfrm>
                    <a:off x="6177089" y="2965418"/>
                    <a:ext cx="268414" cy="343280"/>
                  </a:xfrm>
                  <a:custGeom>
                    <a:avLst/>
                    <a:gdLst/>
                    <a:ahLst/>
                    <a:cxnLst/>
                    <a:rect l="l" t="t" r="r" b="b"/>
                    <a:pathLst>
                      <a:path w="268414" h="343280" extrusionOk="0">
                        <a:moveTo>
                          <a:pt x="154877" y="107918"/>
                        </a:moveTo>
                        <a:cubicBezTo>
                          <a:pt x="151257" y="109633"/>
                          <a:pt x="148400" y="107918"/>
                          <a:pt x="148400" y="107918"/>
                        </a:cubicBezTo>
                        <a:lnTo>
                          <a:pt x="0" y="331756"/>
                        </a:lnTo>
                        <a:lnTo>
                          <a:pt x="15526" y="343281"/>
                        </a:lnTo>
                        <a:lnTo>
                          <a:pt x="186595" y="136303"/>
                        </a:lnTo>
                        <a:cubicBezTo>
                          <a:pt x="186595" y="136303"/>
                          <a:pt x="184118" y="134017"/>
                          <a:pt x="184690" y="130016"/>
                        </a:cubicBezTo>
                        <a:cubicBezTo>
                          <a:pt x="185166" y="126778"/>
                          <a:pt x="188119" y="123634"/>
                          <a:pt x="188119" y="123634"/>
                        </a:cubicBezTo>
                        <a:lnTo>
                          <a:pt x="268415" y="34290"/>
                        </a:lnTo>
                        <a:lnTo>
                          <a:pt x="222123" y="0"/>
                        </a:lnTo>
                        <a:lnTo>
                          <a:pt x="160020" y="102775"/>
                        </a:lnTo>
                        <a:cubicBezTo>
                          <a:pt x="160020" y="102775"/>
                          <a:pt x="157829" y="106585"/>
                          <a:pt x="154877" y="107918"/>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02" name="Google Shape;1202;p11"/>
                <p:cNvGrpSpPr/>
                <p:nvPr/>
              </p:nvGrpSpPr>
              <p:grpSpPr>
                <a:xfrm>
                  <a:off x="5630639" y="3074384"/>
                  <a:ext cx="924020" cy="705707"/>
                  <a:chOff x="5630639" y="3074384"/>
                  <a:chExt cx="924020" cy="705707"/>
                </a:xfrm>
              </p:grpSpPr>
              <p:sp>
                <p:nvSpPr>
                  <p:cNvPr id="1203" name="Google Shape;1203;p11"/>
                  <p:cNvSpPr/>
                  <p:nvPr/>
                </p:nvSpPr>
                <p:spPr>
                  <a:xfrm>
                    <a:off x="6211283" y="3511677"/>
                    <a:ext cx="343376" cy="268414"/>
                  </a:xfrm>
                  <a:custGeom>
                    <a:avLst/>
                    <a:gdLst/>
                    <a:ahLst/>
                    <a:cxnLst/>
                    <a:rect l="l" t="t" r="r" b="b"/>
                    <a:pathLst>
                      <a:path w="343376" h="268414" extrusionOk="0">
                        <a:moveTo>
                          <a:pt x="235363" y="154972"/>
                        </a:moveTo>
                        <a:cubicBezTo>
                          <a:pt x="233648" y="151352"/>
                          <a:pt x="235363" y="148400"/>
                          <a:pt x="235363" y="148400"/>
                        </a:cubicBezTo>
                        <a:lnTo>
                          <a:pt x="11525" y="0"/>
                        </a:lnTo>
                        <a:lnTo>
                          <a:pt x="0" y="15526"/>
                        </a:lnTo>
                        <a:lnTo>
                          <a:pt x="206978" y="186595"/>
                        </a:lnTo>
                        <a:cubicBezTo>
                          <a:pt x="206978" y="186595"/>
                          <a:pt x="209264" y="184118"/>
                          <a:pt x="213265" y="184690"/>
                        </a:cubicBezTo>
                        <a:cubicBezTo>
                          <a:pt x="216503" y="185071"/>
                          <a:pt x="219742" y="188119"/>
                          <a:pt x="219742" y="188119"/>
                        </a:cubicBezTo>
                        <a:lnTo>
                          <a:pt x="308991" y="268415"/>
                        </a:lnTo>
                        <a:lnTo>
                          <a:pt x="343376" y="222123"/>
                        </a:lnTo>
                        <a:lnTo>
                          <a:pt x="240602" y="160020"/>
                        </a:lnTo>
                        <a:cubicBezTo>
                          <a:pt x="240506" y="160115"/>
                          <a:pt x="236696" y="157925"/>
                          <a:pt x="235363" y="154972"/>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04" name="Google Shape;1204;p11"/>
                  <p:cNvSpPr/>
                  <p:nvPr/>
                </p:nvSpPr>
                <p:spPr>
                  <a:xfrm>
                    <a:off x="5630639" y="3074384"/>
                    <a:ext cx="343471" cy="268414"/>
                  </a:xfrm>
                  <a:custGeom>
                    <a:avLst/>
                    <a:gdLst/>
                    <a:ahLst/>
                    <a:cxnLst/>
                    <a:rect l="l" t="t" r="r" b="b"/>
                    <a:pathLst>
                      <a:path w="343471" h="268414" extrusionOk="0">
                        <a:moveTo>
                          <a:pt x="108109" y="113538"/>
                        </a:moveTo>
                        <a:cubicBezTo>
                          <a:pt x="109823" y="117157"/>
                          <a:pt x="108109" y="120015"/>
                          <a:pt x="108109" y="120015"/>
                        </a:cubicBezTo>
                        <a:lnTo>
                          <a:pt x="331946" y="268415"/>
                        </a:lnTo>
                        <a:lnTo>
                          <a:pt x="343472" y="252889"/>
                        </a:lnTo>
                        <a:lnTo>
                          <a:pt x="136493" y="81915"/>
                        </a:lnTo>
                        <a:cubicBezTo>
                          <a:pt x="136493" y="81915"/>
                          <a:pt x="134207" y="84392"/>
                          <a:pt x="130207" y="83820"/>
                        </a:cubicBezTo>
                        <a:cubicBezTo>
                          <a:pt x="126968" y="83439"/>
                          <a:pt x="123730" y="80296"/>
                          <a:pt x="123730" y="80296"/>
                        </a:cubicBezTo>
                        <a:lnTo>
                          <a:pt x="34385" y="0"/>
                        </a:lnTo>
                        <a:lnTo>
                          <a:pt x="0" y="46292"/>
                        </a:lnTo>
                        <a:lnTo>
                          <a:pt x="102775" y="108395"/>
                        </a:lnTo>
                        <a:cubicBezTo>
                          <a:pt x="102870" y="108395"/>
                          <a:pt x="106775" y="110585"/>
                          <a:pt x="108109" y="113538"/>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05" name="Google Shape;1205;p11"/>
                <p:cNvGrpSpPr/>
                <p:nvPr/>
              </p:nvGrpSpPr>
              <p:grpSpPr>
                <a:xfrm>
                  <a:off x="5982778" y="2875407"/>
                  <a:ext cx="219741" cy="1103756"/>
                  <a:chOff x="5982778" y="2875407"/>
                  <a:chExt cx="219741" cy="1103756"/>
                </a:xfrm>
              </p:grpSpPr>
              <p:sp>
                <p:nvSpPr>
                  <p:cNvPr id="1206" name="Google Shape;1206;p11"/>
                  <p:cNvSpPr/>
                  <p:nvPr/>
                </p:nvSpPr>
                <p:spPr>
                  <a:xfrm>
                    <a:off x="6105841" y="3579018"/>
                    <a:ext cx="96678" cy="400145"/>
                  </a:xfrm>
                  <a:custGeom>
                    <a:avLst/>
                    <a:gdLst/>
                    <a:ahLst/>
                    <a:cxnLst/>
                    <a:rect l="l" t="t" r="r" b="b"/>
                    <a:pathLst>
                      <a:path w="96678" h="400145" extrusionOk="0">
                        <a:moveTo>
                          <a:pt x="67913" y="267748"/>
                        </a:moveTo>
                        <a:cubicBezTo>
                          <a:pt x="69247" y="263938"/>
                          <a:pt x="72485" y="263176"/>
                          <a:pt x="72485" y="263176"/>
                        </a:cubicBezTo>
                        <a:lnTo>
                          <a:pt x="19145" y="0"/>
                        </a:lnTo>
                        <a:lnTo>
                          <a:pt x="0" y="2858"/>
                        </a:lnTo>
                        <a:lnTo>
                          <a:pt x="25432" y="270224"/>
                        </a:lnTo>
                        <a:cubicBezTo>
                          <a:pt x="25432" y="270224"/>
                          <a:pt x="28766" y="270034"/>
                          <a:pt x="31147" y="273272"/>
                        </a:cubicBezTo>
                        <a:cubicBezTo>
                          <a:pt x="33147" y="275844"/>
                          <a:pt x="33242" y="280225"/>
                          <a:pt x="33242" y="280225"/>
                        </a:cubicBezTo>
                        <a:lnTo>
                          <a:pt x="39624" y="400145"/>
                        </a:lnTo>
                        <a:lnTo>
                          <a:pt x="96679" y="391668"/>
                        </a:lnTo>
                        <a:lnTo>
                          <a:pt x="67913" y="275082"/>
                        </a:lnTo>
                        <a:cubicBezTo>
                          <a:pt x="67913" y="275082"/>
                          <a:pt x="66770" y="270796"/>
                          <a:pt x="67913" y="267748"/>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07" name="Google Shape;1207;p11"/>
                  <p:cNvSpPr/>
                  <p:nvPr/>
                </p:nvSpPr>
                <p:spPr>
                  <a:xfrm>
                    <a:off x="5982778" y="2875407"/>
                    <a:ext cx="96774" cy="400145"/>
                  </a:xfrm>
                  <a:custGeom>
                    <a:avLst/>
                    <a:gdLst/>
                    <a:ahLst/>
                    <a:cxnLst/>
                    <a:rect l="l" t="t" r="r" b="b"/>
                    <a:pathLst>
                      <a:path w="96774" h="400145" extrusionOk="0">
                        <a:moveTo>
                          <a:pt x="28861" y="132398"/>
                        </a:moveTo>
                        <a:cubicBezTo>
                          <a:pt x="27527" y="136208"/>
                          <a:pt x="24289" y="136970"/>
                          <a:pt x="24289" y="136970"/>
                        </a:cubicBezTo>
                        <a:lnTo>
                          <a:pt x="77629" y="400145"/>
                        </a:lnTo>
                        <a:lnTo>
                          <a:pt x="96774" y="397288"/>
                        </a:lnTo>
                        <a:lnTo>
                          <a:pt x="71342" y="129921"/>
                        </a:lnTo>
                        <a:cubicBezTo>
                          <a:pt x="71342" y="129921"/>
                          <a:pt x="68008" y="130112"/>
                          <a:pt x="65627" y="126873"/>
                        </a:cubicBezTo>
                        <a:cubicBezTo>
                          <a:pt x="63627" y="124301"/>
                          <a:pt x="63532" y="119824"/>
                          <a:pt x="63532" y="119824"/>
                        </a:cubicBezTo>
                        <a:lnTo>
                          <a:pt x="57055" y="0"/>
                        </a:lnTo>
                        <a:lnTo>
                          <a:pt x="0" y="8477"/>
                        </a:lnTo>
                        <a:lnTo>
                          <a:pt x="28766" y="125159"/>
                        </a:lnTo>
                        <a:cubicBezTo>
                          <a:pt x="28766" y="125063"/>
                          <a:pt x="30004" y="129349"/>
                          <a:pt x="28861" y="132398"/>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08" name="Google Shape;1208;p11"/>
                <p:cNvGrpSpPr/>
                <p:nvPr/>
              </p:nvGrpSpPr>
              <p:grpSpPr>
                <a:xfrm>
                  <a:off x="5540723" y="3317462"/>
                  <a:ext cx="1103947" cy="219645"/>
                  <a:chOff x="5540723" y="3317462"/>
                  <a:chExt cx="1103947" cy="219645"/>
                </a:xfrm>
              </p:grpSpPr>
              <p:sp>
                <p:nvSpPr>
                  <p:cNvPr id="1209" name="Google Shape;1209;p11"/>
                  <p:cNvSpPr/>
                  <p:nvPr/>
                </p:nvSpPr>
                <p:spPr>
                  <a:xfrm>
                    <a:off x="5540723" y="3440429"/>
                    <a:ext cx="400145" cy="96678"/>
                  </a:xfrm>
                  <a:custGeom>
                    <a:avLst/>
                    <a:gdLst/>
                    <a:ahLst/>
                    <a:cxnLst/>
                    <a:rect l="l" t="t" r="r" b="b"/>
                    <a:pathLst>
                      <a:path w="400145" h="96678" extrusionOk="0">
                        <a:moveTo>
                          <a:pt x="132398" y="67913"/>
                        </a:moveTo>
                        <a:cubicBezTo>
                          <a:pt x="136208" y="69247"/>
                          <a:pt x="136970" y="72485"/>
                          <a:pt x="136970" y="72485"/>
                        </a:cubicBezTo>
                        <a:lnTo>
                          <a:pt x="400145" y="19145"/>
                        </a:lnTo>
                        <a:lnTo>
                          <a:pt x="397288" y="0"/>
                        </a:lnTo>
                        <a:lnTo>
                          <a:pt x="130016" y="25432"/>
                        </a:lnTo>
                        <a:cubicBezTo>
                          <a:pt x="130016" y="25432"/>
                          <a:pt x="130207" y="28766"/>
                          <a:pt x="126968" y="31147"/>
                        </a:cubicBezTo>
                        <a:cubicBezTo>
                          <a:pt x="124397" y="33147"/>
                          <a:pt x="119920" y="33242"/>
                          <a:pt x="119920" y="33242"/>
                        </a:cubicBezTo>
                        <a:lnTo>
                          <a:pt x="0" y="39624"/>
                        </a:lnTo>
                        <a:lnTo>
                          <a:pt x="8477" y="96679"/>
                        </a:lnTo>
                        <a:lnTo>
                          <a:pt x="125063" y="67913"/>
                        </a:lnTo>
                        <a:cubicBezTo>
                          <a:pt x="125159" y="67913"/>
                          <a:pt x="129445" y="66770"/>
                          <a:pt x="132398" y="6791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10" name="Google Shape;1210;p11"/>
                  <p:cNvSpPr/>
                  <p:nvPr/>
                </p:nvSpPr>
                <p:spPr>
                  <a:xfrm>
                    <a:off x="6244430" y="3317462"/>
                    <a:ext cx="400240" cy="96678"/>
                  </a:xfrm>
                  <a:custGeom>
                    <a:avLst/>
                    <a:gdLst/>
                    <a:ahLst/>
                    <a:cxnLst/>
                    <a:rect l="l" t="t" r="r" b="b"/>
                    <a:pathLst>
                      <a:path w="400240" h="96678" extrusionOk="0">
                        <a:moveTo>
                          <a:pt x="267748" y="28766"/>
                        </a:moveTo>
                        <a:cubicBezTo>
                          <a:pt x="263938" y="27432"/>
                          <a:pt x="263176" y="24194"/>
                          <a:pt x="263176" y="24194"/>
                        </a:cubicBezTo>
                        <a:lnTo>
                          <a:pt x="0" y="77533"/>
                        </a:lnTo>
                        <a:lnTo>
                          <a:pt x="2858" y="96679"/>
                        </a:lnTo>
                        <a:lnTo>
                          <a:pt x="270224" y="71247"/>
                        </a:lnTo>
                        <a:cubicBezTo>
                          <a:pt x="270224" y="71247"/>
                          <a:pt x="270034" y="67913"/>
                          <a:pt x="273272" y="65532"/>
                        </a:cubicBezTo>
                        <a:cubicBezTo>
                          <a:pt x="275844" y="63532"/>
                          <a:pt x="280225" y="63437"/>
                          <a:pt x="280225" y="63437"/>
                        </a:cubicBezTo>
                        <a:lnTo>
                          <a:pt x="400240" y="57055"/>
                        </a:lnTo>
                        <a:lnTo>
                          <a:pt x="391763" y="0"/>
                        </a:lnTo>
                        <a:lnTo>
                          <a:pt x="275082" y="28766"/>
                        </a:lnTo>
                        <a:cubicBezTo>
                          <a:pt x="275082" y="28766"/>
                          <a:pt x="270796" y="29908"/>
                          <a:pt x="267748" y="28766"/>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11" name="Google Shape;1211;p11"/>
                <p:cNvGrpSpPr/>
                <p:nvPr/>
              </p:nvGrpSpPr>
              <p:grpSpPr>
                <a:xfrm>
                  <a:off x="5862478" y="2901696"/>
                  <a:ext cx="460342" cy="1051082"/>
                  <a:chOff x="5862478" y="2901696"/>
                  <a:chExt cx="460342" cy="1051082"/>
                </a:xfrm>
              </p:grpSpPr>
              <p:sp>
                <p:nvSpPr>
                  <p:cNvPr id="1212" name="Google Shape;1212;p11"/>
                  <p:cNvSpPr/>
                  <p:nvPr/>
                </p:nvSpPr>
                <p:spPr>
                  <a:xfrm>
                    <a:off x="5862478" y="3567588"/>
                    <a:ext cx="182308" cy="385190"/>
                  </a:xfrm>
                  <a:custGeom>
                    <a:avLst/>
                    <a:gdLst/>
                    <a:ahLst/>
                    <a:cxnLst/>
                    <a:rect l="l" t="t" r="r" b="b"/>
                    <a:pathLst>
                      <a:path w="182308" h="385190" extrusionOk="0">
                        <a:moveTo>
                          <a:pt x="90583" y="263461"/>
                        </a:moveTo>
                        <a:cubicBezTo>
                          <a:pt x="93631" y="260794"/>
                          <a:pt x="96869" y="261747"/>
                          <a:pt x="96869" y="261747"/>
                        </a:cubicBezTo>
                        <a:lnTo>
                          <a:pt x="182309" y="7144"/>
                        </a:lnTo>
                        <a:lnTo>
                          <a:pt x="164306" y="0"/>
                        </a:lnTo>
                        <a:lnTo>
                          <a:pt x="52673" y="244316"/>
                        </a:lnTo>
                        <a:cubicBezTo>
                          <a:pt x="52673" y="244316"/>
                          <a:pt x="55721" y="245840"/>
                          <a:pt x="56102" y="249841"/>
                        </a:cubicBezTo>
                        <a:cubicBezTo>
                          <a:pt x="56483" y="253079"/>
                          <a:pt x="54483" y="256984"/>
                          <a:pt x="54483" y="256984"/>
                        </a:cubicBezTo>
                        <a:lnTo>
                          <a:pt x="0" y="364045"/>
                        </a:lnTo>
                        <a:lnTo>
                          <a:pt x="53626" y="385191"/>
                        </a:lnTo>
                        <a:lnTo>
                          <a:pt x="87058" y="269843"/>
                        </a:lnTo>
                        <a:cubicBezTo>
                          <a:pt x="86963" y="269843"/>
                          <a:pt x="88106" y="265557"/>
                          <a:pt x="90583" y="263461"/>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13" name="Google Shape;1213;p11"/>
                  <p:cNvSpPr/>
                  <p:nvPr/>
                </p:nvSpPr>
                <p:spPr>
                  <a:xfrm>
                    <a:off x="6140512" y="2901696"/>
                    <a:ext cx="182308" cy="385191"/>
                  </a:xfrm>
                  <a:custGeom>
                    <a:avLst/>
                    <a:gdLst/>
                    <a:ahLst/>
                    <a:cxnLst/>
                    <a:rect l="l" t="t" r="r" b="b"/>
                    <a:pathLst>
                      <a:path w="182308" h="385191" extrusionOk="0">
                        <a:moveTo>
                          <a:pt x="91726" y="121730"/>
                        </a:moveTo>
                        <a:cubicBezTo>
                          <a:pt x="88678" y="124397"/>
                          <a:pt x="85439" y="123444"/>
                          <a:pt x="85439" y="123444"/>
                        </a:cubicBezTo>
                        <a:lnTo>
                          <a:pt x="0" y="378047"/>
                        </a:lnTo>
                        <a:lnTo>
                          <a:pt x="18002" y="385191"/>
                        </a:lnTo>
                        <a:lnTo>
                          <a:pt x="129635" y="140875"/>
                        </a:lnTo>
                        <a:cubicBezTo>
                          <a:pt x="129635" y="140875"/>
                          <a:pt x="126683" y="139351"/>
                          <a:pt x="126206" y="135350"/>
                        </a:cubicBezTo>
                        <a:cubicBezTo>
                          <a:pt x="125825" y="132112"/>
                          <a:pt x="127826" y="128207"/>
                          <a:pt x="127826" y="128207"/>
                        </a:cubicBezTo>
                        <a:lnTo>
                          <a:pt x="182309" y="21145"/>
                        </a:lnTo>
                        <a:lnTo>
                          <a:pt x="128683" y="0"/>
                        </a:lnTo>
                        <a:lnTo>
                          <a:pt x="95250" y="115348"/>
                        </a:lnTo>
                        <a:cubicBezTo>
                          <a:pt x="95345" y="115443"/>
                          <a:pt x="94202" y="119729"/>
                          <a:pt x="91726" y="121730"/>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14" name="Google Shape;1214;p11"/>
                <p:cNvGrpSpPr/>
                <p:nvPr/>
              </p:nvGrpSpPr>
              <p:grpSpPr>
                <a:xfrm>
                  <a:off x="5567108" y="3196970"/>
                  <a:ext cx="1050987" cy="460438"/>
                  <a:chOff x="5567108" y="3196970"/>
                  <a:chExt cx="1050987" cy="460438"/>
                </a:xfrm>
              </p:grpSpPr>
              <p:sp>
                <p:nvSpPr>
                  <p:cNvPr id="1215" name="Google Shape;1215;p11"/>
                  <p:cNvSpPr/>
                  <p:nvPr/>
                </p:nvSpPr>
                <p:spPr>
                  <a:xfrm>
                    <a:off x="6233000" y="3475100"/>
                    <a:ext cx="385095" cy="182308"/>
                  </a:xfrm>
                  <a:custGeom>
                    <a:avLst/>
                    <a:gdLst/>
                    <a:ahLst/>
                    <a:cxnLst/>
                    <a:rect l="l" t="t" r="r" b="b"/>
                    <a:pathLst>
                      <a:path w="385095" h="182308" extrusionOk="0">
                        <a:moveTo>
                          <a:pt x="263461" y="91726"/>
                        </a:moveTo>
                        <a:cubicBezTo>
                          <a:pt x="260794" y="88678"/>
                          <a:pt x="261747" y="85439"/>
                          <a:pt x="261747" y="85439"/>
                        </a:cubicBezTo>
                        <a:lnTo>
                          <a:pt x="7144" y="0"/>
                        </a:lnTo>
                        <a:lnTo>
                          <a:pt x="0" y="18002"/>
                        </a:lnTo>
                        <a:lnTo>
                          <a:pt x="244221" y="129635"/>
                        </a:lnTo>
                        <a:cubicBezTo>
                          <a:pt x="244221" y="129635"/>
                          <a:pt x="245745" y="126587"/>
                          <a:pt x="249745" y="126206"/>
                        </a:cubicBezTo>
                        <a:cubicBezTo>
                          <a:pt x="252984" y="125730"/>
                          <a:pt x="256889" y="127921"/>
                          <a:pt x="256889" y="127921"/>
                        </a:cubicBezTo>
                        <a:lnTo>
                          <a:pt x="363950" y="182309"/>
                        </a:lnTo>
                        <a:lnTo>
                          <a:pt x="385096" y="128683"/>
                        </a:lnTo>
                        <a:lnTo>
                          <a:pt x="269653" y="95250"/>
                        </a:lnTo>
                        <a:cubicBezTo>
                          <a:pt x="269843" y="95345"/>
                          <a:pt x="265557" y="94202"/>
                          <a:pt x="263461" y="91726"/>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16" name="Google Shape;1216;p11"/>
                  <p:cNvSpPr/>
                  <p:nvPr/>
                </p:nvSpPr>
                <p:spPr>
                  <a:xfrm>
                    <a:off x="5567108" y="3196970"/>
                    <a:ext cx="385191" cy="182498"/>
                  </a:xfrm>
                  <a:custGeom>
                    <a:avLst/>
                    <a:gdLst/>
                    <a:ahLst/>
                    <a:cxnLst/>
                    <a:rect l="l" t="t" r="r" b="b"/>
                    <a:pathLst>
                      <a:path w="385191" h="182498" extrusionOk="0">
                        <a:moveTo>
                          <a:pt x="121730" y="90773"/>
                        </a:moveTo>
                        <a:cubicBezTo>
                          <a:pt x="124397" y="93821"/>
                          <a:pt x="123444" y="97060"/>
                          <a:pt x="123444" y="97060"/>
                        </a:cubicBezTo>
                        <a:lnTo>
                          <a:pt x="378047" y="182499"/>
                        </a:lnTo>
                        <a:lnTo>
                          <a:pt x="385191" y="164497"/>
                        </a:lnTo>
                        <a:lnTo>
                          <a:pt x="140875" y="52769"/>
                        </a:lnTo>
                        <a:cubicBezTo>
                          <a:pt x="140875" y="52769"/>
                          <a:pt x="139351" y="55817"/>
                          <a:pt x="135350" y="56198"/>
                        </a:cubicBezTo>
                        <a:cubicBezTo>
                          <a:pt x="132112" y="56674"/>
                          <a:pt x="128207" y="54483"/>
                          <a:pt x="128207" y="54483"/>
                        </a:cubicBezTo>
                        <a:lnTo>
                          <a:pt x="21145" y="0"/>
                        </a:lnTo>
                        <a:lnTo>
                          <a:pt x="0" y="53626"/>
                        </a:lnTo>
                        <a:lnTo>
                          <a:pt x="115348" y="87058"/>
                        </a:lnTo>
                        <a:cubicBezTo>
                          <a:pt x="115443" y="87154"/>
                          <a:pt x="119729" y="88297"/>
                          <a:pt x="121730" y="9077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17" name="Google Shape;1217;p11"/>
                <p:cNvGrpSpPr/>
                <p:nvPr/>
              </p:nvGrpSpPr>
              <p:grpSpPr>
                <a:xfrm>
                  <a:off x="5846095" y="2907791"/>
                  <a:ext cx="493299" cy="1038891"/>
                  <a:chOff x="5846095" y="2907791"/>
                  <a:chExt cx="493299" cy="1038891"/>
                </a:xfrm>
              </p:grpSpPr>
              <p:sp>
                <p:nvSpPr>
                  <p:cNvPr id="1218" name="Google Shape;1218;p11"/>
                  <p:cNvSpPr/>
                  <p:nvPr/>
                </p:nvSpPr>
                <p:spPr>
                  <a:xfrm>
                    <a:off x="6145370" y="3565397"/>
                    <a:ext cx="194024" cy="381285"/>
                  </a:xfrm>
                  <a:custGeom>
                    <a:avLst/>
                    <a:gdLst/>
                    <a:ahLst/>
                    <a:cxnLst/>
                    <a:rect l="l" t="t" r="r" b="b"/>
                    <a:pathLst>
                      <a:path w="194024" h="381285" extrusionOk="0">
                        <a:moveTo>
                          <a:pt x="134207" y="246126"/>
                        </a:moveTo>
                        <a:cubicBezTo>
                          <a:pt x="134493" y="242125"/>
                          <a:pt x="137446" y="240506"/>
                          <a:pt x="137446" y="240506"/>
                        </a:cubicBezTo>
                        <a:lnTo>
                          <a:pt x="17812" y="0"/>
                        </a:lnTo>
                        <a:lnTo>
                          <a:pt x="0" y="7715"/>
                        </a:lnTo>
                        <a:lnTo>
                          <a:pt x="93726" y="259366"/>
                        </a:lnTo>
                        <a:cubicBezTo>
                          <a:pt x="93726" y="259366"/>
                          <a:pt x="96965" y="258318"/>
                          <a:pt x="100108" y="260794"/>
                        </a:cubicBezTo>
                        <a:cubicBezTo>
                          <a:pt x="102679" y="262795"/>
                          <a:pt x="103918" y="267081"/>
                          <a:pt x="103918" y="267081"/>
                        </a:cubicBezTo>
                        <a:lnTo>
                          <a:pt x="141161" y="381286"/>
                        </a:lnTo>
                        <a:lnTo>
                          <a:pt x="194024" y="358331"/>
                        </a:lnTo>
                        <a:lnTo>
                          <a:pt x="136112" y="253079"/>
                        </a:lnTo>
                        <a:cubicBezTo>
                          <a:pt x="136112" y="253175"/>
                          <a:pt x="133826" y="249365"/>
                          <a:pt x="134207" y="246126"/>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19" name="Google Shape;1219;p11"/>
                  <p:cNvSpPr/>
                  <p:nvPr/>
                </p:nvSpPr>
                <p:spPr>
                  <a:xfrm>
                    <a:off x="5846095" y="2907791"/>
                    <a:ext cx="193929" cy="381285"/>
                  </a:xfrm>
                  <a:custGeom>
                    <a:avLst/>
                    <a:gdLst/>
                    <a:ahLst/>
                    <a:cxnLst/>
                    <a:rect l="l" t="t" r="r" b="b"/>
                    <a:pathLst>
                      <a:path w="193929" h="381285" extrusionOk="0">
                        <a:moveTo>
                          <a:pt x="59722" y="135255"/>
                        </a:moveTo>
                        <a:cubicBezTo>
                          <a:pt x="59436" y="139256"/>
                          <a:pt x="56483" y="140875"/>
                          <a:pt x="56483" y="140875"/>
                        </a:cubicBezTo>
                        <a:lnTo>
                          <a:pt x="176117" y="381286"/>
                        </a:lnTo>
                        <a:lnTo>
                          <a:pt x="193929" y="373571"/>
                        </a:lnTo>
                        <a:lnTo>
                          <a:pt x="100203" y="121920"/>
                        </a:lnTo>
                        <a:cubicBezTo>
                          <a:pt x="100203" y="121920"/>
                          <a:pt x="96965" y="122968"/>
                          <a:pt x="93821" y="120396"/>
                        </a:cubicBezTo>
                        <a:cubicBezTo>
                          <a:pt x="91249" y="118396"/>
                          <a:pt x="90011" y="114205"/>
                          <a:pt x="90011" y="114205"/>
                        </a:cubicBezTo>
                        <a:lnTo>
                          <a:pt x="52864" y="0"/>
                        </a:lnTo>
                        <a:lnTo>
                          <a:pt x="0" y="22955"/>
                        </a:lnTo>
                        <a:lnTo>
                          <a:pt x="57817" y="128207"/>
                        </a:lnTo>
                        <a:cubicBezTo>
                          <a:pt x="57817" y="128207"/>
                          <a:pt x="60007" y="132112"/>
                          <a:pt x="59722" y="135255"/>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20" name="Google Shape;1220;p11"/>
                <p:cNvGrpSpPr/>
                <p:nvPr/>
              </p:nvGrpSpPr>
              <p:grpSpPr>
                <a:xfrm>
                  <a:off x="5573203" y="3180587"/>
                  <a:ext cx="1038796" cy="493395"/>
                  <a:chOff x="5573203" y="3180587"/>
                  <a:chExt cx="1038796" cy="493395"/>
                </a:xfrm>
              </p:grpSpPr>
              <p:sp>
                <p:nvSpPr>
                  <p:cNvPr id="1221" name="Google Shape;1221;p11"/>
                  <p:cNvSpPr/>
                  <p:nvPr/>
                </p:nvSpPr>
                <p:spPr>
                  <a:xfrm>
                    <a:off x="5573203" y="3479958"/>
                    <a:ext cx="381285" cy="194024"/>
                  </a:xfrm>
                  <a:custGeom>
                    <a:avLst/>
                    <a:gdLst/>
                    <a:ahLst/>
                    <a:cxnLst/>
                    <a:rect l="l" t="t" r="r" b="b"/>
                    <a:pathLst>
                      <a:path w="381285" h="194024" extrusionOk="0">
                        <a:moveTo>
                          <a:pt x="135255" y="134112"/>
                        </a:moveTo>
                        <a:cubicBezTo>
                          <a:pt x="139256" y="134493"/>
                          <a:pt x="140875" y="137446"/>
                          <a:pt x="140875" y="137446"/>
                        </a:cubicBezTo>
                        <a:lnTo>
                          <a:pt x="381286" y="17812"/>
                        </a:lnTo>
                        <a:lnTo>
                          <a:pt x="373571" y="0"/>
                        </a:lnTo>
                        <a:lnTo>
                          <a:pt x="121920" y="93726"/>
                        </a:lnTo>
                        <a:cubicBezTo>
                          <a:pt x="121920" y="93726"/>
                          <a:pt x="122968" y="96869"/>
                          <a:pt x="120396" y="100108"/>
                        </a:cubicBezTo>
                        <a:cubicBezTo>
                          <a:pt x="118396" y="102679"/>
                          <a:pt x="114205" y="103918"/>
                          <a:pt x="114205" y="103918"/>
                        </a:cubicBezTo>
                        <a:lnTo>
                          <a:pt x="0" y="141161"/>
                        </a:lnTo>
                        <a:lnTo>
                          <a:pt x="22955" y="194024"/>
                        </a:lnTo>
                        <a:lnTo>
                          <a:pt x="128207" y="136112"/>
                        </a:lnTo>
                        <a:cubicBezTo>
                          <a:pt x="128207" y="136112"/>
                          <a:pt x="132017" y="133826"/>
                          <a:pt x="135255" y="134112"/>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22" name="Google Shape;1222;p11"/>
                  <p:cNvSpPr/>
                  <p:nvPr/>
                </p:nvSpPr>
                <p:spPr>
                  <a:xfrm>
                    <a:off x="6230809" y="3180587"/>
                    <a:ext cx="381190" cy="194024"/>
                  </a:xfrm>
                  <a:custGeom>
                    <a:avLst/>
                    <a:gdLst/>
                    <a:ahLst/>
                    <a:cxnLst/>
                    <a:rect l="l" t="t" r="r" b="b"/>
                    <a:pathLst>
                      <a:path w="381190" h="194024" extrusionOk="0">
                        <a:moveTo>
                          <a:pt x="246031" y="59817"/>
                        </a:moveTo>
                        <a:cubicBezTo>
                          <a:pt x="242030" y="59531"/>
                          <a:pt x="240411" y="56579"/>
                          <a:pt x="240411" y="56579"/>
                        </a:cubicBezTo>
                        <a:lnTo>
                          <a:pt x="0" y="176213"/>
                        </a:lnTo>
                        <a:lnTo>
                          <a:pt x="7715" y="194024"/>
                        </a:lnTo>
                        <a:lnTo>
                          <a:pt x="259366" y="100298"/>
                        </a:lnTo>
                        <a:cubicBezTo>
                          <a:pt x="259366" y="100298"/>
                          <a:pt x="258318" y="97060"/>
                          <a:pt x="260794" y="93917"/>
                        </a:cubicBezTo>
                        <a:cubicBezTo>
                          <a:pt x="262795" y="91345"/>
                          <a:pt x="266986" y="90011"/>
                          <a:pt x="266986" y="90011"/>
                        </a:cubicBezTo>
                        <a:lnTo>
                          <a:pt x="381190" y="52864"/>
                        </a:lnTo>
                        <a:lnTo>
                          <a:pt x="358235" y="0"/>
                        </a:lnTo>
                        <a:lnTo>
                          <a:pt x="253175" y="57912"/>
                        </a:lnTo>
                        <a:cubicBezTo>
                          <a:pt x="253175" y="57912"/>
                          <a:pt x="249269" y="60198"/>
                          <a:pt x="246031" y="59817"/>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23" name="Google Shape;1223;p11"/>
                <p:cNvGrpSpPr/>
                <p:nvPr/>
              </p:nvGrpSpPr>
              <p:grpSpPr>
                <a:xfrm>
                  <a:off x="6000781" y="2873882"/>
                  <a:ext cx="183832" cy="1106710"/>
                  <a:chOff x="6000781" y="2873882"/>
                  <a:chExt cx="183832" cy="1106710"/>
                </a:xfrm>
              </p:grpSpPr>
              <p:sp>
                <p:nvSpPr>
                  <p:cNvPr id="1224" name="Google Shape;1224;p11"/>
                  <p:cNvSpPr/>
                  <p:nvPr/>
                </p:nvSpPr>
                <p:spPr>
                  <a:xfrm>
                    <a:off x="6000781" y="3579971"/>
                    <a:ext cx="83820" cy="400621"/>
                  </a:xfrm>
                  <a:custGeom>
                    <a:avLst/>
                    <a:gdLst/>
                    <a:ahLst/>
                    <a:cxnLst/>
                    <a:rect l="l" t="t" r="r" b="b"/>
                    <a:pathLst>
                      <a:path w="83820" h="400621" extrusionOk="0">
                        <a:moveTo>
                          <a:pt x="61627" y="273463"/>
                        </a:moveTo>
                        <a:cubicBezTo>
                          <a:pt x="63913" y="270129"/>
                          <a:pt x="67247" y="270224"/>
                          <a:pt x="67247" y="270224"/>
                        </a:cubicBezTo>
                        <a:lnTo>
                          <a:pt x="83820" y="2191"/>
                        </a:lnTo>
                        <a:lnTo>
                          <a:pt x="64580" y="0"/>
                        </a:lnTo>
                        <a:lnTo>
                          <a:pt x="19907" y="264795"/>
                        </a:lnTo>
                        <a:cubicBezTo>
                          <a:pt x="19907" y="264795"/>
                          <a:pt x="23241" y="265462"/>
                          <a:pt x="24670" y="269177"/>
                        </a:cubicBezTo>
                        <a:cubicBezTo>
                          <a:pt x="25908" y="272225"/>
                          <a:pt x="24860" y="276511"/>
                          <a:pt x="24860" y="276511"/>
                        </a:cubicBezTo>
                        <a:lnTo>
                          <a:pt x="0" y="394049"/>
                        </a:lnTo>
                        <a:lnTo>
                          <a:pt x="57245" y="400622"/>
                        </a:lnTo>
                        <a:lnTo>
                          <a:pt x="59627" y="280511"/>
                        </a:lnTo>
                        <a:cubicBezTo>
                          <a:pt x="59722" y="280511"/>
                          <a:pt x="59722" y="276130"/>
                          <a:pt x="61627" y="27346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25" name="Google Shape;1225;p11"/>
                  <p:cNvSpPr/>
                  <p:nvPr/>
                </p:nvSpPr>
                <p:spPr>
                  <a:xfrm>
                    <a:off x="6100793" y="2873882"/>
                    <a:ext cx="83820" cy="400716"/>
                  </a:xfrm>
                  <a:custGeom>
                    <a:avLst/>
                    <a:gdLst/>
                    <a:ahLst/>
                    <a:cxnLst/>
                    <a:rect l="l" t="t" r="r" b="b"/>
                    <a:pathLst>
                      <a:path w="83820" h="400716" extrusionOk="0">
                        <a:moveTo>
                          <a:pt x="22193" y="127254"/>
                        </a:moveTo>
                        <a:cubicBezTo>
                          <a:pt x="19907" y="130588"/>
                          <a:pt x="16574" y="130493"/>
                          <a:pt x="16574" y="130493"/>
                        </a:cubicBezTo>
                        <a:lnTo>
                          <a:pt x="0" y="398526"/>
                        </a:lnTo>
                        <a:lnTo>
                          <a:pt x="19241" y="400717"/>
                        </a:lnTo>
                        <a:lnTo>
                          <a:pt x="63913" y="135922"/>
                        </a:lnTo>
                        <a:cubicBezTo>
                          <a:pt x="63913" y="135922"/>
                          <a:pt x="60579" y="135160"/>
                          <a:pt x="59150" y="131445"/>
                        </a:cubicBezTo>
                        <a:cubicBezTo>
                          <a:pt x="57912" y="128492"/>
                          <a:pt x="58960" y="124111"/>
                          <a:pt x="58960" y="124111"/>
                        </a:cubicBezTo>
                        <a:lnTo>
                          <a:pt x="83820" y="6572"/>
                        </a:lnTo>
                        <a:lnTo>
                          <a:pt x="26575" y="0"/>
                        </a:lnTo>
                        <a:lnTo>
                          <a:pt x="24194" y="120015"/>
                        </a:lnTo>
                        <a:cubicBezTo>
                          <a:pt x="24003" y="120110"/>
                          <a:pt x="24098" y="124587"/>
                          <a:pt x="22193" y="127254"/>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26" name="Google Shape;1226;p11"/>
                <p:cNvGrpSpPr/>
                <p:nvPr/>
              </p:nvGrpSpPr>
              <p:grpSpPr>
                <a:xfrm>
                  <a:off x="5539390" y="3335464"/>
                  <a:ext cx="1106614" cy="183641"/>
                  <a:chOff x="5539390" y="3335464"/>
                  <a:chExt cx="1106614" cy="183641"/>
                </a:xfrm>
              </p:grpSpPr>
              <p:sp>
                <p:nvSpPr>
                  <p:cNvPr id="1227" name="Google Shape;1227;p11"/>
                  <p:cNvSpPr/>
                  <p:nvPr/>
                </p:nvSpPr>
                <p:spPr>
                  <a:xfrm>
                    <a:off x="6245383" y="3435381"/>
                    <a:ext cx="400621" cy="83724"/>
                  </a:xfrm>
                  <a:custGeom>
                    <a:avLst/>
                    <a:gdLst/>
                    <a:ahLst/>
                    <a:cxnLst/>
                    <a:rect l="l" t="t" r="r" b="b"/>
                    <a:pathLst>
                      <a:path w="400621" h="83724" extrusionOk="0">
                        <a:moveTo>
                          <a:pt x="273463" y="22193"/>
                        </a:moveTo>
                        <a:cubicBezTo>
                          <a:pt x="270129" y="19907"/>
                          <a:pt x="270224" y="16574"/>
                          <a:pt x="270224" y="16574"/>
                        </a:cubicBezTo>
                        <a:lnTo>
                          <a:pt x="2191" y="0"/>
                        </a:lnTo>
                        <a:lnTo>
                          <a:pt x="0" y="19241"/>
                        </a:lnTo>
                        <a:lnTo>
                          <a:pt x="264795" y="63818"/>
                        </a:lnTo>
                        <a:cubicBezTo>
                          <a:pt x="264795" y="63818"/>
                          <a:pt x="265462" y="60484"/>
                          <a:pt x="269272" y="59055"/>
                        </a:cubicBezTo>
                        <a:cubicBezTo>
                          <a:pt x="272225" y="57817"/>
                          <a:pt x="276511" y="58865"/>
                          <a:pt x="276511" y="58865"/>
                        </a:cubicBezTo>
                        <a:lnTo>
                          <a:pt x="394049" y="83725"/>
                        </a:lnTo>
                        <a:lnTo>
                          <a:pt x="400622" y="26479"/>
                        </a:lnTo>
                        <a:lnTo>
                          <a:pt x="280511" y="24098"/>
                        </a:lnTo>
                        <a:cubicBezTo>
                          <a:pt x="280511" y="24098"/>
                          <a:pt x="276130" y="24098"/>
                          <a:pt x="273463" y="2219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28" name="Google Shape;1228;p11"/>
                  <p:cNvSpPr/>
                  <p:nvPr/>
                </p:nvSpPr>
                <p:spPr>
                  <a:xfrm>
                    <a:off x="5539390" y="3335464"/>
                    <a:ext cx="400621" cy="83820"/>
                  </a:xfrm>
                  <a:custGeom>
                    <a:avLst/>
                    <a:gdLst/>
                    <a:ahLst/>
                    <a:cxnLst/>
                    <a:rect l="l" t="t" r="r" b="b"/>
                    <a:pathLst>
                      <a:path w="400621" h="83820" extrusionOk="0">
                        <a:moveTo>
                          <a:pt x="127064" y="61531"/>
                        </a:moveTo>
                        <a:cubicBezTo>
                          <a:pt x="130397" y="63818"/>
                          <a:pt x="130302" y="67151"/>
                          <a:pt x="130302" y="67151"/>
                        </a:cubicBezTo>
                        <a:lnTo>
                          <a:pt x="398336" y="83820"/>
                        </a:lnTo>
                        <a:lnTo>
                          <a:pt x="400622" y="64579"/>
                        </a:lnTo>
                        <a:lnTo>
                          <a:pt x="135827" y="19907"/>
                        </a:lnTo>
                        <a:cubicBezTo>
                          <a:pt x="135827" y="19907"/>
                          <a:pt x="135160" y="23241"/>
                          <a:pt x="131350" y="24670"/>
                        </a:cubicBezTo>
                        <a:cubicBezTo>
                          <a:pt x="128397" y="25908"/>
                          <a:pt x="124016" y="24860"/>
                          <a:pt x="124016" y="24860"/>
                        </a:cubicBezTo>
                        <a:lnTo>
                          <a:pt x="6572" y="0"/>
                        </a:lnTo>
                        <a:lnTo>
                          <a:pt x="0" y="57245"/>
                        </a:lnTo>
                        <a:lnTo>
                          <a:pt x="120110" y="59722"/>
                        </a:lnTo>
                        <a:cubicBezTo>
                          <a:pt x="120015" y="59626"/>
                          <a:pt x="124492" y="59626"/>
                          <a:pt x="127064" y="61531"/>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29" name="Google Shape;1229;p11"/>
                <p:cNvGrpSpPr/>
                <p:nvPr/>
              </p:nvGrpSpPr>
              <p:grpSpPr>
                <a:xfrm>
                  <a:off x="5725889" y="2975800"/>
                  <a:ext cx="733711" cy="902969"/>
                  <a:chOff x="5725889" y="2975800"/>
                  <a:chExt cx="733711" cy="902969"/>
                </a:xfrm>
              </p:grpSpPr>
              <p:sp>
                <p:nvSpPr>
                  <p:cNvPr id="1230" name="Google Shape;1230;p11"/>
                  <p:cNvSpPr/>
                  <p:nvPr/>
                </p:nvSpPr>
                <p:spPr>
                  <a:xfrm>
                    <a:off x="6181375" y="3542442"/>
                    <a:ext cx="278225" cy="336327"/>
                  </a:xfrm>
                  <a:custGeom>
                    <a:avLst/>
                    <a:gdLst/>
                    <a:ahLst/>
                    <a:cxnLst/>
                    <a:rect l="l" t="t" r="r" b="b"/>
                    <a:pathLst>
                      <a:path w="278225" h="336327" extrusionOk="0">
                        <a:moveTo>
                          <a:pt x="191262" y="207550"/>
                        </a:moveTo>
                        <a:cubicBezTo>
                          <a:pt x="190500" y="203644"/>
                          <a:pt x="192977" y="201263"/>
                          <a:pt x="192977" y="201263"/>
                        </a:cubicBezTo>
                        <a:lnTo>
                          <a:pt x="15145" y="0"/>
                        </a:lnTo>
                        <a:lnTo>
                          <a:pt x="0" y="12097"/>
                        </a:lnTo>
                        <a:lnTo>
                          <a:pt x="155734" y="230886"/>
                        </a:lnTo>
                        <a:cubicBezTo>
                          <a:pt x="155734" y="230886"/>
                          <a:pt x="158496" y="229076"/>
                          <a:pt x="162211" y="230695"/>
                        </a:cubicBezTo>
                        <a:cubicBezTo>
                          <a:pt x="165164" y="231934"/>
                          <a:pt x="167545" y="235648"/>
                          <a:pt x="167545" y="235648"/>
                        </a:cubicBezTo>
                        <a:lnTo>
                          <a:pt x="233077" y="336328"/>
                        </a:lnTo>
                        <a:lnTo>
                          <a:pt x="278225" y="300418"/>
                        </a:lnTo>
                        <a:lnTo>
                          <a:pt x="195072" y="213836"/>
                        </a:lnTo>
                        <a:cubicBezTo>
                          <a:pt x="194881" y="213931"/>
                          <a:pt x="191738" y="210788"/>
                          <a:pt x="191262" y="207550"/>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31" name="Google Shape;1231;p11"/>
                  <p:cNvSpPr/>
                  <p:nvPr/>
                </p:nvSpPr>
                <p:spPr>
                  <a:xfrm>
                    <a:off x="5725889" y="2975800"/>
                    <a:ext cx="278034" cy="336232"/>
                  </a:xfrm>
                  <a:custGeom>
                    <a:avLst/>
                    <a:gdLst/>
                    <a:ahLst/>
                    <a:cxnLst/>
                    <a:rect l="l" t="t" r="r" b="b"/>
                    <a:pathLst>
                      <a:path w="278034" h="336232" extrusionOk="0">
                        <a:moveTo>
                          <a:pt x="86868" y="128683"/>
                        </a:moveTo>
                        <a:cubicBezTo>
                          <a:pt x="87630" y="132683"/>
                          <a:pt x="85154" y="134969"/>
                          <a:pt x="85154" y="134969"/>
                        </a:cubicBezTo>
                        <a:lnTo>
                          <a:pt x="262890" y="336233"/>
                        </a:lnTo>
                        <a:lnTo>
                          <a:pt x="278035" y="324231"/>
                        </a:lnTo>
                        <a:lnTo>
                          <a:pt x="122396" y="105442"/>
                        </a:lnTo>
                        <a:cubicBezTo>
                          <a:pt x="122396" y="105442"/>
                          <a:pt x="119634" y="107347"/>
                          <a:pt x="115919" y="105632"/>
                        </a:cubicBezTo>
                        <a:cubicBezTo>
                          <a:pt x="112966" y="104394"/>
                          <a:pt x="110585" y="100679"/>
                          <a:pt x="110585" y="100679"/>
                        </a:cubicBezTo>
                        <a:lnTo>
                          <a:pt x="45148" y="0"/>
                        </a:lnTo>
                        <a:lnTo>
                          <a:pt x="0" y="35814"/>
                        </a:lnTo>
                        <a:lnTo>
                          <a:pt x="83249" y="122492"/>
                        </a:lnTo>
                        <a:cubicBezTo>
                          <a:pt x="83153" y="122396"/>
                          <a:pt x="86296" y="125540"/>
                          <a:pt x="86868" y="12868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32" name="Google Shape;1232;p11"/>
                <p:cNvGrpSpPr/>
                <p:nvPr/>
              </p:nvGrpSpPr>
              <p:grpSpPr>
                <a:xfrm>
                  <a:off x="5641021" y="3060382"/>
                  <a:ext cx="903255" cy="733615"/>
                  <a:chOff x="5641021" y="3060382"/>
                  <a:chExt cx="903255" cy="733615"/>
                </a:xfrm>
              </p:grpSpPr>
              <p:sp>
                <p:nvSpPr>
                  <p:cNvPr id="1233" name="Google Shape;1233;p11"/>
                  <p:cNvSpPr/>
                  <p:nvPr/>
                </p:nvSpPr>
                <p:spPr>
                  <a:xfrm>
                    <a:off x="5641021" y="3515868"/>
                    <a:ext cx="336423" cy="278129"/>
                  </a:xfrm>
                  <a:custGeom>
                    <a:avLst/>
                    <a:gdLst/>
                    <a:ahLst/>
                    <a:cxnLst/>
                    <a:rect l="l" t="t" r="r" b="b"/>
                    <a:pathLst>
                      <a:path w="336423" h="278129" extrusionOk="0">
                        <a:moveTo>
                          <a:pt x="128873" y="191357"/>
                        </a:moveTo>
                        <a:cubicBezTo>
                          <a:pt x="132874" y="190595"/>
                          <a:pt x="135160" y="192976"/>
                          <a:pt x="135160" y="192976"/>
                        </a:cubicBezTo>
                        <a:lnTo>
                          <a:pt x="336423" y="15240"/>
                        </a:lnTo>
                        <a:lnTo>
                          <a:pt x="324326" y="0"/>
                        </a:lnTo>
                        <a:lnTo>
                          <a:pt x="105537" y="155734"/>
                        </a:lnTo>
                        <a:cubicBezTo>
                          <a:pt x="105537" y="155734"/>
                          <a:pt x="107347" y="158591"/>
                          <a:pt x="105728" y="162211"/>
                        </a:cubicBezTo>
                        <a:cubicBezTo>
                          <a:pt x="104489" y="165163"/>
                          <a:pt x="100679" y="167545"/>
                          <a:pt x="100679" y="167545"/>
                        </a:cubicBezTo>
                        <a:lnTo>
                          <a:pt x="0" y="232981"/>
                        </a:lnTo>
                        <a:lnTo>
                          <a:pt x="35814" y="278130"/>
                        </a:lnTo>
                        <a:lnTo>
                          <a:pt x="122396" y="194977"/>
                        </a:lnTo>
                        <a:cubicBezTo>
                          <a:pt x="122587" y="194977"/>
                          <a:pt x="125730" y="191929"/>
                          <a:pt x="128873" y="191357"/>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34" name="Google Shape;1234;p11"/>
                  <p:cNvSpPr/>
                  <p:nvPr/>
                </p:nvSpPr>
                <p:spPr>
                  <a:xfrm>
                    <a:off x="6207854" y="3060382"/>
                    <a:ext cx="336422" cy="278225"/>
                  </a:xfrm>
                  <a:custGeom>
                    <a:avLst/>
                    <a:gdLst/>
                    <a:ahLst/>
                    <a:cxnLst/>
                    <a:rect l="l" t="t" r="r" b="b"/>
                    <a:pathLst>
                      <a:path w="336422" h="278225" extrusionOk="0">
                        <a:moveTo>
                          <a:pt x="207550" y="86963"/>
                        </a:moveTo>
                        <a:cubicBezTo>
                          <a:pt x="203644" y="87725"/>
                          <a:pt x="201263" y="85249"/>
                          <a:pt x="201263" y="85249"/>
                        </a:cubicBezTo>
                        <a:lnTo>
                          <a:pt x="0" y="263081"/>
                        </a:lnTo>
                        <a:lnTo>
                          <a:pt x="12097" y="278225"/>
                        </a:lnTo>
                        <a:lnTo>
                          <a:pt x="230886" y="122492"/>
                        </a:lnTo>
                        <a:cubicBezTo>
                          <a:pt x="230886" y="122492"/>
                          <a:pt x="229076" y="119634"/>
                          <a:pt x="230695" y="115919"/>
                        </a:cubicBezTo>
                        <a:cubicBezTo>
                          <a:pt x="231934" y="112967"/>
                          <a:pt x="235744" y="110585"/>
                          <a:pt x="235744" y="110585"/>
                        </a:cubicBezTo>
                        <a:lnTo>
                          <a:pt x="336423" y="45149"/>
                        </a:lnTo>
                        <a:lnTo>
                          <a:pt x="300609" y="0"/>
                        </a:lnTo>
                        <a:lnTo>
                          <a:pt x="214027" y="83249"/>
                        </a:lnTo>
                        <a:cubicBezTo>
                          <a:pt x="213931" y="83249"/>
                          <a:pt x="210788" y="86392"/>
                          <a:pt x="207550" y="86963"/>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sp>
            <p:nvSpPr>
              <p:cNvPr id="1235" name="Google Shape;1235;p11"/>
              <p:cNvSpPr/>
              <p:nvPr/>
            </p:nvSpPr>
            <p:spPr>
              <a:xfrm>
                <a:off x="5863842" y="3198458"/>
                <a:ext cx="457614" cy="457586"/>
              </a:xfrm>
              <a:custGeom>
                <a:avLst/>
                <a:gdLst/>
                <a:ahLst/>
                <a:cxnLst/>
                <a:rect l="l" t="t" r="r" b="b"/>
                <a:pathLst>
                  <a:path w="457614" h="457586" extrusionOk="0">
                    <a:moveTo>
                      <a:pt x="412592" y="365035"/>
                    </a:moveTo>
                    <a:cubicBezTo>
                      <a:pt x="337345" y="466571"/>
                      <a:pt x="193993" y="487812"/>
                      <a:pt x="92552" y="412564"/>
                    </a:cubicBezTo>
                    <a:cubicBezTo>
                      <a:pt x="-8984" y="337317"/>
                      <a:pt x="-30225" y="193966"/>
                      <a:pt x="45022" y="92524"/>
                    </a:cubicBezTo>
                    <a:cubicBezTo>
                      <a:pt x="120270" y="-8917"/>
                      <a:pt x="263621" y="-30253"/>
                      <a:pt x="365063" y="44995"/>
                    </a:cubicBezTo>
                    <a:cubicBezTo>
                      <a:pt x="466599" y="120242"/>
                      <a:pt x="487840" y="263593"/>
                      <a:pt x="412592" y="365035"/>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36" name="Google Shape;1236;p11"/>
              <p:cNvSpPr/>
              <p:nvPr/>
            </p:nvSpPr>
            <p:spPr>
              <a:xfrm>
                <a:off x="5907219" y="3241848"/>
                <a:ext cx="370860" cy="370847"/>
              </a:xfrm>
              <a:custGeom>
                <a:avLst/>
                <a:gdLst/>
                <a:ahLst/>
                <a:cxnLst/>
                <a:rect l="l" t="t" r="r" b="b"/>
                <a:pathLst>
                  <a:path w="370860" h="370847" extrusionOk="0">
                    <a:moveTo>
                      <a:pt x="334354" y="295832"/>
                    </a:moveTo>
                    <a:cubicBezTo>
                      <a:pt x="273394" y="378128"/>
                      <a:pt x="157284" y="395368"/>
                      <a:pt x="74988" y="334313"/>
                    </a:cubicBezTo>
                    <a:cubicBezTo>
                      <a:pt x="-7213" y="273353"/>
                      <a:pt x="-24548" y="157243"/>
                      <a:pt x="36507" y="74947"/>
                    </a:cubicBezTo>
                    <a:cubicBezTo>
                      <a:pt x="97467" y="-7254"/>
                      <a:pt x="213577" y="-24494"/>
                      <a:pt x="295873" y="36466"/>
                    </a:cubicBezTo>
                    <a:cubicBezTo>
                      <a:pt x="378074" y="97521"/>
                      <a:pt x="395409" y="213631"/>
                      <a:pt x="334354" y="295832"/>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37" name="Google Shape;1237;p11"/>
              <p:cNvSpPr/>
              <p:nvPr/>
            </p:nvSpPr>
            <p:spPr>
              <a:xfrm>
                <a:off x="5977584" y="3312131"/>
                <a:ext cx="230220" cy="230308"/>
              </a:xfrm>
              <a:custGeom>
                <a:avLst/>
                <a:gdLst/>
                <a:ahLst/>
                <a:cxnLst/>
                <a:rect l="l" t="t" r="r" b="b"/>
                <a:pathLst>
                  <a:path w="230220" h="230308" extrusionOk="0">
                    <a:moveTo>
                      <a:pt x="207601" y="183734"/>
                    </a:moveTo>
                    <a:cubicBezTo>
                      <a:pt x="169692" y="234788"/>
                      <a:pt x="97587" y="245552"/>
                      <a:pt x="46533" y="207642"/>
                    </a:cubicBezTo>
                    <a:cubicBezTo>
                      <a:pt x="-4521" y="169733"/>
                      <a:pt x="-15189" y="97628"/>
                      <a:pt x="22626" y="46574"/>
                    </a:cubicBezTo>
                    <a:cubicBezTo>
                      <a:pt x="60440" y="-4480"/>
                      <a:pt x="132544" y="-15243"/>
                      <a:pt x="183598" y="22667"/>
                    </a:cubicBezTo>
                    <a:cubicBezTo>
                      <a:pt x="234747" y="60481"/>
                      <a:pt x="245415" y="132680"/>
                      <a:pt x="207601" y="183734"/>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38" name="Google Shape;1238;p11"/>
              <p:cNvSpPr/>
              <p:nvPr/>
            </p:nvSpPr>
            <p:spPr>
              <a:xfrm>
                <a:off x="5465747" y="2800335"/>
                <a:ext cx="1253866" cy="1253894"/>
              </a:xfrm>
              <a:custGeom>
                <a:avLst/>
                <a:gdLst/>
                <a:ahLst/>
                <a:cxnLst/>
                <a:rect l="l" t="t" r="r" b="b"/>
                <a:pathLst>
                  <a:path w="1253866" h="1253894" extrusionOk="0">
                    <a:moveTo>
                      <a:pt x="1000235" y="123363"/>
                    </a:moveTo>
                    <a:cubicBezTo>
                      <a:pt x="722200" y="-82853"/>
                      <a:pt x="329580" y="-24560"/>
                      <a:pt x="123363" y="253570"/>
                    </a:cubicBezTo>
                    <a:cubicBezTo>
                      <a:pt x="-82853" y="531700"/>
                      <a:pt x="-24560" y="924321"/>
                      <a:pt x="253570" y="1130537"/>
                    </a:cubicBezTo>
                    <a:cubicBezTo>
                      <a:pt x="531700" y="1336753"/>
                      <a:pt x="924321" y="1278460"/>
                      <a:pt x="1130537" y="1000235"/>
                    </a:cubicBezTo>
                    <a:cubicBezTo>
                      <a:pt x="1336753" y="722200"/>
                      <a:pt x="1278365" y="329580"/>
                      <a:pt x="1000235" y="123363"/>
                    </a:cubicBezTo>
                    <a:close/>
                    <a:moveTo>
                      <a:pt x="303957" y="1062529"/>
                    </a:moveTo>
                    <a:cubicBezTo>
                      <a:pt x="63451" y="884125"/>
                      <a:pt x="12969" y="544559"/>
                      <a:pt x="191372" y="303957"/>
                    </a:cubicBezTo>
                    <a:cubicBezTo>
                      <a:pt x="369680" y="63356"/>
                      <a:pt x="709342" y="12969"/>
                      <a:pt x="949848" y="191372"/>
                    </a:cubicBezTo>
                    <a:cubicBezTo>
                      <a:pt x="1190449" y="369775"/>
                      <a:pt x="1240837" y="709342"/>
                      <a:pt x="1062529" y="949848"/>
                    </a:cubicBezTo>
                    <a:cubicBezTo>
                      <a:pt x="884125" y="1190449"/>
                      <a:pt x="544559" y="1240837"/>
                      <a:pt x="303957" y="1062529"/>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nvGrpSpPr>
              <p:cNvPr id="1239" name="Google Shape;1239;p11"/>
              <p:cNvGrpSpPr/>
              <p:nvPr/>
            </p:nvGrpSpPr>
            <p:grpSpPr>
              <a:xfrm>
                <a:off x="5495097" y="2829686"/>
                <a:ext cx="1195104" cy="1195203"/>
                <a:chOff x="5495097" y="2829686"/>
                <a:chExt cx="1195104" cy="1195203"/>
              </a:xfrm>
            </p:grpSpPr>
            <p:sp>
              <p:nvSpPr>
                <p:cNvPr id="1240" name="Google Shape;1240;p11"/>
                <p:cNvSpPr/>
                <p:nvPr/>
              </p:nvSpPr>
              <p:spPr>
                <a:xfrm>
                  <a:off x="5495097" y="2829686"/>
                  <a:ext cx="1195104" cy="1195203"/>
                </a:xfrm>
                <a:custGeom>
                  <a:avLst/>
                  <a:gdLst/>
                  <a:ahLst/>
                  <a:cxnLst/>
                  <a:rect l="l" t="t" r="r" b="b"/>
                  <a:pathLst>
                    <a:path w="1195104" h="1195203" extrusionOk="0">
                      <a:moveTo>
                        <a:pt x="242127" y="1078040"/>
                      </a:moveTo>
                      <a:lnTo>
                        <a:pt x="241651" y="1077659"/>
                      </a:lnTo>
                      <a:cubicBezTo>
                        <a:pt x="236221" y="1073658"/>
                        <a:pt x="234792" y="1065752"/>
                        <a:pt x="238793" y="1060323"/>
                      </a:cubicBezTo>
                      <a:cubicBezTo>
                        <a:pt x="242889" y="1054799"/>
                        <a:pt x="250318" y="1053560"/>
                        <a:pt x="255747" y="1057561"/>
                      </a:cubicBezTo>
                      <a:lnTo>
                        <a:pt x="256700" y="1058323"/>
                      </a:lnTo>
                      <a:cubicBezTo>
                        <a:pt x="262129" y="1062323"/>
                        <a:pt x="263272" y="1070039"/>
                        <a:pt x="259272" y="1075563"/>
                      </a:cubicBezTo>
                      <a:cubicBezTo>
                        <a:pt x="255271" y="1080992"/>
                        <a:pt x="247556" y="1082135"/>
                        <a:pt x="242127" y="1078040"/>
                      </a:cubicBezTo>
                      <a:close/>
                      <a:moveTo>
                        <a:pt x="212028" y="1054322"/>
                      </a:moveTo>
                      <a:cubicBezTo>
                        <a:pt x="211837" y="1054227"/>
                        <a:pt x="211647" y="1054037"/>
                        <a:pt x="211456" y="1053846"/>
                      </a:cubicBezTo>
                      <a:lnTo>
                        <a:pt x="210408" y="1052894"/>
                      </a:lnTo>
                      <a:cubicBezTo>
                        <a:pt x="205265" y="1048512"/>
                        <a:pt x="204693" y="1040701"/>
                        <a:pt x="209075" y="1035558"/>
                      </a:cubicBezTo>
                      <a:cubicBezTo>
                        <a:pt x="213456" y="1030415"/>
                        <a:pt x="221077" y="1029748"/>
                        <a:pt x="226410" y="1034225"/>
                      </a:cubicBezTo>
                      <a:cubicBezTo>
                        <a:pt x="231649" y="1038606"/>
                        <a:pt x="232697" y="1046702"/>
                        <a:pt x="228411" y="1051941"/>
                      </a:cubicBezTo>
                      <a:cubicBezTo>
                        <a:pt x="224220" y="1056989"/>
                        <a:pt x="217266" y="1058132"/>
                        <a:pt x="212028" y="1054322"/>
                      </a:cubicBezTo>
                      <a:close/>
                      <a:moveTo>
                        <a:pt x="272512" y="1099185"/>
                      </a:moveTo>
                      <a:cubicBezTo>
                        <a:pt x="267368" y="1095375"/>
                        <a:pt x="266035" y="1088136"/>
                        <a:pt x="269464" y="1082707"/>
                      </a:cubicBezTo>
                      <a:cubicBezTo>
                        <a:pt x="273083" y="1076992"/>
                        <a:pt x="280703" y="1075277"/>
                        <a:pt x="286418" y="1078897"/>
                      </a:cubicBezTo>
                      <a:lnTo>
                        <a:pt x="287561" y="1079659"/>
                      </a:lnTo>
                      <a:cubicBezTo>
                        <a:pt x="293371" y="1083374"/>
                        <a:pt x="294895" y="1090994"/>
                        <a:pt x="291085" y="1096709"/>
                      </a:cubicBezTo>
                      <a:cubicBezTo>
                        <a:pt x="287371" y="1102328"/>
                        <a:pt x="279751" y="1103948"/>
                        <a:pt x="274036" y="1100233"/>
                      </a:cubicBezTo>
                      <a:lnTo>
                        <a:pt x="273083" y="1099661"/>
                      </a:lnTo>
                      <a:cubicBezTo>
                        <a:pt x="273083" y="1099471"/>
                        <a:pt x="272797" y="1099376"/>
                        <a:pt x="272512" y="1099185"/>
                      </a:cubicBezTo>
                      <a:close/>
                      <a:moveTo>
                        <a:pt x="305373" y="1118902"/>
                      </a:moveTo>
                      <a:cubicBezTo>
                        <a:pt x="300515" y="1115282"/>
                        <a:pt x="298896" y="1108520"/>
                        <a:pt x="301944" y="1103090"/>
                      </a:cubicBezTo>
                      <a:cubicBezTo>
                        <a:pt x="305278" y="1097090"/>
                        <a:pt x="312707" y="1094994"/>
                        <a:pt x="318708" y="1098328"/>
                      </a:cubicBezTo>
                      <a:lnTo>
                        <a:pt x="319756" y="1098899"/>
                      </a:lnTo>
                      <a:cubicBezTo>
                        <a:pt x="325756" y="1102138"/>
                        <a:pt x="327852" y="1109663"/>
                        <a:pt x="324518" y="1115663"/>
                      </a:cubicBezTo>
                      <a:cubicBezTo>
                        <a:pt x="321184" y="1121664"/>
                        <a:pt x="313755" y="1123760"/>
                        <a:pt x="307754" y="1120426"/>
                      </a:cubicBezTo>
                      <a:lnTo>
                        <a:pt x="306706" y="1119759"/>
                      </a:lnTo>
                      <a:cubicBezTo>
                        <a:pt x="306230" y="1119473"/>
                        <a:pt x="305754" y="1119283"/>
                        <a:pt x="305373" y="1118902"/>
                      </a:cubicBezTo>
                      <a:close/>
                      <a:moveTo>
                        <a:pt x="183643" y="1028700"/>
                      </a:moveTo>
                      <a:cubicBezTo>
                        <a:pt x="183262" y="1028414"/>
                        <a:pt x="182786" y="1028033"/>
                        <a:pt x="182405" y="1027652"/>
                      </a:cubicBezTo>
                      <a:lnTo>
                        <a:pt x="181548" y="1026795"/>
                      </a:lnTo>
                      <a:cubicBezTo>
                        <a:pt x="176690" y="1022033"/>
                        <a:pt x="176595" y="1014317"/>
                        <a:pt x="181262" y="1009364"/>
                      </a:cubicBezTo>
                      <a:cubicBezTo>
                        <a:pt x="185929" y="1004507"/>
                        <a:pt x="193740" y="1004221"/>
                        <a:pt x="198597" y="1009079"/>
                      </a:cubicBezTo>
                      <a:lnTo>
                        <a:pt x="199455" y="1009936"/>
                      </a:lnTo>
                      <a:cubicBezTo>
                        <a:pt x="204312" y="1014698"/>
                        <a:pt x="204503" y="1022414"/>
                        <a:pt x="199740" y="1027367"/>
                      </a:cubicBezTo>
                      <a:cubicBezTo>
                        <a:pt x="195454" y="1031843"/>
                        <a:pt x="188501" y="1032320"/>
                        <a:pt x="183643" y="1028700"/>
                      </a:cubicBezTo>
                      <a:close/>
                      <a:moveTo>
                        <a:pt x="339377" y="1136428"/>
                      </a:moveTo>
                      <a:cubicBezTo>
                        <a:pt x="334805" y="1133094"/>
                        <a:pt x="333090" y="1126808"/>
                        <a:pt x="335567" y="1121474"/>
                      </a:cubicBezTo>
                      <a:cubicBezTo>
                        <a:pt x="338425" y="1115282"/>
                        <a:pt x="345663" y="1112615"/>
                        <a:pt x="351855" y="1115473"/>
                      </a:cubicBezTo>
                      <a:lnTo>
                        <a:pt x="353188" y="1116140"/>
                      </a:lnTo>
                      <a:cubicBezTo>
                        <a:pt x="359284" y="1119092"/>
                        <a:pt x="361856" y="1126427"/>
                        <a:pt x="358903" y="1132523"/>
                      </a:cubicBezTo>
                      <a:cubicBezTo>
                        <a:pt x="355951" y="1138619"/>
                        <a:pt x="348616" y="1141190"/>
                        <a:pt x="342425" y="1138238"/>
                      </a:cubicBezTo>
                      <a:lnTo>
                        <a:pt x="341568" y="1137761"/>
                      </a:lnTo>
                      <a:cubicBezTo>
                        <a:pt x="340806" y="1137380"/>
                        <a:pt x="340044" y="1136999"/>
                        <a:pt x="339377" y="1136428"/>
                      </a:cubicBezTo>
                      <a:close/>
                      <a:moveTo>
                        <a:pt x="156878" y="1001173"/>
                      </a:moveTo>
                      <a:cubicBezTo>
                        <a:pt x="156306" y="1000697"/>
                        <a:pt x="155735" y="1000220"/>
                        <a:pt x="155164" y="999649"/>
                      </a:cubicBezTo>
                      <a:lnTo>
                        <a:pt x="154211" y="998601"/>
                      </a:lnTo>
                      <a:cubicBezTo>
                        <a:pt x="149734" y="993553"/>
                        <a:pt x="150210" y="985742"/>
                        <a:pt x="155259" y="981266"/>
                      </a:cubicBezTo>
                      <a:cubicBezTo>
                        <a:pt x="160307" y="976789"/>
                        <a:pt x="168117" y="977265"/>
                        <a:pt x="172594" y="982313"/>
                      </a:cubicBezTo>
                      <a:cubicBezTo>
                        <a:pt x="177166" y="987362"/>
                        <a:pt x="177261" y="995458"/>
                        <a:pt x="172213" y="1000030"/>
                      </a:cubicBezTo>
                      <a:cubicBezTo>
                        <a:pt x="167832" y="1004126"/>
                        <a:pt x="161545" y="1004602"/>
                        <a:pt x="156878" y="1001173"/>
                      </a:cubicBezTo>
                      <a:close/>
                      <a:moveTo>
                        <a:pt x="132113" y="972122"/>
                      </a:moveTo>
                      <a:cubicBezTo>
                        <a:pt x="131256" y="971455"/>
                        <a:pt x="130494" y="970693"/>
                        <a:pt x="129732" y="969836"/>
                      </a:cubicBezTo>
                      <a:lnTo>
                        <a:pt x="129065" y="968978"/>
                      </a:lnTo>
                      <a:cubicBezTo>
                        <a:pt x="124779" y="963644"/>
                        <a:pt x="125636" y="955929"/>
                        <a:pt x="130875" y="951738"/>
                      </a:cubicBezTo>
                      <a:cubicBezTo>
                        <a:pt x="136114" y="947452"/>
                        <a:pt x="144019" y="948309"/>
                        <a:pt x="148210" y="953548"/>
                      </a:cubicBezTo>
                      <a:lnTo>
                        <a:pt x="149067" y="954691"/>
                      </a:lnTo>
                      <a:cubicBezTo>
                        <a:pt x="153258" y="960025"/>
                        <a:pt x="152306" y="967740"/>
                        <a:pt x="146972" y="971931"/>
                      </a:cubicBezTo>
                      <a:cubicBezTo>
                        <a:pt x="142590" y="975455"/>
                        <a:pt x="136494" y="975360"/>
                        <a:pt x="132113" y="972122"/>
                      </a:cubicBezTo>
                      <a:close/>
                      <a:moveTo>
                        <a:pt x="374429" y="1151763"/>
                      </a:moveTo>
                      <a:cubicBezTo>
                        <a:pt x="370048" y="1148525"/>
                        <a:pt x="368238" y="1142524"/>
                        <a:pt x="370333" y="1137285"/>
                      </a:cubicBezTo>
                      <a:cubicBezTo>
                        <a:pt x="372905" y="1130999"/>
                        <a:pt x="380049" y="1127951"/>
                        <a:pt x="386335" y="1130522"/>
                      </a:cubicBezTo>
                      <a:cubicBezTo>
                        <a:pt x="392717" y="1132999"/>
                        <a:pt x="396241" y="1140333"/>
                        <a:pt x="393860" y="1146620"/>
                      </a:cubicBezTo>
                      <a:cubicBezTo>
                        <a:pt x="391383" y="1153001"/>
                        <a:pt x="384716" y="1156240"/>
                        <a:pt x="378430" y="1153859"/>
                      </a:cubicBezTo>
                      <a:lnTo>
                        <a:pt x="377191" y="1153287"/>
                      </a:lnTo>
                      <a:cubicBezTo>
                        <a:pt x="376143" y="1152906"/>
                        <a:pt x="375286" y="1152335"/>
                        <a:pt x="374429" y="1151763"/>
                      </a:cubicBezTo>
                      <a:close/>
                      <a:moveTo>
                        <a:pt x="410529" y="1164717"/>
                      </a:moveTo>
                      <a:cubicBezTo>
                        <a:pt x="406433" y="1161669"/>
                        <a:pt x="404528" y="1156145"/>
                        <a:pt x="406147" y="1151001"/>
                      </a:cubicBezTo>
                      <a:cubicBezTo>
                        <a:pt x="408243" y="1144524"/>
                        <a:pt x="415196" y="1141000"/>
                        <a:pt x="421673" y="1143095"/>
                      </a:cubicBezTo>
                      <a:cubicBezTo>
                        <a:pt x="428150" y="1145191"/>
                        <a:pt x="432246" y="1152239"/>
                        <a:pt x="430246" y="1158716"/>
                      </a:cubicBezTo>
                      <a:cubicBezTo>
                        <a:pt x="428245" y="1165193"/>
                        <a:pt x="421863" y="1169003"/>
                        <a:pt x="415386" y="1167003"/>
                      </a:cubicBezTo>
                      <a:lnTo>
                        <a:pt x="414148" y="1166527"/>
                      </a:lnTo>
                      <a:cubicBezTo>
                        <a:pt x="412719" y="1166146"/>
                        <a:pt x="411481" y="1165479"/>
                        <a:pt x="410529" y="1164717"/>
                      </a:cubicBezTo>
                      <a:close/>
                      <a:moveTo>
                        <a:pt x="109158" y="941261"/>
                      </a:moveTo>
                      <a:cubicBezTo>
                        <a:pt x="108205" y="940499"/>
                        <a:pt x="107253" y="939641"/>
                        <a:pt x="106491" y="938498"/>
                      </a:cubicBezTo>
                      <a:lnTo>
                        <a:pt x="105729" y="937451"/>
                      </a:lnTo>
                      <a:cubicBezTo>
                        <a:pt x="101919" y="931831"/>
                        <a:pt x="103347" y="924211"/>
                        <a:pt x="108967" y="920306"/>
                      </a:cubicBezTo>
                      <a:cubicBezTo>
                        <a:pt x="114587" y="916496"/>
                        <a:pt x="122207" y="917829"/>
                        <a:pt x="126017" y="923449"/>
                      </a:cubicBezTo>
                      <a:cubicBezTo>
                        <a:pt x="129922" y="928973"/>
                        <a:pt x="128874" y="937165"/>
                        <a:pt x="123350" y="941070"/>
                      </a:cubicBezTo>
                      <a:cubicBezTo>
                        <a:pt x="118873" y="944213"/>
                        <a:pt x="113253" y="944309"/>
                        <a:pt x="109158" y="941261"/>
                      </a:cubicBezTo>
                      <a:close/>
                      <a:moveTo>
                        <a:pt x="447295" y="1175290"/>
                      </a:moveTo>
                      <a:cubicBezTo>
                        <a:pt x="443390" y="1172432"/>
                        <a:pt x="441485" y="1167479"/>
                        <a:pt x="442723" y="1162526"/>
                      </a:cubicBezTo>
                      <a:cubicBezTo>
                        <a:pt x="444342" y="1155954"/>
                        <a:pt x="451010" y="1151858"/>
                        <a:pt x="457582" y="1153478"/>
                      </a:cubicBezTo>
                      <a:lnTo>
                        <a:pt x="458916" y="1153859"/>
                      </a:lnTo>
                      <a:cubicBezTo>
                        <a:pt x="465488" y="1155478"/>
                        <a:pt x="469488" y="1162241"/>
                        <a:pt x="467774" y="1168813"/>
                      </a:cubicBezTo>
                      <a:cubicBezTo>
                        <a:pt x="466059" y="1175385"/>
                        <a:pt x="459392" y="1179386"/>
                        <a:pt x="452820" y="1177671"/>
                      </a:cubicBezTo>
                      <a:lnTo>
                        <a:pt x="451677" y="1177385"/>
                      </a:lnTo>
                      <a:cubicBezTo>
                        <a:pt x="450058" y="1176909"/>
                        <a:pt x="448533" y="1176242"/>
                        <a:pt x="447295" y="1175290"/>
                      </a:cubicBezTo>
                      <a:close/>
                      <a:moveTo>
                        <a:pt x="88298" y="909066"/>
                      </a:moveTo>
                      <a:cubicBezTo>
                        <a:pt x="87155" y="908209"/>
                        <a:pt x="86107" y="907066"/>
                        <a:pt x="85250" y="905732"/>
                      </a:cubicBezTo>
                      <a:lnTo>
                        <a:pt x="84488" y="904399"/>
                      </a:lnTo>
                      <a:cubicBezTo>
                        <a:pt x="81059" y="898493"/>
                        <a:pt x="83154" y="890969"/>
                        <a:pt x="88965" y="887635"/>
                      </a:cubicBezTo>
                      <a:cubicBezTo>
                        <a:pt x="94870" y="884206"/>
                        <a:pt x="102395" y="886206"/>
                        <a:pt x="105729" y="892207"/>
                      </a:cubicBezTo>
                      <a:cubicBezTo>
                        <a:pt x="109253" y="898017"/>
                        <a:pt x="107729" y="906018"/>
                        <a:pt x="101823" y="909447"/>
                      </a:cubicBezTo>
                      <a:cubicBezTo>
                        <a:pt x="97442" y="912114"/>
                        <a:pt x="92108" y="911924"/>
                        <a:pt x="88298" y="909066"/>
                      </a:cubicBezTo>
                      <a:close/>
                      <a:moveTo>
                        <a:pt x="484633" y="1183386"/>
                      </a:moveTo>
                      <a:cubicBezTo>
                        <a:pt x="481014" y="1180719"/>
                        <a:pt x="479013" y="1176242"/>
                        <a:pt x="479776" y="1171575"/>
                      </a:cubicBezTo>
                      <a:cubicBezTo>
                        <a:pt x="480823" y="1164908"/>
                        <a:pt x="487205" y="1160336"/>
                        <a:pt x="493873" y="1161383"/>
                      </a:cubicBezTo>
                      <a:lnTo>
                        <a:pt x="495397" y="1161574"/>
                      </a:lnTo>
                      <a:cubicBezTo>
                        <a:pt x="502159" y="1162907"/>
                        <a:pt x="506446" y="1169289"/>
                        <a:pt x="505207" y="1175957"/>
                      </a:cubicBezTo>
                      <a:cubicBezTo>
                        <a:pt x="503969" y="1182624"/>
                        <a:pt x="497492" y="1187006"/>
                        <a:pt x="490825" y="1185767"/>
                      </a:cubicBezTo>
                      <a:lnTo>
                        <a:pt x="489967" y="1185577"/>
                      </a:lnTo>
                      <a:cubicBezTo>
                        <a:pt x="487967" y="1185291"/>
                        <a:pt x="486157" y="1184529"/>
                        <a:pt x="484633" y="1183386"/>
                      </a:cubicBezTo>
                      <a:close/>
                      <a:moveTo>
                        <a:pt x="69629" y="875538"/>
                      </a:moveTo>
                      <a:cubicBezTo>
                        <a:pt x="68200" y="874490"/>
                        <a:pt x="67057" y="873157"/>
                        <a:pt x="66200" y="871538"/>
                      </a:cubicBezTo>
                      <a:lnTo>
                        <a:pt x="65438" y="870204"/>
                      </a:lnTo>
                      <a:cubicBezTo>
                        <a:pt x="62485" y="864108"/>
                        <a:pt x="64962" y="856679"/>
                        <a:pt x="71058" y="853726"/>
                      </a:cubicBezTo>
                      <a:cubicBezTo>
                        <a:pt x="77154" y="850678"/>
                        <a:pt x="84583" y="853250"/>
                        <a:pt x="87536" y="859346"/>
                      </a:cubicBezTo>
                      <a:cubicBezTo>
                        <a:pt x="90679" y="865346"/>
                        <a:pt x="88584" y="873252"/>
                        <a:pt x="82488" y="876395"/>
                      </a:cubicBezTo>
                      <a:cubicBezTo>
                        <a:pt x="78297" y="878586"/>
                        <a:pt x="73248" y="878205"/>
                        <a:pt x="69629" y="875538"/>
                      </a:cubicBezTo>
                      <a:close/>
                      <a:moveTo>
                        <a:pt x="522448" y="1189006"/>
                      </a:moveTo>
                      <a:cubicBezTo>
                        <a:pt x="519114" y="1186529"/>
                        <a:pt x="517113" y="1182434"/>
                        <a:pt x="517494" y="1177957"/>
                      </a:cubicBezTo>
                      <a:cubicBezTo>
                        <a:pt x="518161" y="1171194"/>
                        <a:pt x="524162" y="1166241"/>
                        <a:pt x="530925" y="1166908"/>
                      </a:cubicBezTo>
                      <a:lnTo>
                        <a:pt x="532544" y="1167098"/>
                      </a:lnTo>
                      <a:cubicBezTo>
                        <a:pt x="539307" y="1167956"/>
                        <a:pt x="544069" y="1174052"/>
                        <a:pt x="543212" y="1180814"/>
                      </a:cubicBezTo>
                      <a:cubicBezTo>
                        <a:pt x="542450" y="1187482"/>
                        <a:pt x="536259" y="1192340"/>
                        <a:pt x="529496" y="1191482"/>
                      </a:cubicBezTo>
                      <a:lnTo>
                        <a:pt x="528544" y="1191387"/>
                      </a:lnTo>
                      <a:cubicBezTo>
                        <a:pt x="526353" y="1191197"/>
                        <a:pt x="524257" y="1190244"/>
                        <a:pt x="522448" y="1189006"/>
                      </a:cubicBezTo>
                      <a:close/>
                      <a:moveTo>
                        <a:pt x="53246" y="840867"/>
                      </a:moveTo>
                      <a:cubicBezTo>
                        <a:pt x="51722" y="839724"/>
                        <a:pt x="50388" y="838200"/>
                        <a:pt x="49531" y="836200"/>
                      </a:cubicBezTo>
                      <a:lnTo>
                        <a:pt x="48864" y="834771"/>
                      </a:lnTo>
                      <a:cubicBezTo>
                        <a:pt x="46293" y="828485"/>
                        <a:pt x="49341" y="821341"/>
                        <a:pt x="55532" y="818674"/>
                      </a:cubicBezTo>
                      <a:cubicBezTo>
                        <a:pt x="61818" y="816102"/>
                        <a:pt x="68962" y="819055"/>
                        <a:pt x="71534" y="825341"/>
                      </a:cubicBezTo>
                      <a:cubicBezTo>
                        <a:pt x="74296" y="831533"/>
                        <a:pt x="71629" y="839248"/>
                        <a:pt x="65438" y="842010"/>
                      </a:cubicBezTo>
                      <a:cubicBezTo>
                        <a:pt x="61247" y="843915"/>
                        <a:pt x="56580" y="843344"/>
                        <a:pt x="53246" y="840867"/>
                      </a:cubicBezTo>
                      <a:close/>
                      <a:moveTo>
                        <a:pt x="560643" y="1192149"/>
                      </a:moveTo>
                      <a:cubicBezTo>
                        <a:pt x="557404" y="1189768"/>
                        <a:pt x="555404" y="1185863"/>
                        <a:pt x="555690" y="1181576"/>
                      </a:cubicBezTo>
                      <a:cubicBezTo>
                        <a:pt x="556071" y="1174814"/>
                        <a:pt x="561881" y="1169670"/>
                        <a:pt x="568644" y="1170051"/>
                      </a:cubicBezTo>
                      <a:cubicBezTo>
                        <a:pt x="575407" y="1170432"/>
                        <a:pt x="581217" y="1176242"/>
                        <a:pt x="580836" y="1183005"/>
                      </a:cubicBezTo>
                      <a:cubicBezTo>
                        <a:pt x="580455" y="1189768"/>
                        <a:pt x="575407" y="1195006"/>
                        <a:pt x="568644" y="1194721"/>
                      </a:cubicBezTo>
                      <a:cubicBezTo>
                        <a:pt x="568549" y="1194721"/>
                        <a:pt x="567310" y="1194626"/>
                        <a:pt x="567215" y="1194626"/>
                      </a:cubicBezTo>
                      <a:cubicBezTo>
                        <a:pt x="564739" y="1194435"/>
                        <a:pt x="562453" y="1193483"/>
                        <a:pt x="560643" y="1192149"/>
                      </a:cubicBezTo>
                      <a:close/>
                      <a:moveTo>
                        <a:pt x="39054" y="805148"/>
                      </a:moveTo>
                      <a:cubicBezTo>
                        <a:pt x="37339" y="803815"/>
                        <a:pt x="35910" y="802100"/>
                        <a:pt x="35053" y="799814"/>
                      </a:cubicBezTo>
                      <a:lnTo>
                        <a:pt x="34482" y="798290"/>
                      </a:lnTo>
                      <a:cubicBezTo>
                        <a:pt x="32291" y="791909"/>
                        <a:pt x="35815" y="784860"/>
                        <a:pt x="42197" y="782765"/>
                      </a:cubicBezTo>
                      <a:cubicBezTo>
                        <a:pt x="48674" y="780574"/>
                        <a:pt x="55627" y="784098"/>
                        <a:pt x="57818" y="790480"/>
                      </a:cubicBezTo>
                      <a:cubicBezTo>
                        <a:pt x="60199" y="796862"/>
                        <a:pt x="57056" y="804291"/>
                        <a:pt x="50674" y="806672"/>
                      </a:cubicBezTo>
                      <a:cubicBezTo>
                        <a:pt x="46578" y="808196"/>
                        <a:pt x="42292" y="807530"/>
                        <a:pt x="39054" y="805148"/>
                      </a:cubicBezTo>
                      <a:close/>
                      <a:moveTo>
                        <a:pt x="598838" y="1192816"/>
                      </a:moveTo>
                      <a:cubicBezTo>
                        <a:pt x="595885" y="1190625"/>
                        <a:pt x="593885" y="1187101"/>
                        <a:pt x="593885" y="1183005"/>
                      </a:cubicBezTo>
                      <a:cubicBezTo>
                        <a:pt x="593790" y="1176242"/>
                        <a:pt x="599219" y="1170623"/>
                        <a:pt x="605982" y="1170623"/>
                      </a:cubicBezTo>
                      <a:cubicBezTo>
                        <a:pt x="612745" y="1170527"/>
                        <a:pt x="618936" y="1175861"/>
                        <a:pt x="619031" y="1182719"/>
                      </a:cubicBezTo>
                      <a:cubicBezTo>
                        <a:pt x="619221" y="1189482"/>
                        <a:pt x="614459" y="1195006"/>
                        <a:pt x="607696" y="1195197"/>
                      </a:cubicBezTo>
                      <a:cubicBezTo>
                        <a:pt x="607696" y="1195197"/>
                        <a:pt x="606363" y="1195197"/>
                        <a:pt x="606363" y="1195197"/>
                      </a:cubicBezTo>
                      <a:cubicBezTo>
                        <a:pt x="603505" y="1195292"/>
                        <a:pt x="600933" y="1194340"/>
                        <a:pt x="598838" y="1192816"/>
                      </a:cubicBezTo>
                      <a:close/>
                      <a:moveTo>
                        <a:pt x="27528" y="768953"/>
                      </a:moveTo>
                      <a:cubicBezTo>
                        <a:pt x="25433" y="767429"/>
                        <a:pt x="23814" y="765143"/>
                        <a:pt x="22956" y="762381"/>
                      </a:cubicBezTo>
                      <a:lnTo>
                        <a:pt x="22766" y="761524"/>
                      </a:lnTo>
                      <a:cubicBezTo>
                        <a:pt x="20766" y="755047"/>
                        <a:pt x="24385" y="748189"/>
                        <a:pt x="30862" y="746189"/>
                      </a:cubicBezTo>
                      <a:cubicBezTo>
                        <a:pt x="37339" y="744188"/>
                        <a:pt x="44197" y="747808"/>
                        <a:pt x="46293" y="754285"/>
                      </a:cubicBezTo>
                      <a:lnTo>
                        <a:pt x="46769" y="755809"/>
                      </a:lnTo>
                      <a:cubicBezTo>
                        <a:pt x="48579" y="762381"/>
                        <a:pt x="44769" y="769144"/>
                        <a:pt x="38196" y="770954"/>
                      </a:cubicBezTo>
                      <a:cubicBezTo>
                        <a:pt x="34386" y="772001"/>
                        <a:pt x="30481" y="771144"/>
                        <a:pt x="27528" y="768953"/>
                      </a:cubicBezTo>
                      <a:close/>
                      <a:moveTo>
                        <a:pt x="637129" y="1190911"/>
                      </a:moveTo>
                      <a:cubicBezTo>
                        <a:pt x="634462" y="1188911"/>
                        <a:pt x="632556" y="1185767"/>
                        <a:pt x="632175" y="1182243"/>
                      </a:cubicBezTo>
                      <a:cubicBezTo>
                        <a:pt x="631509" y="1175480"/>
                        <a:pt x="636557" y="1169480"/>
                        <a:pt x="643225" y="1168813"/>
                      </a:cubicBezTo>
                      <a:cubicBezTo>
                        <a:pt x="643320" y="1168813"/>
                        <a:pt x="644653" y="1168718"/>
                        <a:pt x="644653" y="1168718"/>
                      </a:cubicBezTo>
                      <a:cubicBezTo>
                        <a:pt x="651416" y="1168146"/>
                        <a:pt x="657321" y="1173194"/>
                        <a:pt x="657893" y="1180052"/>
                      </a:cubicBezTo>
                      <a:cubicBezTo>
                        <a:pt x="658369" y="1186815"/>
                        <a:pt x="653321" y="1192721"/>
                        <a:pt x="646558" y="1193197"/>
                      </a:cubicBezTo>
                      <a:lnTo>
                        <a:pt x="645606" y="1180910"/>
                      </a:lnTo>
                      <a:lnTo>
                        <a:pt x="645606" y="1193292"/>
                      </a:lnTo>
                      <a:cubicBezTo>
                        <a:pt x="642463" y="1193673"/>
                        <a:pt x="639415" y="1192721"/>
                        <a:pt x="637129" y="1190911"/>
                      </a:cubicBezTo>
                      <a:close/>
                      <a:moveTo>
                        <a:pt x="18003" y="731520"/>
                      </a:moveTo>
                      <a:cubicBezTo>
                        <a:pt x="15813" y="729901"/>
                        <a:pt x="14193" y="727520"/>
                        <a:pt x="13622" y="724662"/>
                      </a:cubicBezTo>
                      <a:lnTo>
                        <a:pt x="13336" y="723138"/>
                      </a:lnTo>
                      <a:cubicBezTo>
                        <a:pt x="12098" y="716471"/>
                        <a:pt x="16384" y="709994"/>
                        <a:pt x="23052" y="708755"/>
                      </a:cubicBezTo>
                      <a:cubicBezTo>
                        <a:pt x="29719" y="707517"/>
                        <a:pt x="36196" y="711899"/>
                        <a:pt x="37434" y="718566"/>
                      </a:cubicBezTo>
                      <a:cubicBezTo>
                        <a:pt x="38958" y="725138"/>
                        <a:pt x="34863" y="732187"/>
                        <a:pt x="28195" y="733616"/>
                      </a:cubicBezTo>
                      <a:cubicBezTo>
                        <a:pt x="24385" y="734378"/>
                        <a:pt x="20766" y="733520"/>
                        <a:pt x="18003" y="731520"/>
                      </a:cubicBezTo>
                      <a:close/>
                      <a:moveTo>
                        <a:pt x="675133" y="1186625"/>
                      </a:moveTo>
                      <a:cubicBezTo>
                        <a:pt x="672562" y="1184720"/>
                        <a:pt x="670752" y="1181862"/>
                        <a:pt x="670275" y="1178433"/>
                      </a:cubicBezTo>
                      <a:cubicBezTo>
                        <a:pt x="669323" y="1171670"/>
                        <a:pt x="673990" y="1165479"/>
                        <a:pt x="680753" y="1164527"/>
                      </a:cubicBezTo>
                      <a:cubicBezTo>
                        <a:pt x="687421" y="1163479"/>
                        <a:pt x="694279" y="1168051"/>
                        <a:pt x="695326" y="1174814"/>
                      </a:cubicBezTo>
                      <a:cubicBezTo>
                        <a:pt x="696279" y="1181576"/>
                        <a:pt x="692183" y="1187672"/>
                        <a:pt x="685516" y="1188720"/>
                      </a:cubicBezTo>
                      <a:lnTo>
                        <a:pt x="684182" y="1188911"/>
                      </a:lnTo>
                      <a:cubicBezTo>
                        <a:pt x="680753" y="1189387"/>
                        <a:pt x="677610" y="1188530"/>
                        <a:pt x="675133" y="1186625"/>
                      </a:cubicBezTo>
                      <a:close/>
                      <a:moveTo>
                        <a:pt x="11336" y="694182"/>
                      </a:moveTo>
                      <a:cubicBezTo>
                        <a:pt x="8764" y="692277"/>
                        <a:pt x="7050" y="689420"/>
                        <a:pt x="6478" y="686086"/>
                      </a:cubicBezTo>
                      <a:lnTo>
                        <a:pt x="6288" y="684943"/>
                      </a:lnTo>
                      <a:cubicBezTo>
                        <a:pt x="5240" y="678275"/>
                        <a:pt x="9812" y="671894"/>
                        <a:pt x="16479" y="670846"/>
                      </a:cubicBezTo>
                      <a:cubicBezTo>
                        <a:pt x="23242" y="669798"/>
                        <a:pt x="29433" y="674370"/>
                        <a:pt x="30576" y="681133"/>
                      </a:cubicBezTo>
                      <a:lnTo>
                        <a:pt x="30767" y="682466"/>
                      </a:lnTo>
                      <a:cubicBezTo>
                        <a:pt x="31719" y="689229"/>
                        <a:pt x="27147" y="695420"/>
                        <a:pt x="20385" y="696468"/>
                      </a:cubicBezTo>
                      <a:cubicBezTo>
                        <a:pt x="17146" y="696944"/>
                        <a:pt x="13812" y="696087"/>
                        <a:pt x="11336" y="694182"/>
                      </a:cubicBezTo>
                      <a:close/>
                      <a:moveTo>
                        <a:pt x="712852" y="1179862"/>
                      </a:moveTo>
                      <a:cubicBezTo>
                        <a:pt x="710566" y="1178147"/>
                        <a:pt x="708852" y="1175671"/>
                        <a:pt x="708185" y="1172718"/>
                      </a:cubicBezTo>
                      <a:cubicBezTo>
                        <a:pt x="706756" y="1166051"/>
                        <a:pt x="710852" y="1159478"/>
                        <a:pt x="717520" y="1157954"/>
                      </a:cubicBezTo>
                      <a:lnTo>
                        <a:pt x="718853" y="1157669"/>
                      </a:lnTo>
                      <a:cubicBezTo>
                        <a:pt x="725521" y="1156240"/>
                        <a:pt x="731998" y="1160526"/>
                        <a:pt x="733426" y="1167194"/>
                      </a:cubicBezTo>
                      <a:cubicBezTo>
                        <a:pt x="734855" y="1173861"/>
                        <a:pt x="730569" y="1180338"/>
                        <a:pt x="723901" y="1181767"/>
                      </a:cubicBezTo>
                      <a:lnTo>
                        <a:pt x="722854" y="1181957"/>
                      </a:lnTo>
                      <a:cubicBezTo>
                        <a:pt x="719234" y="1182815"/>
                        <a:pt x="715615" y="1181957"/>
                        <a:pt x="712852" y="1179862"/>
                      </a:cubicBezTo>
                      <a:close/>
                      <a:moveTo>
                        <a:pt x="6669" y="655701"/>
                      </a:moveTo>
                      <a:cubicBezTo>
                        <a:pt x="4097" y="653796"/>
                        <a:pt x="2382" y="650939"/>
                        <a:pt x="2001" y="647414"/>
                      </a:cubicBezTo>
                      <a:lnTo>
                        <a:pt x="1906" y="645795"/>
                      </a:lnTo>
                      <a:cubicBezTo>
                        <a:pt x="1430" y="639032"/>
                        <a:pt x="6573" y="633127"/>
                        <a:pt x="13431" y="632746"/>
                      </a:cubicBezTo>
                      <a:cubicBezTo>
                        <a:pt x="20194" y="632270"/>
                        <a:pt x="26100" y="637413"/>
                        <a:pt x="26481" y="644176"/>
                      </a:cubicBezTo>
                      <a:cubicBezTo>
                        <a:pt x="27147" y="650939"/>
                        <a:pt x="22194" y="657320"/>
                        <a:pt x="15432" y="657987"/>
                      </a:cubicBezTo>
                      <a:cubicBezTo>
                        <a:pt x="12098" y="658368"/>
                        <a:pt x="9050" y="657511"/>
                        <a:pt x="6669" y="655701"/>
                      </a:cubicBezTo>
                      <a:close/>
                      <a:moveTo>
                        <a:pt x="750000" y="1170623"/>
                      </a:moveTo>
                      <a:cubicBezTo>
                        <a:pt x="747904" y="1169099"/>
                        <a:pt x="746285" y="1166813"/>
                        <a:pt x="745523" y="1164146"/>
                      </a:cubicBezTo>
                      <a:cubicBezTo>
                        <a:pt x="743618" y="1157669"/>
                        <a:pt x="747428" y="1150811"/>
                        <a:pt x="753905" y="1148906"/>
                      </a:cubicBezTo>
                      <a:lnTo>
                        <a:pt x="755239" y="1148525"/>
                      </a:lnTo>
                      <a:cubicBezTo>
                        <a:pt x="761811" y="1146715"/>
                        <a:pt x="768573" y="1150525"/>
                        <a:pt x="770383" y="1157002"/>
                      </a:cubicBezTo>
                      <a:cubicBezTo>
                        <a:pt x="772193" y="1163479"/>
                        <a:pt x="768383" y="1170337"/>
                        <a:pt x="761811" y="1172147"/>
                      </a:cubicBezTo>
                      <a:lnTo>
                        <a:pt x="760763" y="1172432"/>
                      </a:lnTo>
                      <a:cubicBezTo>
                        <a:pt x="756858" y="1173671"/>
                        <a:pt x="752952" y="1172813"/>
                        <a:pt x="750000" y="1170623"/>
                      </a:cubicBezTo>
                      <a:close/>
                      <a:moveTo>
                        <a:pt x="4573" y="617315"/>
                      </a:moveTo>
                      <a:cubicBezTo>
                        <a:pt x="1811" y="615315"/>
                        <a:pt x="96" y="612076"/>
                        <a:pt x="1" y="608267"/>
                      </a:cubicBezTo>
                      <a:lnTo>
                        <a:pt x="1" y="606933"/>
                      </a:lnTo>
                      <a:cubicBezTo>
                        <a:pt x="-94" y="600170"/>
                        <a:pt x="5335" y="594551"/>
                        <a:pt x="12098" y="594455"/>
                      </a:cubicBezTo>
                      <a:cubicBezTo>
                        <a:pt x="18861" y="594360"/>
                        <a:pt x="24480" y="599789"/>
                        <a:pt x="24576" y="606552"/>
                      </a:cubicBezTo>
                      <a:cubicBezTo>
                        <a:pt x="24766" y="613315"/>
                        <a:pt x="19337" y="619506"/>
                        <a:pt x="12574" y="619697"/>
                      </a:cubicBezTo>
                      <a:cubicBezTo>
                        <a:pt x="9526" y="619792"/>
                        <a:pt x="6764" y="618935"/>
                        <a:pt x="4573" y="617315"/>
                      </a:cubicBezTo>
                      <a:close/>
                      <a:moveTo>
                        <a:pt x="786481" y="1159002"/>
                      </a:moveTo>
                      <a:cubicBezTo>
                        <a:pt x="784575" y="1157573"/>
                        <a:pt x="783147" y="1155668"/>
                        <a:pt x="782194" y="1153287"/>
                      </a:cubicBezTo>
                      <a:cubicBezTo>
                        <a:pt x="779908" y="1146905"/>
                        <a:pt x="783242" y="1139857"/>
                        <a:pt x="789624" y="1137571"/>
                      </a:cubicBezTo>
                      <a:lnTo>
                        <a:pt x="790767" y="1137190"/>
                      </a:lnTo>
                      <a:cubicBezTo>
                        <a:pt x="797148" y="1134904"/>
                        <a:pt x="804197" y="1138238"/>
                        <a:pt x="806483" y="1144619"/>
                      </a:cubicBezTo>
                      <a:cubicBezTo>
                        <a:pt x="808769" y="1151001"/>
                        <a:pt x="805435" y="1158050"/>
                        <a:pt x="799054" y="1160336"/>
                      </a:cubicBezTo>
                      <a:lnTo>
                        <a:pt x="797911" y="1160717"/>
                      </a:lnTo>
                      <a:cubicBezTo>
                        <a:pt x="793910" y="1162145"/>
                        <a:pt x="789624" y="1161383"/>
                        <a:pt x="786481" y="1159002"/>
                      </a:cubicBezTo>
                      <a:close/>
                      <a:moveTo>
                        <a:pt x="5526" y="579596"/>
                      </a:moveTo>
                      <a:cubicBezTo>
                        <a:pt x="2382" y="577215"/>
                        <a:pt x="287" y="573405"/>
                        <a:pt x="573" y="569119"/>
                      </a:cubicBezTo>
                      <a:lnTo>
                        <a:pt x="573" y="567881"/>
                      </a:lnTo>
                      <a:cubicBezTo>
                        <a:pt x="954" y="561118"/>
                        <a:pt x="6669" y="555879"/>
                        <a:pt x="13527" y="556165"/>
                      </a:cubicBezTo>
                      <a:cubicBezTo>
                        <a:pt x="20289" y="556546"/>
                        <a:pt x="25528" y="562261"/>
                        <a:pt x="25242" y="569024"/>
                      </a:cubicBezTo>
                      <a:lnTo>
                        <a:pt x="25147" y="570262"/>
                      </a:lnTo>
                      <a:cubicBezTo>
                        <a:pt x="24766" y="577120"/>
                        <a:pt x="19051" y="582263"/>
                        <a:pt x="12288" y="581978"/>
                      </a:cubicBezTo>
                      <a:cubicBezTo>
                        <a:pt x="9717" y="581882"/>
                        <a:pt x="7335" y="581025"/>
                        <a:pt x="5526" y="579596"/>
                      </a:cubicBezTo>
                      <a:close/>
                      <a:moveTo>
                        <a:pt x="822104" y="1145000"/>
                      </a:moveTo>
                      <a:cubicBezTo>
                        <a:pt x="820390" y="1143762"/>
                        <a:pt x="818961" y="1141952"/>
                        <a:pt x="818104" y="1139857"/>
                      </a:cubicBezTo>
                      <a:cubicBezTo>
                        <a:pt x="815532" y="1133570"/>
                        <a:pt x="818485" y="1126427"/>
                        <a:pt x="824771" y="1123760"/>
                      </a:cubicBezTo>
                      <a:cubicBezTo>
                        <a:pt x="831058" y="1121093"/>
                        <a:pt x="838773" y="1123664"/>
                        <a:pt x="841440" y="1129951"/>
                      </a:cubicBezTo>
                      <a:cubicBezTo>
                        <a:pt x="844107" y="1136142"/>
                        <a:pt x="841725" y="1143191"/>
                        <a:pt x="835534" y="1145953"/>
                      </a:cubicBezTo>
                      <a:lnTo>
                        <a:pt x="834201" y="1146524"/>
                      </a:lnTo>
                      <a:cubicBezTo>
                        <a:pt x="830010" y="1148239"/>
                        <a:pt x="825533" y="1147477"/>
                        <a:pt x="822104" y="1145000"/>
                      </a:cubicBezTo>
                      <a:close/>
                      <a:moveTo>
                        <a:pt x="8193" y="540830"/>
                      </a:moveTo>
                      <a:cubicBezTo>
                        <a:pt x="4954" y="538448"/>
                        <a:pt x="3049" y="534543"/>
                        <a:pt x="3621" y="530162"/>
                      </a:cubicBezTo>
                      <a:lnTo>
                        <a:pt x="3716" y="528828"/>
                      </a:lnTo>
                      <a:cubicBezTo>
                        <a:pt x="4573" y="522065"/>
                        <a:pt x="10669" y="517303"/>
                        <a:pt x="17432" y="518160"/>
                      </a:cubicBezTo>
                      <a:cubicBezTo>
                        <a:pt x="24195" y="519017"/>
                        <a:pt x="28957" y="525113"/>
                        <a:pt x="28100" y="531876"/>
                      </a:cubicBezTo>
                      <a:cubicBezTo>
                        <a:pt x="27338" y="538639"/>
                        <a:pt x="21147" y="544068"/>
                        <a:pt x="14384" y="543306"/>
                      </a:cubicBezTo>
                      <a:cubicBezTo>
                        <a:pt x="12098" y="543020"/>
                        <a:pt x="10002" y="542163"/>
                        <a:pt x="8193" y="540830"/>
                      </a:cubicBezTo>
                      <a:close/>
                      <a:moveTo>
                        <a:pt x="856870" y="1128713"/>
                      </a:moveTo>
                      <a:cubicBezTo>
                        <a:pt x="855346" y="1127570"/>
                        <a:pt x="854013" y="1126046"/>
                        <a:pt x="853156" y="1124236"/>
                      </a:cubicBezTo>
                      <a:cubicBezTo>
                        <a:pt x="850203" y="1118140"/>
                        <a:pt x="852775" y="1110710"/>
                        <a:pt x="858871" y="1107853"/>
                      </a:cubicBezTo>
                      <a:cubicBezTo>
                        <a:pt x="864871" y="1104710"/>
                        <a:pt x="872682" y="1106805"/>
                        <a:pt x="875825" y="1112806"/>
                      </a:cubicBezTo>
                      <a:cubicBezTo>
                        <a:pt x="878968" y="1118807"/>
                        <a:pt x="877063" y="1126046"/>
                        <a:pt x="870967" y="1129189"/>
                      </a:cubicBezTo>
                      <a:lnTo>
                        <a:pt x="869539" y="1129951"/>
                      </a:lnTo>
                      <a:cubicBezTo>
                        <a:pt x="865252" y="1132046"/>
                        <a:pt x="860395" y="1131380"/>
                        <a:pt x="856870" y="1128713"/>
                      </a:cubicBezTo>
                      <a:close/>
                      <a:moveTo>
                        <a:pt x="13812" y="503015"/>
                      </a:moveTo>
                      <a:cubicBezTo>
                        <a:pt x="10383" y="500444"/>
                        <a:pt x="8478" y="496157"/>
                        <a:pt x="9336" y="491585"/>
                      </a:cubicBezTo>
                      <a:lnTo>
                        <a:pt x="9526" y="490347"/>
                      </a:lnTo>
                      <a:cubicBezTo>
                        <a:pt x="10764" y="483680"/>
                        <a:pt x="17241" y="479298"/>
                        <a:pt x="23909" y="480536"/>
                      </a:cubicBezTo>
                      <a:cubicBezTo>
                        <a:pt x="30576" y="481870"/>
                        <a:pt x="34958" y="488252"/>
                        <a:pt x="33720" y="494919"/>
                      </a:cubicBezTo>
                      <a:cubicBezTo>
                        <a:pt x="32481" y="501587"/>
                        <a:pt x="25909" y="506635"/>
                        <a:pt x="19337" y="505397"/>
                      </a:cubicBezTo>
                      <a:cubicBezTo>
                        <a:pt x="17146" y="504920"/>
                        <a:pt x="15336" y="504158"/>
                        <a:pt x="13812" y="503015"/>
                      </a:cubicBezTo>
                      <a:close/>
                      <a:moveTo>
                        <a:pt x="890398" y="1110234"/>
                      </a:moveTo>
                      <a:cubicBezTo>
                        <a:pt x="889065" y="1109282"/>
                        <a:pt x="887922" y="1107948"/>
                        <a:pt x="887065" y="1106329"/>
                      </a:cubicBezTo>
                      <a:cubicBezTo>
                        <a:pt x="883731" y="1100423"/>
                        <a:pt x="885826" y="1092899"/>
                        <a:pt x="891732" y="1089565"/>
                      </a:cubicBezTo>
                      <a:cubicBezTo>
                        <a:pt x="897542" y="1086041"/>
                        <a:pt x="905448" y="1087660"/>
                        <a:pt x="908972" y="1093470"/>
                      </a:cubicBezTo>
                      <a:cubicBezTo>
                        <a:pt x="912496" y="1099280"/>
                        <a:pt x="910972" y="1106615"/>
                        <a:pt x="905257" y="1110139"/>
                      </a:cubicBezTo>
                      <a:lnTo>
                        <a:pt x="903829" y="1110996"/>
                      </a:lnTo>
                      <a:cubicBezTo>
                        <a:pt x="899447" y="1113473"/>
                        <a:pt x="894113" y="1112996"/>
                        <a:pt x="890398" y="1110234"/>
                      </a:cubicBezTo>
                      <a:close/>
                      <a:moveTo>
                        <a:pt x="21813" y="465487"/>
                      </a:moveTo>
                      <a:cubicBezTo>
                        <a:pt x="18099" y="462725"/>
                        <a:pt x="16194" y="458153"/>
                        <a:pt x="17432" y="453390"/>
                      </a:cubicBezTo>
                      <a:lnTo>
                        <a:pt x="17718" y="452152"/>
                      </a:lnTo>
                      <a:cubicBezTo>
                        <a:pt x="19337" y="445580"/>
                        <a:pt x="26100" y="441579"/>
                        <a:pt x="32672" y="443198"/>
                      </a:cubicBezTo>
                      <a:cubicBezTo>
                        <a:pt x="39244" y="444913"/>
                        <a:pt x="43245" y="451580"/>
                        <a:pt x="41625" y="458153"/>
                      </a:cubicBezTo>
                      <a:cubicBezTo>
                        <a:pt x="39911" y="464725"/>
                        <a:pt x="33053" y="469297"/>
                        <a:pt x="26481" y="467678"/>
                      </a:cubicBezTo>
                      <a:cubicBezTo>
                        <a:pt x="24766" y="467297"/>
                        <a:pt x="23147" y="466535"/>
                        <a:pt x="21813" y="465487"/>
                      </a:cubicBezTo>
                      <a:close/>
                      <a:moveTo>
                        <a:pt x="922688" y="1089470"/>
                      </a:moveTo>
                      <a:cubicBezTo>
                        <a:pt x="921640" y="1088708"/>
                        <a:pt x="920688" y="1087755"/>
                        <a:pt x="919926" y="1086612"/>
                      </a:cubicBezTo>
                      <a:cubicBezTo>
                        <a:pt x="916021" y="1081088"/>
                        <a:pt x="917354" y="1073372"/>
                        <a:pt x="922974" y="1069467"/>
                      </a:cubicBezTo>
                      <a:lnTo>
                        <a:pt x="924021" y="1068705"/>
                      </a:lnTo>
                      <a:cubicBezTo>
                        <a:pt x="929641" y="1064800"/>
                        <a:pt x="937261" y="1066229"/>
                        <a:pt x="941167" y="1071848"/>
                      </a:cubicBezTo>
                      <a:cubicBezTo>
                        <a:pt x="945072" y="1077373"/>
                        <a:pt x="943643" y="1085088"/>
                        <a:pt x="938023" y="1088993"/>
                      </a:cubicBezTo>
                      <a:lnTo>
                        <a:pt x="937071" y="1089660"/>
                      </a:lnTo>
                      <a:cubicBezTo>
                        <a:pt x="932594" y="1092803"/>
                        <a:pt x="926784" y="1092518"/>
                        <a:pt x="922688" y="1089470"/>
                      </a:cubicBezTo>
                      <a:close/>
                      <a:moveTo>
                        <a:pt x="32481" y="429387"/>
                      </a:moveTo>
                      <a:cubicBezTo>
                        <a:pt x="28386" y="426339"/>
                        <a:pt x="26481" y="420910"/>
                        <a:pt x="28100" y="415766"/>
                      </a:cubicBezTo>
                      <a:lnTo>
                        <a:pt x="28481" y="414623"/>
                      </a:lnTo>
                      <a:cubicBezTo>
                        <a:pt x="30576" y="408146"/>
                        <a:pt x="37530" y="404622"/>
                        <a:pt x="44007" y="406718"/>
                      </a:cubicBezTo>
                      <a:cubicBezTo>
                        <a:pt x="50388" y="408813"/>
                        <a:pt x="53913" y="415671"/>
                        <a:pt x="51912" y="422148"/>
                      </a:cubicBezTo>
                      <a:lnTo>
                        <a:pt x="51531" y="423291"/>
                      </a:lnTo>
                      <a:cubicBezTo>
                        <a:pt x="49436" y="429768"/>
                        <a:pt x="42483" y="433292"/>
                        <a:pt x="36006" y="431292"/>
                      </a:cubicBezTo>
                      <a:cubicBezTo>
                        <a:pt x="34672" y="430816"/>
                        <a:pt x="33529" y="430244"/>
                        <a:pt x="32481" y="429387"/>
                      </a:cubicBezTo>
                      <a:close/>
                      <a:moveTo>
                        <a:pt x="953454" y="1066705"/>
                      </a:moveTo>
                      <a:cubicBezTo>
                        <a:pt x="952596" y="1066133"/>
                        <a:pt x="951835" y="1065371"/>
                        <a:pt x="951168" y="1064419"/>
                      </a:cubicBezTo>
                      <a:cubicBezTo>
                        <a:pt x="946977" y="1059085"/>
                        <a:pt x="947834" y="1051370"/>
                        <a:pt x="953168" y="1047179"/>
                      </a:cubicBezTo>
                      <a:lnTo>
                        <a:pt x="954216" y="1046417"/>
                      </a:lnTo>
                      <a:cubicBezTo>
                        <a:pt x="959550" y="1042226"/>
                        <a:pt x="967265" y="1043178"/>
                        <a:pt x="971551" y="1048417"/>
                      </a:cubicBezTo>
                      <a:cubicBezTo>
                        <a:pt x="975742" y="1053751"/>
                        <a:pt x="974790" y="1061466"/>
                        <a:pt x="969456" y="1065657"/>
                      </a:cubicBezTo>
                      <a:lnTo>
                        <a:pt x="968503" y="1066419"/>
                      </a:lnTo>
                      <a:cubicBezTo>
                        <a:pt x="963931" y="1070039"/>
                        <a:pt x="957740" y="1069943"/>
                        <a:pt x="953454" y="1066705"/>
                      </a:cubicBezTo>
                      <a:close/>
                      <a:moveTo>
                        <a:pt x="45245" y="392621"/>
                      </a:moveTo>
                      <a:cubicBezTo>
                        <a:pt x="41054" y="389477"/>
                        <a:pt x="39149" y="384143"/>
                        <a:pt x="41149" y="379000"/>
                      </a:cubicBezTo>
                      <a:lnTo>
                        <a:pt x="41625" y="377762"/>
                      </a:lnTo>
                      <a:cubicBezTo>
                        <a:pt x="44102" y="371475"/>
                        <a:pt x="51246" y="368332"/>
                        <a:pt x="57627" y="370808"/>
                      </a:cubicBezTo>
                      <a:cubicBezTo>
                        <a:pt x="64009" y="373285"/>
                        <a:pt x="67057" y="380429"/>
                        <a:pt x="64581" y="386715"/>
                      </a:cubicBezTo>
                      <a:cubicBezTo>
                        <a:pt x="62104" y="393002"/>
                        <a:pt x="54770" y="396716"/>
                        <a:pt x="48483" y="394240"/>
                      </a:cubicBezTo>
                      <a:cubicBezTo>
                        <a:pt x="47150" y="393954"/>
                        <a:pt x="46197" y="393383"/>
                        <a:pt x="45245" y="392621"/>
                      </a:cubicBezTo>
                      <a:close/>
                      <a:moveTo>
                        <a:pt x="982696" y="1041940"/>
                      </a:moveTo>
                      <a:cubicBezTo>
                        <a:pt x="982124" y="1041559"/>
                        <a:pt x="981648" y="1041083"/>
                        <a:pt x="981076" y="1040511"/>
                      </a:cubicBezTo>
                      <a:cubicBezTo>
                        <a:pt x="976409" y="1035653"/>
                        <a:pt x="976600" y="1027843"/>
                        <a:pt x="981552" y="1023176"/>
                      </a:cubicBezTo>
                      <a:lnTo>
                        <a:pt x="982791" y="1022033"/>
                      </a:lnTo>
                      <a:cubicBezTo>
                        <a:pt x="987839" y="1017556"/>
                        <a:pt x="995554" y="1017937"/>
                        <a:pt x="1000126" y="1023080"/>
                      </a:cubicBezTo>
                      <a:cubicBezTo>
                        <a:pt x="1004698" y="1028129"/>
                        <a:pt x="1004222" y="1035939"/>
                        <a:pt x="999079" y="1040416"/>
                      </a:cubicBezTo>
                      <a:lnTo>
                        <a:pt x="998507" y="1040987"/>
                      </a:lnTo>
                      <a:cubicBezTo>
                        <a:pt x="994030" y="1045178"/>
                        <a:pt x="987363" y="1045464"/>
                        <a:pt x="982696" y="1041940"/>
                      </a:cubicBezTo>
                      <a:close/>
                      <a:moveTo>
                        <a:pt x="60485" y="357759"/>
                      </a:moveTo>
                      <a:cubicBezTo>
                        <a:pt x="56008" y="354425"/>
                        <a:pt x="54198" y="348520"/>
                        <a:pt x="56675" y="343186"/>
                      </a:cubicBezTo>
                      <a:lnTo>
                        <a:pt x="57342" y="341662"/>
                      </a:lnTo>
                      <a:cubicBezTo>
                        <a:pt x="60390" y="335566"/>
                        <a:pt x="67819" y="333089"/>
                        <a:pt x="73820" y="336137"/>
                      </a:cubicBezTo>
                      <a:cubicBezTo>
                        <a:pt x="79916" y="339185"/>
                        <a:pt x="82392" y="346520"/>
                        <a:pt x="79344" y="352616"/>
                      </a:cubicBezTo>
                      <a:cubicBezTo>
                        <a:pt x="76487" y="358807"/>
                        <a:pt x="69057" y="361855"/>
                        <a:pt x="62866" y="358997"/>
                      </a:cubicBezTo>
                      <a:cubicBezTo>
                        <a:pt x="62009" y="358712"/>
                        <a:pt x="61247" y="358331"/>
                        <a:pt x="60485" y="357759"/>
                      </a:cubicBezTo>
                      <a:close/>
                      <a:moveTo>
                        <a:pt x="1010223" y="1015365"/>
                      </a:moveTo>
                      <a:cubicBezTo>
                        <a:pt x="1009746" y="1014984"/>
                        <a:pt x="1009270" y="1014603"/>
                        <a:pt x="1008889" y="1014222"/>
                      </a:cubicBezTo>
                      <a:cubicBezTo>
                        <a:pt x="1004031" y="1009364"/>
                        <a:pt x="1004031" y="1001649"/>
                        <a:pt x="1008794" y="996791"/>
                      </a:cubicBezTo>
                      <a:cubicBezTo>
                        <a:pt x="1013461" y="991838"/>
                        <a:pt x="1021367" y="991267"/>
                        <a:pt x="1026511" y="995934"/>
                      </a:cubicBezTo>
                      <a:cubicBezTo>
                        <a:pt x="1031464" y="1000601"/>
                        <a:pt x="1031940" y="1008031"/>
                        <a:pt x="1027368" y="1012984"/>
                      </a:cubicBezTo>
                      <a:lnTo>
                        <a:pt x="1026225" y="1014127"/>
                      </a:lnTo>
                      <a:cubicBezTo>
                        <a:pt x="1021843" y="1018508"/>
                        <a:pt x="1014985" y="1018985"/>
                        <a:pt x="1010223" y="1015365"/>
                      </a:cubicBezTo>
                      <a:close/>
                      <a:moveTo>
                        <a:pt x="78011" y="323660"/>
                      </a:moveTo>
                      <a:cubicBezTo>
                        <a:pt x="73248" y="320135"/>
                        <a:pt x="71534" y="313849"/>
                        <a:pt x="74391" y="308420"/>
                      </a:cubicBezTo>
                      <a:lnTo>
                        <a:pt x="75153" y="307086"/>
                      </a:lnTo>
                      <a:cubicBezTo>
                        <a:pt x="78487" y="301181"/>
                        <a:pt x="86012" y="299180"/>
                        <a:pt x="91917" y="302514"/>
                      </a:cubicBezTo>
                      <a:cubicBezTo>
                        <a:pt x="97823" y="305943"/>
                        <a:pt x="99823" y="313468"/>
                        <a:pt x="96489" y="319373"/>
                      </a:cubicBezTo>
                      <a:cubicBezTo>
                        <a:pt x="93251" y="325374"/>
                        <a:pt x="85631" y="327946"/>
                        <a:pt x="79630" y="324803"/>
                      </a:cubicBezTo>
                      <a:cubicBezTo>
                        <a:pt x="79059" y="324422"/>
                        <a:pt x="78487" y="324041"/>
                        <a:pt x="78011" y="323660"/>
                      </a:cubicBezTo>
                      <a:close/>
                      <a:moveTo>
                        <a:pt x="97537" y="291275"/>
                      </a:moveTo>
                      <a:cubicBezTo>
                        <a:pt x="92394" y="287465"/>
                        <a:pt x="90965" y="280130"/>
                        <a:pt x="94584" y="274701"/>
                      </a:cubicBezTo>
                      <a:lnTo>
                        <a:pt x="95061" y="273939"/>
                      </a:lnTo>
                      <a:cubicBezTo>
                        <a:pt x="98585" y="268129"/>
                        <a:pt x="106205" y="266319"/>
                        <a:pt x="112015" y="269939"/>
                      </a:cubicBezTo>
                      <a:cubicBezTo>
                        <a:pt x="117730" y="273368"/>
                        <a:pt x="119635" y="281083"/>
                        <a:pt x="116016" y="286798"/>
                      </a:cubicBezTo>
                      <a:lnTo>
                        <a:pt x="115158" y="288131"/>
                      </a:lnTo>
                      <a:cubicBezTo>
                        <a:pt x="111444" y="293846"/>
                        <a:pt x="103824" y="295370"/>
                        <a:pt x="98109" y="291656"/>
                      </a:cubicBezTo>
                      <a:cubicBezTo>
                        <a:pt x="98013" y="291560"/>
                        <a:pt x="97728" y="291465"/>
                        <a:pt x="97537" y="291275"/>
                      </a:cubicBezTo>
                      <a:close/>
                      <a:moveTo>
                        <a:pt x="1035940" y="987076"/>
                      </a:moveTo>
                      <a:cubicBezTo>
                        <a:pt x="1035654" y="986885"/>
                        <a:pt x="1035369" y="986600"/>
                        <a:pt x="1035083" y="986409"/>
                      </a:cubicBezTo>
                      <a:cubicBezTo>
                        <a:pt x="1029940" y="981932"/>
                        <a:pt x="1029558" y="974122"/>
                        <a:pt x="1034035" y="969074"/>
                      </a:cubicBezTo>
                      <a:cubicBezTo>
                        <a:pt x="1038417" y="963835"/>
                        <a:pt x="1046608" y="962978"/>
                        <a:pt x="1051657" y="967169"/>
                      </a:cubicBezTo>
                      <a:cubicBezTo>
                        <a:pt x="1056800" y="971550"/>
                        <a:pt x="1057848" y="978884"/>
                        <a:pt x="1053466" y="984123"/>
                      </a:cubicBezTo>
                      <a:lnTo>
                        <a:pt x="1052419" y="985361"/>
                      </a:lnTo>
                      <a:cubicBezTo>
                        <a:pt x="1048227" y="990124"/>
                        <a:pt x="1040989" y="990791"/>
                        <a:pt x="1035940" y="987076"/>
                      </a:cubicBezTo>
                      <a:close/>
                      <a:moveTo>
                        <a:pt x="1059753" y="957072"/>
                      </a:moveTo>
                      <a:cubicBezTo>
                        <a:pt x="1054324" y="953072"/>
                        <a:pt x="1053181" y="945356"/>
                        <a:pt x="1057181" y="939832"/>
                      </a:cubicBezTo>
                      <a:lnTo>
                        <a:pt x="1057943" y="938784"/>
                      </a:lnTo>
                      <a:cubicBezTo>
                        <a:pt x="1058038" y="938689"/>
                        <a:pt x="1058229" y="938498"/>
                        <a:pt x="1058324" y="938308"/>
                      </a:cubicBezTo>
                      <a:cubicBezTo>
                        <a:pt x="1058419" y="938117"/>
                        <a:pt x="1058610" y="937927"/>
                        <a:pt x="1058705" y="937832"/>
                      </a:cubicBezTo>
                      <a:lnTo>
                        <a:pt x="1059467" y="936784"/>
                      </a:lnTo>
                      <a:cubicBezTo>
                        <a:pt x="1063468" y="931355"/>
                        <a:pt x="1071183" y="930212"/>
                        <a:pt x="1076707" y="934212"/>
                      </a:cubicBezTo>
                      <a:cubicBezTo>
                        <a:pt x="1082137" y="938308"/>
                        <a:pt x="1083280" y="945928"/>
                        <a:pt x="1079279" y="951452"/>
                      </a:cubicBezTo>
                      <a:lnTo>
                        <a:pt x="1078517" y="952500"/>
                      </a:lnTo>
                      <a:cubicBezTo>
                        <a:pt x="1078422" y="952691"/>
                        <a:pt x="1078231" y="952786"/>
                        <a:pt x="1078136" y="952976"/>
                      </a:cubicBezTo>
                      <a:cubicBezTo>
                        <a:pt x="1078041" y="953167"/>
                        <a:pt x="1077946" y="953357"/>
                        <a:pt x="1077755" y="953453"/>
                      </a:cubicBezTo>
                      <a:lnTo>
                        <a:pt x="1076993" y="954500"/>
                      </a:lnTo>
                      <a:cubicBezTo>
                        <a:pt x="1072897" y="959930"/>
                        <a:pt x="1065182" y="961073"/>
                        <a:pt x="1059753" y="957072"/>
                      </a:cubicBezTo>
                      <a:close/>
                      <a:moveTo>
                        <a:pt x="143257" y="229362"/>
                      </a:moveTo>
                      <a:cubicBezTo>
                        <a:pt x="143067" y="229267"/>
                        <a:pt x="142876" y="229076"/>
                        <a:pt x="142686" y="228886"/>
                      </a:cubicBezTo>
                      <a:cubicBezTo>
                        <a:pt x="137542" y="224504"/>
                        <a:pt x="136494" y="217170"/>
                        <a:pt x="140876" y="211931"/>
                      </a:cubicBezTo>
                      <a:lnTo>
                        <a:pt x="141924" y="210693"/>
                      </a:lnTo>
                      <a:cubicBezTo>
                        <a:pt x="146401" y="205550"/>
                        <a:pt x="154306" y="205073"/>
                        <a:pt x="159259" y="209645"/>
                      </a:cubicBezTo>
                      <a:cubicBezTo>
                        <a:pt x="164307" y="214122"/>
                        <a:pt x="164784" y="221933"/>
                        <a:pt x="160307" y="226981"/>
                      </a:cubicBezTo>
                      <a:cubicBezTo>
                        <a:pt x="156211" y="232124"/>
                        <a:pt x="148496" y="233267"/>
                        <a:pt x="143257" y="229362"/>
                      </a:cubicBezTo>
                      <a:close/>
                      <a:moveTo>
                        <a:pt x="1082899" y="923544"/>
                      </a:moveTo>
                      <a:cubicBezTo>
                        <a:pt x="1077850" y="919829"/>
                        <a:pt x="1076422" y="912686"/>
                        <a:pt x="1079755" y="907256"/>
                      </a:cubicBezTo>
                      <a:lnTo>
                        <a:pt x="1080613" y="905923"/>
                      </a:lnTo>
                      <a:cubicBezTo>
                        <a:pt x="1084327" y="900303"/>
                        <a:pt x="1091947" y="898684"/>
                        <a:pt x="1097662" y="902399"/>
                      </a:cubicBezTo>
                      <a:cubicBezTo>
                        <a:pt x="1103282" y="905923"/>
                        <a:pt x="1104997" y="913733"/>
                        <a:pt x="1101187" y="919448"/>
                      </a:cubicBezTo>
                      <a:lnTo>
                        <a:pt x="1100710" y="920210"/>
                      </a:lnTo>
                      <a:cubicBezTo>
                        <a:pt x="1097186" y="926021"/>
                        <a:pt x="1089566" y="927830"/>
                        <a:pt x="1083851" y="924211"/>
                      </a:cubicBezTo>
                      <a:cubicBezTo>
                        <a:pt x="1083565" y="924020"/>
                        <a:pt x="1083184" y="923830"/>
                        <a:pt x="1082899" y="923544"/>
                      </a:cubicBezTo>
                      <a:close/>
                      <a:moveTo>
                        <a:pt x="168879" y="200978"/>
                      </a:moveTo>
                      <a:cubicBezTo>
                        <a:pt x="168498" y="200692"/>
                        <a:pt x="168213" y="200406"/>
                        <a:pt x="167832" y="200120"/>
                      </a:cubicBezTo>
                      <a:cubicBezTo>
                        <a:pt x="162879" y="195453"/>
                        <a:pt x="162307" y="188024"/>
                        <a:pt x="166974" y="183071"/>
                      </a:cubicBezTo>
                      <a:lnTo>
                        <a:pt x="168117" y="181928"/>
                      </a:lnTo>
                      <a:cubicBezTo>
                        <a:pt x="172880" y="177165"/>
                        <a:pt x="180690" y="177070"/>
                        <a:pt x="185453" y="181928"/>
                      </a:cubicBezTo>
                      <a:cubicBezTo>
                        <a:pt x="190311" y="186785"/>
                        <a:pt x="190311" y="194501"/>
                        <a:pt x="185453" y="199358"/>
                      </a:cubicBezTo>
                      <a:cubicBezTo>
                        <a:pt x="181167" y="203835"/>
                        <a:pt x="173832" y="204597"/>
                        <a:pt x="168879" y="200978"/>
                      </a:cubicBezTo>
                      <a:close/>
                      <a:moveTo>
                        <a:pt x="1102615" y="890683"/>
                      </a:moveTo>
                      <a:cubicBezTo>
                        <a:pt x="1097662" y="887063"/>
                        <a:pt x="1096138" y="880110"/>
                        <a:pt x="1099282" y="874681"/>
                      </a:cubicBezTo>
                      <a:cubicBezTo>
                        <a:pt x="1102425" y="868680"/>
                        <a:pt x="1110140" y="866108"/>
                        <a:pt x="1116046" y="869251"/>
                      </a:cubicBezTo>
                      <a:cubicBezTo>
                        <a:pt x="1122142" y="872490"/>
                        <a:pt x="1124523" y="879539"/>
                        <a:pt x="1121284" y="885539"/>
                      </a:cubicBezTo>
                      <a:lnTo>
                        <a:pt x="1120522" y="886968"/>
                      </a:lnTo>
                      <a:cubicBezTo>
                        <a:pt x="1117189" y="892778"/>
                        <a:pt x="1109664" y="894874"/>
                        <a:pt x="1103758" y="891540"/>
                      </a:cubicBezTo>
                      <a:cubicBezTo>
                        <a:pt x="1103377" y="891254"/>
                        <a:pt x="1102996" y="890969"/>
                        <a:pt x="1102615" y="890683"/>
                      </a:cubicBezTo>
                      <a:close/>
                      <a:moveTo>
                        <a:pt x="196026" y="174593"/>
                      </a:moveTo>
                      <a:cubicBezTo>
                        <a:pt x="195359" y="174117"/>
                        <a:pt x="194692" y="173546"/>
                        <a:pt x="194121" y="172879"/>
                      </a:cubicBezTo>
                      <a:cubicBezTo>
                        <a:pt x="189644" y="167831"/>
                        <a:pt x="190120" y="160020"/>
                        <a:pt x="195168" y="155543"/>
                      </a:cubicBezTo>
                      <a:lnTo>
                        <a:pt x="195740" y="154972"/>
                      </a:lnTo>
                      <a:cubicBezTo>
                        <a:pt x="200693" y="150305"/>
                        <a:pt x="208503" y="150495"/>
                        <a:pt x="213171" y="155448"/>
                      </a:cubicBezTo>
                      <a:cubicBezTo>
                        <a:pt x="217838" y="160401"/>
                        <a:pt x="217647" y="168212"/>
                        <a:pt x="212694" y="172879"/>
                      </a:cubicBezTo>
                      <a:lnTo>
                        <a:pt x="211552" y="174022"/>
                      </a:lnTo>
                      <a:cubicBezTo>
                        <a:pt x="207075" y="177832"/>
                        <a:pt x="200598" y="177927"/>
                        <a:pt x="196026" y="174593"/>
                      </a:cubicBezTo>
                      <a:close/>
                      <a:moveTo>
                        <a:pt x="1120046" y="856679"/>
                      </a:moveTo>
                      <a:cubicBezTo>
                        <a:pt x="1115379" y="853154"/>
                        <a:pt x="1113664" y="846677"/>
                        <a:pt x="1116427" y="841343"/>
                      </a:cubicBezTo>
                      <a:cubicBezTo>
                        <a:pt x="1119284" y="835152"/>
                        <a:pt x="1126714" y="832104"/>
                        <a:pt x="1132905" y="834962"/>
                      </a:cubicBezTo>
                      <a:cubicBezTo>
                        <a:pt x="1139001" y="837724"/>
                        <a:pt x="1141954" y="844772"/>
                        <a:pt x="1139096" y="850868"/>
                      </a:cubicBezTo>
                      <a:lnTo>
                        <a:pt x="1138429" y="852392"/>
                      </a:lnTo>
                      <a:cubicBezTo>
                        <a:pt x="1135381" y="858488"/>
                        <a:pt x="1128047" y="860870"/>
                        <a:pt x="1121951" y="857822"/>
                      </a:cubicBezTo>
                      <a:cubicBezTo>
                        <a:pt x="1121189" y="857441"/>
                        <a:pt x="1120618" y="857060"/>
                        <a:pt x="1120046" y="856679"/>
                      </a:cubicBezTo>
                      <a:close/>
                      <a:moveTo>
                        <a:pt x="225172" y="149733"/>
                      </a:moveTo>
                      <a:cubicBezTo>
                        <a:pt x="224315" y="149066"/>
                        <a:pt x="223458" y="148304"/>
                        <a:pt x="222791" y="147447"/>
                      </a:cubicBezTo>
                      <a:cubicBezTo>
                        <a:pt x="218600" y="142113"/>
                        <a:pt x="219552" y="134398"/>
                        <a:pt x="224791" y="130207"/>
                      </a:cubicBezTo>
                      <a:lnTo>
                        <a:pt x="225458" y="129635"/>
                      </a:lnTo>
                      <a:cubicBezTo>
                        <a:pt x="230697" y="125254"/>
                        <a:pt x="238412" y="126016"/>
                        <a:pt x="242793" y="131159"/>
                      </a:cubicBezTo>
                      <a:cubicBezTo>
                        <a:pt x="247175" y="136303"/>
                        <a:pt x="246413" y="144113"/>
                        <a:pt x="241269" y="148495"/>
                      </a:cubicBezTo>
                      <a:lnTo>
                        <a:pt x="240031" y="149447"/>
                      </a:lnTo>
                      <a:cubicBezTo>
                        <a:pt x="235650" y="152972"/>
                        <a:pt x="229554" y="152972"/>
                        <a:pt x="225172" y="149733"/>
                      </a:cubicBezTo>
                      <a:close/>
                      <a:moveTo>
                        <a:pt x="1135191" y="821531"/>
                      </a:moveTo>
                      <a:cubicBezTo>
                        <a:pt x="1130809" y="818293"/>
                        <a:pt x="1129000" y="812387"/>
                        <a:pt x="1131095" y="807149"/>
                      </a:cubicBezTo>
                      <a:cubicBezTo>
                        <a:pt x="1133572" y="800862"/>
                        <a:pt x="1140906" y="797147"/>
                        <a:pt x="1147192" y="799624"/>
                      </a:cubicBezTo>
                      <a:cubicBezTo>
                        <a:pt x="1153479" y="802100"/>
                        <a:pt x="1156908" y="808673"/>
                        <a:pt x="1154431" y="814959"/>
                      </a:cubicBezTo>
                      <a:lnTo>
                        <a:pt x="1153955" y="816102"/>
                      </a:lnTo>
                      <a:cubicBezTo>
                        <a:pt x="1151479" y="822389"/>
                        <a:pt x="1144335" y="825532"/>
                        <a:pt x="1138048" y="823055"/>
                      </a:cubicBezTo>
                      <a:cubicBezTo>
                        <a:pt x="1137001" y="822674"/>
                        <a:pt x="1136048" y="822103"/>
                        <a:pt x="1135191" y="821531"/>
                      </a:cubicBezTo>
                      <a:close/>
                      <a:moveTo>
                        <a:pt x="255843" y="126873"/>
                      </a:moveTo>
                      <a:cubicBezTo>
                        <a:pt x="254795" y="126111"/>
                        <a:pt x="253842" y="125158"/>
                        <a:pt x="253080" y="124016"/>
                      </a:cubicBezTo>
                      <a:cubicBezTo>
                        <a:pt x="249175" y="118396"/>
                        <a:pt x="250604" y="110776"/>
                        <a:pt x="256128" y="106966"/>
                      </a:cubicBezTo>
                      <a:lnTo>
                        <a:pt x="257081" y="106299"/>
                      </a:lnTo>
                      <a:cubicBezTo>
                        <a:pt x="262605" y="102394"/>
                        <a:pt x="270226" y="103727"/>
                        <a:pt x="274226" y="109252"/>
                      </a:cubicBezTo>
                      <a:cubicBezTo>
                        <a:pt x="278131" y="114872"/>
                        <a:pt x="276798" y="122492"/>
                        <a:pt x="271178" y="126397"/>
                      </a:cubicBezTo>
                      <a:lnTo>
                        <a:pt x="270130" y="127159"/>
                      </a:lnTo>
                      <a:cubicBezTo>
                        <a:pt x="265749" y="130112"/>
                        <a:pt x="259939" y="129921"/>
                        <a:pt x="255843" y="126873"/>
                      </a:cubicBezTo>
                      <a:close/>
                      <a:moveTo>
                        <a:pt x="1148050" y="785432"/>
                      </a:moveTo>
                      <a:cubicBezTo>
                        <a:pt x="1143954" y="782384"/>
                        <a:pt x="1142049" y="776954"/>
                        <a:pt x="1143668" y="771716"/>
                      </a:cubicBezTo>
                      <a:lnTo>
                        <a:pt x="1144049" y="770573"/>
                      </a:lnTo>
                      <a:cubicBezTo>
                        <a:pt x="1146145" y="764191"/>
                        <a:pt x="1153098" y="760571"/>
                        <a:pt x="1159480" y="762667"/>
                      </a:cubicBezTo>
                      <a:cubicBezTo>
                        <a:pt x="1165957" y="764762"/>
                        <a:pt x="1169481" y="771716"/>
                        <a:pt x="1167385" y="778097"/>
                      </a:cubicBezTo>
                      <a:lnTo>
                        <a:pt x="1167004" y="779240"/>
                      </a:lnTo>
                      <a:cubicBezTo>
                        <a:pt x="1164909" y="785717"/>
                        <a:pt x="1157956" y="789242"/>
                        <a:pt x="1151479" y="787146"/>
                      </a:cubicBezTo>
                      <a:cubicBezTo>
                        <a:pt x="1150336" y="786860"/>
                        <a:pt x="1149097" y="786194"/>
                        <a:pt x="1148050" y="785432"/>
                      </a:cubicBezTo>
                      <a:close/>
                      <a:moveTo>
                        <a:pt x="288323" y="105442"/>
                      </a:moveTo>
                      <a:cubicBezTo>
                        <a:pt x="287180" y="104585"/>
                        <a:pt x="286132" y="103442"/>
                        <a:pt x="285370" y="102203"/>
                      </a:cubicBezTo>
                      <a:cubicBezTo>
                        <a:pt x="281846" y="96393"/>
                        <a:pt x="283180" y="89154"/>
                        <a:pt x="288990" y="85630"/>
                      </a:cubicBezTo>
                      <a:lnTo>
                        <a:pt x="290133" y="84963"/>
                      </a:lnTo>
                      <a:cubicBezTo>
                        <a:pt x="295943" y="81439"/>
                        <a:pt x="303563" y="83344"/>
                        <a:pt x="306992" y="89154"/>
                      </a:cubicBezTo>
                      <a:cubicBezTo>
                        <a:pt x="310516" y="94964"/>
                        <a:pt x="308611" y="102489"/>
                        <a:pt x="302801" y="106013"/>
                      </a:cubicBezTo>
                      <a:cubicBezTo>
                        <a:pt x="298229" y="108680"/>
                        <a:pt x="292324" y="108395"/>
                        <a:pt x="288323" y="105442"/>
                      </a:cubicBezTo>
                      <a:close/>
                      <a:moveTo>
                        <a:pt x="1158527" y="748665"/>
                      </a:moveTo>
                      <a:cubicBezTo>
                        <a:pt x="1154622" y="745808"/>
                        <a:pt x="1152622" y="740759"/>
                        <a:pt x="1153955" y="735806"/>
                      </a:cubicBezTo>
                      <a:cubicBezTo>
                        <a:pt x="1155670" y="729234"/>
                        <a:pt x="1162432" y="724662"/>
                        <a:pt x="1169005" y="726281"/>
                      </a:cubicBezTo>
                      <a:cubicBezTo>
                        <a:pt x="1175577" y="727901"/>
                        <a:pt x="1179673" y="734092"/>
                        <a:pt x="1178053" y="740664"/>
                      </a:cubicBezTo>
                      <a:lnTo>
                        <a:pt x="1177768" y="741902"/>
                      </a:lnTo>
                      <a:cubicBezTo>
                        <a:pt x="1176053" y="748475"/>
                        <a:pt x="1169386" y="752475"/>
                        <a:pt x="1162813" y="750856"/>
                      </a:cubicBezTo>
                      <a:cubicBezTo>
                        <a:pt x="1161194" y="750284"/>
                        <a:pt x="1159765" y="749618"/>
                        <a:pt x="1158527" y="748665"/>
                      </a:cubicBezTo>
                      <a:close/>
                      <a:moveTo>
                        <a:pt x="321756" y="86868"/>
                      </a:moveTo>
                      <a:cubicBezTo>
                        <a:pt x="320327" y="85820"/>
                        <a:pt x="319184" y="84487"/>
                        <a:pt x="318327" y="82868"/>
                      </a:cubicBezTo>
                      <a:cubicBezTo>
                        <a:pt x="315183" y="76867"/>
                        <a:pt x="317088" y="69628"/>
                        <a:pt x="323184" y="66485"/>
                      </a:cubicBezTo>
                      <a:lnTo>
                        <a:pt x="324613" y="65723"/>
                      </a:lnTo>
                      <a:cubicBezTo>
                        <a:pt x="330709" y="62770"/>
                        <a:pt x="338043" y="65341"/>
                        <a:pt x="341091" y="71438"/>
                      </a:cubicBezTo>
                      <a:cubicBezTo>
                        <a:pt x="344044" y="77534"/>
                        <a:pt x="341473" y="84868"/>
                        <a:pt x="335377" y="87821"/>
                      </a:cubicBezTo>
                      <a:cubicBezTo>
                        <a:pt x="330900" y="90202"/>
                        <a:pt x="325566" y="89726"/>
                        <a:pt x="321756" y="86868"/>
                      </a:cubicBezTo>
                      <a:close/>
                      <a:moveTo>
                        <a:pt x="1166528" y="711232"/>
                      </a:moveTo>
                      <a:cubicBezTo>
                        <a:pt x="1162909" y="708565"/>
                        <a:pt x="1160908" y="704088"/>
                        <a:pt x="1161670" y="699421"/>
                      </a:cubicBezTo>
                      <a:lnTo>
                        <a:pt x="1161956" y="697992"/>
                      </a:lnTo>
                      <a:cubicBezTo>
                        <a:pt x="1163194" y="691325"/>
                        <a:pt x="1169576" y="686848"/>
                        <a:pt x="1176244" y="688086"/>
                      </a:cubicBezTo>
                      <a:cubicBezTo>
                        <a:pt x="1182911" y="689324"/>
                        <a:pt x="1187293" y="695706"/>
                        <a:pt x="1186150" y="702374"/>
                      </a:cubicBezTo>
                      <a:lnTo>
                        <a:pt x="1185959" y="703326"/>
                      </a:lnTo>
                      <a:cubicBezTo>
                        <a:pt x="1184911" y="709994"/>
                        <a:pt x="1178530" y="714566"/>
                        <a:pt x="1171862" y="713423"/>
                      </a:cubicBezTo>
                      <a:cubicBezTo>
                        <a:pt x="1169767" y="713232"/>
                        <a:pt x="1168052" y="712375"/>
                        <a:pt x="1166528" y="711232"/>
                      </a:cubicBezTo>
                      <a:close/>
                      <a:moveTo>
                        <a:pt x="356332" y="70485"/>
                      </a:moveTo>
                      <a:cubicBezTo>
                        <a:pt x="354712" y="69247"/>
                        <a:pt x="353474" y="67723"/>
                        <a:pt x="352617" y="65818"/>
                      </a:cubicBezTo>
                      <a:cubicBezTo>
                        <a:pt x="349855" y="59627"/>
                        <a:pt x="352236" y="52483"/>
                        <a:pt x="358522" y="49721"/>
                      </a:cubicBezTo>
                      <a:lnTo>
                        <a:pt x="360046" y="49054"/>
                      </a:lnTo>
                      <a:cubicBezTo>
                        <a:pt x="366333" y="46482"/>
                        <a:pt x="373477" y="49530"/>
                        <a:pt x="376048" y="55816"/>
                      </a:cubicBezTo>
                      <a:cubicBezTo>
                        <a:pt x="378620" y="62103"/>
                        <a:pt x="375572" y="69247"/>
                        <a:pt x="369285" y="71819"/>
                      </a:cubicBezTo>
                      <a:cubicBezTo>
                        <a:pt x="364904" y="73819"/>
                        <a:pt x="359951" y="73152"/>
                        <a:pt x="356332" y="70485"/>
                      </a:cubicBezTo>
                      <a:close/>
                      <a:moveTo>
                        <a:pt x="1172053" y="673418"/>
                      </a:moveTo>
                      <a:cubicBezTo>
                        <a:pt x="1168719" y="670941"/>
                        <a:pt x="1166719" y="666845"/>
                        <a:pt x="1167100" y="662464"/>
                      </a:cubicBezTo>
                      <a:lnTo>
                        <a:pt x="1167290" y="660940"/>
                      </a:lnTo>
                      <a:cubicBezTo>
                        <a:pt x="1168052" y="654177"/>
                        <a:pt x="1174148" y="649319"/>
                        <a:pt x="1180911" y="650176"/>
                      </a:cubicBezTo>
                      <a:cubicBezTo>
                        <a:pt x="1187674" y="650939"/>
                        <a:pt x="1192531" y="657130"/>
                        <a:pt x="1191674" y="663797"/>
                      </a:cubicBezTo>
                      <a:lnTo>
                        <a:pt x="1191579" y="664750"/>
                      </a:lnTo>
                      <a:cubicBezTo>
                        <a:pt x="1191007" y="671513"/>
                        <a:pt x="1185007" y="676561"/>
                        <a:pt x="1178244" y="675894"/>
                      </a:cubicBezTo>
                      <a:cubicBezTo>
                        <a:pt x="1175863" y="675608"/>
                        <a:pt x="1173767" y="674751"/>
                        <a:pt x="1172053" y="673418"/>
                      </a:cubicBezTo>
                      <a:close/>
                      <a:moveTo>
                        <a:pt x="391764" y="56674"/>
                      </a:moveTo>
                      <a:cubicBezTo>
                        <a:pt x="389859" y="55245"/>
                        <a:pt x="388335" y="53340"/>
                        <a:pt x="387574" y="50959"/>
                      </a:cubicBezTo>
                      <a:cubicBezTo>
                        <a:pt x="385287" y="44577"/>
                        <a:pt x="388621" y="37529"/>
                        <a:pt x="395003" y="35243"/>
                      </a:cubicBezTo>
                      <a:lnTo>
                        <a:pt x="396146" y="34862"/>
                      </a:lnTo>
                      <a:cubicBezTo>
                        <a:pt x="402528" y="32576"/>
                        <a:pt x="409576" y="35909"/>
                        <a:pt x="411862" y="42291"/>
                      </a:cubicBezTo>
                      <a:cubicBezTo>
                        <a:pt x="414148" y="48673"/>
                        <a:pt x="410814" y="55721"/>
                        <a:pt x="404433" y="58007"/>
                      </a:cubicBezTo>
                      <a:lnTo>
                        <a:pt x="403290" y="58388"/>
                      </a:lnTo>
                      <a:cubicBezTo>
                        <a:pt x="399194" y="59817"/>
                        <a:pt x="394908" y="59055"/>
                        <a:pt x="391764" y="56674"/>
                      </a:cubicBezTo>
                      <a:close/>
                      <a:moveTo>
                        <a:pt x="1175005" y="635318"/>
                      </a:moveTo>
                      <a:cubicBezTo>
                        <a:pt x="1171862" y="632936"/>
                        <a:pt x="1169862" y="629126"/>
                        <a:pt x="1170052" y="624935"/>
                      </a:cubicBezTo>
                      <a:cubicBezTo>
                        <a:pt x="1170052" y="624935"/>
                        <a:pt x="1170148" y="623602"/>
                        <a:pt x="1170148" y="623602"/>
                      </a:cubicBezTo>
                      <a:cubicBezTo>
                        <a:pt x="1170433" y="616839"/>
                        <a:pt x="1176244" y="611600"/>
                        <a:pt x="1183102" y="611981"/>
                      </a:cubicBezTo>
                      <a:cubicBezTo>
                        <a:pt x="1189864" y="612267"/>
                        <a:pt x="1195103" y="618077"/>
                        <a:pt x="1194722" y="624840"/>
                      </a:cubicBezTo>
                      <a:lnTo>
                        <a:pt x="1194627" y="625983"/>
                      </a:lnTo>
                      <a:cubicBezTo>
                        <a:pt x="1194341" y="632746"/>
                        <a:pt x="1188626" y="638080"/>
                        <a:pt x="1181863" y="637794"/>
                      </a:cubicBezTo>
                      <a:cubicBezTo>
                        <a:pt x="1179292" y="637604"/>
                        <a:pt x="1176910" y="636746"/>
                        <a:pt x="1175005" y="635318"/>
                      </a:cubicBezTo>
                      <a:close/>
                      <a:moveTo>
                        <a:pt x="428531" y="44482"/>
                      </a:moveTo>
                      <a:cubicBezTo>
                        <a:pt x="426531" y="42958"/>
                        <a:pt x="425007" y="40862"/>
                        <a:pt x="424245" y="38386"/>
                      </a:cubicBezTo>
                      <a:cubicBezTo>
                        <a:pt x="422340" y="31814"/>
                        <a:pt x="425578" y="25241"/>
                        <a:pt x="432151" y="23336"/>
                      </a:cubicBezTo>
                      <a:lnTo>
                        <a:pt x="433389" y="23051"/>
                      </a:lnTo>
                      <a:cubicBezTo>
                        <a:pt x="439961" y="21241"/>
                        <a:pt x="446724" y="24955"/>
                        <a:pt x="448533" y="31623"/>
                      </a:cubicBezTo>
                      <a:cubicBezTo>
                        <a:pt x="450343" y="38195"/>
                        <a:pt x="446533" y="44958"/>
                        <a:pt x="439961" y="46768"/>
                      </a:cubicBezTo>
                      <a:cubicBezTo>
                        <a:pt x="436056" y="47720"/>
                        <a:pt x="431769" y="46863"/>
                        <a:pt x="428531" y="44482"/>
                      </a:cubicBezTo>
                      <a:close/>
                      <a:moveTo>
                        <a:pt x="1175577" y="597027"/>
                      </a:moveTo>
                      <a:cubicBezTo>
                        <a:pt x="1172624" y="594836"/>
                        <a:pt x="1170624" y="591312"/>
                        <a:pt x="1170529" y="587312"/>
                      </a:cubicBezTo>
                      <a:cubicBezTo>
                        <a:pt x="1170433" y="580549"/>
                        <a:pt x="1175767" y="574358"/>
                        <a:pt x="1182530" y="574167"/>
                      </a:cubicBezTo>
                      <a:cubicBezTo>
                        <a:pt x="1189293" y="574072"/>
                        <a:pt x="1194913" y="578834"/>
                        <a:pt x="1195103" y="585597"/>
                      </a:cubicBezTo>
                      <a:lnTo>
                        <a:pt x="1195103" y="586931"/>
                      </a:lnTo>
                      <a:cubicBezTo>
                        <a:pt x="1195198" y="593693"/>
                        <a:pt x="1189769" y="599313"/>
                        <a:pt x="1183006" y="599408"/>
                      </a:cubicBezTo>
                      <a:cubicBezTo>
                        <a:pt x="1180244" y="599504"/>
                        <a:pt x="1177672" y="598551"/>
                        <a:pt x="1175577" y="597027"/>
                      </a:cubicBezTo>
                      <a:close/>
                      <a:moveTo>
                        <a:pt x="465393" y="35624"/>
                      </a:moveTo>
                      <a:cubicBezTo>
                        <a:pt x="463011" y="33909"/>
                        <a:pt x="461297" y="31337"/>
                        <a:pt x="460630" y="28289"/>
                      </a:cubicBezTo>
                      <a:cubicBezTo>
                        <a:pt x="459202" y="21622"/>
                        <a:pt x="463488" y="15049"/>
                        <a:pt x="470155" y="13716"/>
                      </a:cubicBezTo>
                      <a:lnTo>
                        <a:pt x="471203" y="13430"/>
                      </a:lnTo>
                      <a:cubicBezTo>
                        <a:pt x="477775" y="11906"/>
                        <a:pt x="484348" y="16097"/>
                        <a:pt x="485872" y="22765"/>
                      </a:cubicBezTo>
                      <a:cubicBezTo>
                        <a:pt x="487396" y="29432"/>
                        <a:pt x="483205" y="36005"/>
                        <a:pt x="476537" y="37529"/>
                      </a:cubicBezTo>
                      <a:lnTo>
                        <a:pt x="475204" y="37814"/>
                      </a:lnTo>
                      <a:cubicBezTo>
                        <a:pt x="471584" y="38481"/>
                        <a:pt x="468060" y="37624"/>
                        <a:pt x="465393" y="35624"/>
                      </a:cubicBezTo>
                      <a:close/>
                      <a:moveTo>
                        <a:pt x="1173577" y="558832"/>
                      </a:moveTo>
                      <a:cubicBezTo>
                        <a:pt x="1170814" y="556736"/>
                        <a:pt x="1168909" y="553498"/>
                        <a:pt x="1168624" y="549783"/>
                      </a:cubicBezTo>
                      <a:cubicBezTo>
                        <a:pt x="1167957" y="543020"/>
                        <a:pt x="1172910" y="536639"/>
                        <a:pt x="1179673" y="535877"/>
                      </a:cubicBezTo>
                      <a:cubicBezTo>
                        <a:pt x="1186435" y="535305"/>
                        <a:pt x="1192341" y="539782"/>
                        <a:pt x="1193008" y="546545"/>
                      </a:cubicBezTo>
                      <a:lnTo>
                        <a:pt x="1193103" y="548164"/>
                      </a:lnTo>
                      <a:cubicBezTo>
                        <a:pt x="1193579" y="554927"/>
                        <a:pt x="1188436" y="560832"/>
                        <a:pt x="1181578" y="561213"/>
                      </a:cubicBezTo>
                      <a:cubicBezTo>
                        <a:pt x="1178720" y="561404"/>
                        <a:pt x="1175863" y="560451"/>
                        <a:pt x="1173577" y="558832"/>
                      </a:cubicBezTo>
                      <a:close/>
                      <a:moveTo>
                        <a:pt x="503398" y="28385"/>
                      </a:moveTo>
                      <a:cubicBezTo>
                        <a:pt x="500921" y="26575"/>
                        <a:pt x="499111" y="23908"/>
                        <a:pt x="498635" y="20669"/>
                      </a:cubicBezTo>
                      <a:cubicBezTo>
                        <a:pt x="497587" y="13907"/>
                        <a:pt x="501683" y="7715"/>
                        <a:pt x="508446" y="6668"/>
                      </a:cubicBezTo>
                      <a:lnTo>
                        <a:pt x="510065" y="6477"/>
                      </a:lnTo>
                      <a:cubicBezTo>
                        <a:pt x="516828" y="5525"/>
                        <a:pt x="523019" y="10382"/>
                        <a:pt x="523876" y="17050"/>
                      </a:cubicBezTo>
                      <a:cubicBezTo>
                        <a:pt x="524733" y="23813"/>
                        <a:pt x="519971" y="29908"/>
                        <a:pt x="513208" y="30861"/>
                      </a:cubicBezTo>
                      <a:cubicBezTo>
                        <a:pt x="509589" y="31337"/>
                        <a:pt x="506064" y="30385"/>
                        <a:pt x="503398" y="28385"/>
                      </a:cubicBezTo>
                      <a:close/>
                      <a:moveTo>
                        <a:pt x="1169195" y="520732"/>
                      </a:moveTo>
                      <a:cubicBezTo>
                        <a:pt x="1166719" y="518827"/>
                        <a:pt x="1164909" y="516160"/>
                        <a:pt x="1164337" y="512826"/>
                      </a:cubicBezTo>
                      <a:lnTo>
                        <a:pt x="1164147" y="511493"/>
                      </a:lnTo>
                      <a:cubicBezTo>
                        <a:pt x="1163194" y="504730"/>
                        <a:pt x="1167766" y="498538"/>
                        <a:pt x="1174529" y="497491"/>
                      </a:cubicBezTo>
                      <a:cubicBezTo>
                        <a:pt x="1181292" y="496443"/>
                        <a:pt x="1187483" y="501110"/>
                        <a:pt x="1188531" y="507873"/>
                      </a:cubicBezTo>
                      <a:lnTo>
                        <a:pt x="1188721" y="509016"/>
                      </a:lnTo>
                      <a:cubicBezTo>
                        <a:pt x="1189769" y="515779"/>
                        <a:pt x="1185197" y="521970"/>
                        <a:pt x="1178530" y="523113"/>
                      </a:cubicBezTo>
                      <a:cubicBezTo>
                        <a:pt x="1175005" y="523589"/>
                        <a:pt x="1171767" y="522637"/>
                        <a:pt x="1169195" y="520732"/>
                      </a:cubicBezTo>
                      <a:close/>
                      <a:moveTo>
                        <a:pt x="541021" y="24194"/>
                      </a:moveTo>
                      <a:cubicBezTo>
                        <a:pt x="538259" y="22193"/>
                        <a:pt x="536354" y="18955"/>
                        <a:pt x="536068" y="15240"/>
                      </a:cubicBezTo>
                      <a:cubicBezTo>
                        <a:pt x="535592" y="8477"/>
                        <a:pt x="540640" y="2572"/>
                        <a:pt x="547403" y="2096"/>
                      </a:cubicBezTo>
                      <a:lnTo>
                        <a:pt x="548260" y="2000"/>
                      </a:lnTo>
                      <a:cubicBezTo>
                        <a:pt x="555023" y="1238"/>
                        <a:pt x="561119" y="6191"/>
                        <a:pt x="561786" y="12954"/>
                      </a:cubicBezTo>
                      <a:cubicBezTo>
                        <a:pt x="562453" y="19717"/>
                        <a:pt x="557595" y="25718"/>
                        <a:pt x="550832" y="26480"/>
                      </a:cubicBezTo>
                      <a:lnTo>
                        <a:pt x="549213" y="26670"/>
                      </a:lnTo>
                      <a:cubicBezTo>
                        <a:pt x="546165" y="26765"/>
                        <a:pt x="543307" y="25908"/>
                        <a:pt x="541021" y="24194"/>
                      </a:cubicBezTo>
                      <a:close/>
                      <a:moveTo>
                        <a:pt x="1162242" y="483108"/>
                      </a:moveTo>
                      <a:cubicBezTo>
                        <a:pt x="1159861" y="481394"/>
                        <a:pt x="1158146" y="478822"/>
                        <a:pt x="1157479" y="475679"/>
                      </a:cubicBezTo>
                      <a:cubicBezTo>
                        <a:pt x="1156146" y="469106"/>
                        <a:pt x="1160242" y="462058"/>
                        <a:pt x="1166814" y="460629"/>
                      </a:cubicBezTo>
                      <a:cubicBezTo>
                        <a:pt x="1173386" y="459200"/>
                        <a:pt x="1179768" y="462725"/>
                        <a:pt x="1181197" y="469392"/>
                      </a:cubicBezTo>
                      <a:cubicBezTo>
                        <a:pt x="1181197" y="469487"/>
                        <a:pt x="1181482" y="470726"/>
                        <a:pt x="1181482" y="470821"/>
                      </a:cubicBezTo>
                      <a:cubicBezTo>
                        <a:pt x="1182816" y="477488"/>
                        <a:pt x="1178530" y="483965"/>
                        <a:pt x="1171862" y="485299"/>
                      </a:cubicBezTo>
                      <a:cubicBezTo>
                        <a:pt x="1168528" y="486061"/>
                        <a:pt x="1165004" y="485108"/>
                        <a:pt x="1162242" y="483108"/>
                      </a:cubicBezTo>
                      <a:close/>
                      <a:moveTo>
                        <a:pt x="579979" y="22003"/>
                      </a:moveTo>
                      <a:cubicBezTo>
                        <a:pt x="577026" y="19812"/>
                        <a:pt x="575026" y="16383"/>
                        <a:pt x="574930" y="12478"/>
                      </a:cubicBezTo>
                      <a:cubicBezTo>
                        <a:pt x="574835" y="5715"/>
                        <a:pt x="579598" y="95"/>
                        <a:pt x="586360" y="0"/>
                      </a:cubicBezTo>
                      <a:cubicBezTo>
                        <a:pt x="586360" y="0"/>
                        <a:pt x="587694" y="0"/>
                        <a:pt x="587789" y="0"/>
                      </a:cubicBezTo>
                      <a:cubicBezTo>
                        <a:pt x="594552" y="0"/>
                        <a:pt x="600171" y="5334"/>
                        <a:pt x="600171" y="12192"/>
                      </a:cubicBezTo>
                      <a:cubicBezTo>
                        <a:pt x="600267" y="18955"/>
                        <a:pt x="594838" y="24575"/>
                        <a:pt x="588075" y="24670"/>
                      </a:cubicBezTo>
                      <a:cubicBezTo>
                        <a:pt x="585027" y="24575"/>
                        <a:pt x="582169" y="23622"/>
                        <a:pt x="579979" y="22003"/>
                      </a:cubicBezTo>
                      <a:close/>
                      <a:moveTo>
                        <a:pt x="1152907" y="445961"/>
                      </a:moveTo>
                      <a:cubicBezTo>
                        <a:pt x="1150907" y="444437"/>
                        <a:pt x="1149288" y="442341"/>
                        <a:pt x="1148526" y="439769"/>
                      </a:cubicBezTo>
                      <a:lnTo>
                        <a:pt x="1148050" y="438245"/>
                      </a:lnTo>
                      <a:cubicBezTo>
                        <a:pt x="1146240" y="431673"/>
                        <a:pt x="1150050" y="424910"/>
                        <a:pt x="1156622" y="423101"/>
                      </a:cubicBezTo>
                      <a:cubicBezTo>
                        <a:pt x="1163194" y="421291"/>
                        <a:pt x="1169957" y="425101"/>
                        <a:pt x="1171767" y="431673"/>
                      </a:cubicBezTo>
                      <a:lnTo>
                        <a:pt x="1172053" y="432530"/>
                      </a:lnTo>
                      <a:cubicBezTo>
                        <a:pt x="1174053" y="439007"/>
                        <a:pt x="1170433" y="445961"/>
                        <a:pt x="1163956" y="447961"/>
                      </a:cubicBezTo>
                      <a:cubicBezTo>
                        <a:pt x="1160051" y="449104"/>
                        <a:pt x="1155955" y="448247"/>
                        <a:pt x="1152907" y="445961"/>
                      </a:cubicBezTo>
                      <a:close/>
                      <a:moveTo>
                        <a:pt x="618269" y="22574"/>
                      </a:moveTo>
                      <a:cubicBezTo>
                        <a:pt x="615031" y="20193"/>
                        <a:pt x="612935" y="16383"/>
                        <a:pt x="613125" y="12192"/>
                      </a:cubicBezTo>
                      <a:cubicBezTo>
                        <a:pt x="613506" y="5429"/>
                        <a:pt x="618555" y="190"/>
                        <a:pt x="625318" y="572"/>
                      </a:cubicBezTo>
                      <a:cubicBezTo>
                        <a:pt x="625413" y="572"/>
                        <a:pt x="626651" y="572"/>
                        <a:pt x="626746" y="572"/>
                      </a:cubicBezTo>
                      <a:cubicBezTo>
                        <a:pt x="633509" y="953"/>
                        <a:pt x="638652" y="6763"/>
                        <a:pt x="638271" y="13526"/>
                      </a:cubicBezTo>
                      <a:cubicBezTo>
                        <a:pt x="637891" y="20288"/>
                        <a:pt x="632080" y="25527"/>
                        <a:pt x="625318" y="25051"/>
                      </a:cubicBezTo>
                      <a:cubicBezTo>
                        <a:pt x="622746" y="24955"/>
                        <a:pt x="620269" y="24003"/>
                        <a:pt x="618269" y="22574"/>
                      </a:cubicBezTo>
                      <a:close/>
                      <a:moveTo>
                        <a:pt x="1141192" y="409480"/>
                      </a:moveTo>
                      <a:cubicBezTo>
                        <a:pt x="1139287" y="408051"/>
                        <a:pt x="1137763" y="406146"/>
                        <a:pt x="1136905" y="403670"/>
                      </a:cubicBezTo>
                      <a:cubicBezTo>
                        <a:pt x="1134619" y="397288"/>
                        <a:pt x="1137667" y="389763"/>
                        <a:pt x="1144049" y="387382"/>
                      </a:cubicBezTo>
                      <a:cubicBezTo>
                        <a:pt x="1150431" y="385001"/>
                        <a:pt x="1157289" y="387763"/>
                        <a:pt x="1159670" y="394240"/>
                      </a:cubicBezTo>
                      <a:lnTo>
                        <a:pt x="1160146" y="395573"/>
                      </a:lnTo>
                      <a:cubicBezTo>
                        <a:pt x="1162432" y="401955"/>
                        <a:pt x="1159003" y="409004"/>
                        <a:pt x="1152622" y="411290"/>
                      </a:cubicBezTo>
                      <a:cubicBezTo>
                        <a:pt x="1148621" y="412623"/>
                        <a:pt x="1144335" y="411861"/>
                        <a:pt x="1141192" y="409480"/>
                      </a:cubicBezTo>
                      <a:close/>
                      <a:moveTo>
                        <a:pt x="655607" y="25622"/>
                      </a:moveTo>
                      <a:cubicBezTo>
                        <a:pt x="652178" y="23051"/>
                        <a:pt x="650178" y="18764"/>
                        <a:pt x="650749" y="14192"/>
                      </a:cubicBezTo>
                      <a:cubicBezTo>
                        <a:pt x="651606" y="7429"/>
                        <a:pt x="657702" y="2667"/>
                        <a:pt x="664465" y="3524"/>
                      </a:cubicBezTo>
                      <a:lnTo>
                        <a:pt x="665323" y="3620"/>
                      </a:lnTo>
                      <a:cubicBezTo>
                        <a:pt x="672085" y="4191"/>
                        <a:pt x="677038" y="10287"/>
                        <a:pt x="676371" y="17050"/>
                      </a:cubicBezTo>
                      <a:cubicBezTo>
                        <a:pt x="675705" y="23813"/>
                        <a:pt x="669704" y="28766"/>
                        <a:pt x="662941" y="28099"/>
                      </a:cubicBezTo>
                      <a:lnTo>
                        <a:pt x="661417" y="27908"/>
                      </a:lnTo>
                      <a:cubicBezTo>
                        <a:pt x="659227" y="27718"/>
                        <a:pt x="657321" y="26861"/>
                        <a:pt x="655607" y="25622"/>
                      </a:cubicBezTo>
                      <a:close/>
                      <a:moveTo>
                        <a:pt x="1127095" y="373856"/>
                      </a:moveTo>
                      <a:cubicBezTo>
                        <a:pt x="1125380" y="372618"/>
                        <a:pt x="1123951" y="370808"/>
                        <a:pt x="1122999" y="368713"/>
                      </a:cubicBezTo>
                      <a:cubicBezTo>
                        <a:pt x="1120237" y="362522"/>
                        <a:pt x="1122904" y="354806"/>
                        <a:pt x="1129095" y="352044"/>
                      </a:cubicBezTo>
                      <a:cubicBezTo>
                        <a:pt x="1135286" y="349282"/>
                        <a:pt x="1142430" y="351758"/>
                        <a:pt x="1145097" y="357950"/>
                      </a:cubicBezTo>
                      <a:lnTo>
                        <a:pt x="1145764" y="359378"/>
                      </a:lnTo>
                      <a:cubicBezTo>
                        <a:pt x="1148335" y="365665"/>
                        <a:pt x="1145287" y="372809"/>
                        <a:pt x="1139096" y="375476"/>
                      </a:cubicBezTo>
                      <a:cubicBezTo>
                        <a:pt x="1135000" y="377095"/>
                        <a:pt x="1130428" y="376333"/>
                        <a:pt x="1127095" y="373856"/>
                      </a:cubicBezTo>
                      <a:close/>
                      <a:moveTo>
                        <a:pt x="693517" y="31147"/>
                      </a:moveTo>
                      <a:cubicBezTo>
                        <a:pt x="689802" y="28385"/>
                        <a:pt x="687802" y="23813"/>
                        <a:pt x="688754" y="18955"/>
                      </a:cubicBezTo>
                      <a:cubicBezTo>
                        <a:pt x="689992" y="12287"/>
                        <a:pt x="696469" y="7906"/>
                        <a:pt x="703137" y="9144"/>
                      </a:cubicBezTo>
                      <a:lnTo>
                        <a:pt x="703994" y="9335"/>
                      </a:lnTo>
                      <a:cubicBezTo>
                        <a:pt x="710757" y="10382"/>
                        <a:pt x="715233" y="16764"/>
                        <a:pt x="714186" y="23432"/>
                      </a:cubicBezTo>
                      <a:cubicBezTo>
                        <a:pt x="713043" y="30099"/>
                        <a:pt x="706756" y="34671"/>
                        <a:pt x="700089" y="33623"/>
                      </a:cubicBezTo>
                      <a:lnTo>
                        <a:pt x="698565" y="33338"/>
                      </a:lnTo>
                      <a:cubicBezTo>
                        <a:pt x="696660" y="32957"/>
                        <a:pt x="694945" y="32195"/>
                        <a:pt x="693517" y="31147"/>
                      </a:cubicBezTo>
                      <a:close/>
                      <a:moveTo>
                        <a:pt x="1110712" y="339281"/>
                      </a:moveTo>
                      <a:cubicBezTo>
                        <a:pt x="1109188" y="338138"/>
                        <a:pt x="1107949" y="336709"/>
                        <a:pt x="1107092" y="334994"/>
                      </a:cubicBezTo>
                      <a:cubicBezTo>
                        <a:pt x="1103949" y="328994"/>
                        <a:pt x="1106044" y="321088"/>
                        <a:pt x="1112045" y="317945"/>
                      </a:cubicBezTo>
                      <a:cubicBezTo>
                        <a:pt x="1118046" y="314801"/>
                        <a:pt x="1125190" y="316706"/>
                        <a:pt x="1128333" y="322707"/>
                      </a:cubicBezTo>
                      <a:lnTo>
                        <a:pt x="1129000" y="323945"/>
                      </a:lnTo>
                      <a:cubicBezTo>
                        <a:pt x="1132048" y="330041"/>
                        <a:pt x="1129666" y="337471"/>
                        <a:pt x="1123570" y="340424"/>
                      </a:cubicBezTo>
                      <a:cubicBezTo>
                        <a:pt x="1119284" y="342519"/>
                        <a:pt x="1114331" y="341948"/>
                        <a:pt x="1110712" y="339281"/>
                      </a:cubicBezTo>
                      <a:close/>
                      <a:moveTo>
                        <a:pt x="730854" y="39053"/>
                      </a:moveTo>
                      <a:cubicBezTo>
                        <a:pt x="727045" y="36195"/>
                        <a:pt x="725044" y="31147"/>
                        <a:pt x="726283" y="26289"/>
                      </a:cubicBezTo>
                      <a:cubicBezTo>
                        <a:pt x="727902" y="19717"/>
                        <a:pt x="734569" y="15621"/>
                        <a:pt x="741142" y="17240"/>
                      </a:cubicBezTo>
                      <a:cubicBezTo>
                        <a:pt x="741142" y="17240"/>
                        <a:pt x="741713" y="17336"/>
                        <a:pt x="741713" y="17431"/>
                      </a:cubicBezTo>
                      <a:cubicBezTo>
                        <a:pt x="748285" y="19050"/>
                        <a:pt x="752667" y="25813"/>
                        <a:pt x="751048" y="32385"/>
                      </a:cubicBezTo>
                      <a:cubicBezTo>
                        <a:pt x="749428" y="38957"/>
                        <a:pt x="743142" y="43053"/>
                        <a:pt x="736570" y="41434"/>
                      </a:cubicBezTo>
                      <a:cubicBezTo>
                        <a:pt x="736570" y="41434"/>
                        <a:pt x="735331" y="41148"/>
                        <a:pt x="735331" y="41148"/>
                      </a:cubicBezTo>
                      <a:cubicBezTo>
                        <a:pt x="733617" y="40767"/>
                        <a:pt x="732093" y="40005"/>
                        <a:pt x="730854" y="39053"/>
                      </a:cubicBezTo>
                      <a:close/>
                      <a:moveTo>
                        <a:pt x="1092043" y="305753"/>
                      </a:moveTo>
                      <a:cubicBezTo>
                        <a:pt x="1090709" y="304800"/>
                        <a:pt x="1089566" y="303562"/>
                        <a:pt x="1088709" y="302038"/>
                      </a:cubicBezTo>
                      <a:cubicBezTo>
                        <a:pt x="1085185" y="296228"/>
                        <a:pt x="1086804" y="288322"/>
                        <a:pt x="1092519" y="284702"/>
                      </a:cubicBezTo>
                      <a:cubicBezTo>
                        <a:pt x="1098329" y="281178"/>
                        <a:pt x="1105663" y="282702"/>
                        <a:pt x="1109188" y="288417"/>
                      </a:cubicBezTo>
                      <a:lnTo>
                        <a:pt x="1109950" y="289751"/>
                      </a:lnTo>
                      <a:cubicBezTo>
                        <a:pt x="1113283" y="295561"/>
                        <a:pt x="1111283" y="303181"/>
                        <a:pt x="1105473" y="306515"/>
                      </a:cubicBezTo>
                      <a:cubicBezTo>
                        <a:pt x="1101091" y="309086"/>
                        <a:pt x="1095853" y="308610"/>
                        <a:pt x="1092043" y="305753"/>
                      </a:cubicBezTo>
                      <a:close/>
                      <a:moveTo>
                        <a:pt x="768573" y="49721"/>
                      </a:moveTo>
                      <a:cubicBezTo>
                        <a:pt x="764383" y="46673"/>
                        <a:pt x="762192" y="41148"/>
                        <a:pt x="763811" y="36005"/>
                      </a:cubicBezTo>
                      <a:cubicBezTo>
                        <a:pt x="765906" y="29528"/>
                        <a:pt x="772193" y="25813"/>
                        <a:pt x="778670" y="27813"/>
                      </a:cubicBezTo>
                      <a:lnTo>
                        <a:pt x="780004" y="28194"/>
                      </a:lnTo>
                      <a:cubicBezTo>
                        <a:pt x="786481" y="30290"/>
                        <a:pt x="789910" y="37243"/>
                        <a:pt x="787814" y="43720"/>
                      </a:cubicBezTo>
                      <a:cubicBezTo>
                        <a:pt x="785719" y="50197"/>
                        <a:pt x="778765" y="53721"/>
                        <a:pt x="772288" y="51626"/>
                      </a:cubicBezTo>
                      <a:cubicBezTo>
                        <a:pt x="770955" y="51149"/>
                        <a:pt x="769717" y="50578"/>
                        <a:pt x="768573" y="49721"/>
                      </a:cubicBezTo>
                      <a:close/>
                      <a:moveTo>
                        <a:pt x="1071278" y="273558"/>
                      </a:moveTo>
                      <a:cubicBezTo>
                        <a:pt x="1070230" y="272796"/>
                        <a:pt x="1069278" y="271748"/>
                        <a:pt x="1068421" y="270605"/>
                      </a:cubicBezTo>
                      <a:cubicBezTo>
                        <a:pt x="1064515" y="265081"/>
                        <a:pt x="1065563" y="256889"/>
                        <a:pt x="1071088" y="252984"/>
                      </a:cubicBezTo>
                      <a:cubicBezTo>
                        <a:pt x="1076707" y="249079"/>
                        <a:pt x="1084042" y="249936"/>
                        <a:pt x="1087947" y="255556"/>
                      </a:cubicBezTo>
                      <a:lnTo>
                        <a:pt x="1088709" y="256699"/>
                      </a:lnTo>
                      <a:cubicBezTo>
                        <a:pt x="1092519" y="262319"/>
                        <a:pt x="1091090" y="269939"/>
                        <a:pt x="1085470" y="273749"/>
                      </a:cubicBezTo>
                      <a:cubicBezTo>
                        <a:pt x="1081089" y="276892"/>
                        <a:pt x="1075279" y="276606"/>
                        <a:pt x="1071278" y="273558"/>
                      </a:cubicBezTo>
                      <a:close/>
                      <a:moveTo>
                        <a:pt x="804578" y="62579"/>
                      </a:moveTo>
                      <a:cubicBezTo>
                        <a:pt x="800196" y="59341"/>
                        <a:pt x="798006" y="53340"/>
                        <a:pt x="800101" y="48101"/>
                      </a:cubicBezTo>
                      <a:cubicBezTo>
                        <a:pt x="802578" y="41720"/>
                        <a:pt x="809150" y="38481"/>
                        <a:pt x="815532" y="40862"/>
                      </a:cubicBezTo>
                      <a:lnTo>
                        <a:pt x="816865" y="41339"/>
                      </a:lnTo>
                      <a:cubicBezTo>
                        <a:pt x="823056" y="43910"/>
                        <a:pt x="826200" y="51054"/>
                        <a:pt x="823628" y="57341"/>
                      </a:cubicBezTo>
                      <a:cubicBezTo>
                        <a:pt x="821056" y="63627"/>
                        <a:pt x="813913" y="66675"/>
                        <a:pt x="807626" y="64103"/>
                      </a:cubicBezTo>
                      <a:cubicBezTo>
                        <a:pt x="806483" y="63818"/>
                        <a:pt x="805531" y="63246"/>
                        <a:pt x="804578" y="62579"/>
                      </a:cubicBezTo>
                      <a:close/>
                      <a:moveTo>
                        <a:pt x="1048323" y="242888"/>
                      </a:moveTo>
                      <a:cubicBezTo>
                        <a:pt x="1047466" y="242221"/>
                        <a:pt x="1046704" y="241459"/>
                        <a:pt x="1045942" y="240602"/>
                      </a:cubicBezTo>
                      <a:cubicBezTo>
                        <a:pt x="1041655" y="235363"/>
                        <a:pt x="1042131" y="227171"/>
                        <a:pt x="1047370" y="222885"/>
                      </a:cubicBezTo>
                      <a:cubicBezTo>
                        <a:pt x="1052704" y="218599"/>
                        <a:pt x="1060134" y="219075"/>
                        <a:pt x="1064325" y="224314"/>
                      </a:cubicBezTo>
                      <a:lnTo>
                        <a:pt x="1065182" y="225457"/>
                      </a:lnTo>
                      <a:cubicBezTo>
                        <a:pt x="1069373" y="230791"/>
                        <a:pt x="1068516" y="238506"/>
                        <a:pt x="1063087" y="242697"/>
                      </a:cubicBezTo>
                      <a:cubicBezTo>
                        <a:pt x="1058800" y="246126"/>
                        <a:pt x="1052704" y="246031"/>
                        <a:pt x="1048323" y="242888"/>
                      </a:cubicBezTo>
                      <a:close/>
                      <a:moveTo>
                        <a:pt x="839916" y="77915"/>
                      </a:moveTo>
                      <a:cubicBezTo>
                        <a:pt x="835248" y="74486"/>
                        <a:pt x="833153" y="68009"/>
                        <a:pt x="835629" y="62579"/>
                      </a:cubicBezTo>
                      <a:cubicBezTo>
                        <a:pt x="838487" y="56388"/>
                        <a:pt x="845250" y="53531"/>
                        <a:pt x="851441" y="56388"/>
                      </a:cubicBezTo>
                      <a:cubicBezTo>
                        <a:pt x="851441" y="56388"/>
                        <a:pt x="852298" y="56769"/>
                        <a:pt x="852298" y="56864"/>
                      </a:cubicBezTo>
                      <a:cubicBezTo>
                        <a:pt x="858394" y="59817"/>
                        <a:pt x="861156" y="67247"/>
                        <a:pt x="858299" y="73343"/>
                      </a:cubicBezTo>
                      <a:cubicBezTo>
                        <a:pt x="855346" y="79534"/>
                        <a:pt x="848202" y="82201"/>
                        <a:pt x="842106" y="79248"/>
                      </a:cubicBezTo>
                      <a:cubicBezTo>
                        <a:pt x="841345" y="78772"/>
                        <a:pt x="840583" y="78391"/>
                        <a:pt x="839916" y="77915"/>
                      </a:cubicBezTo>
                      <a:close/>
                      <a:moveTo>
                        <a:pt x="1023558" y="213741"/>
                      </a:moveTo>
                      <a:cubicBezTo>
                        <a:pt x="1022891" y="213265"/>
                        <a:pt x="1022320" y="212789"/>
                        <a:pt x="1021748" y="212122"/>
                      </a:cubicBezTo>
                      <a:cubicBezTo>
                        <a:pt x="1017176" y="207169"/>
                        <a:pt x="1017081" y="198882"/>
                        <a:pt x="1022129" y="194310"/>
                      </a:cubicBezTo>
                      <a:cubicBezTo>
                        <a:pt x="1027082" y="189738"/>
                        <a:pt x="1034607" y="189738"/>
                        <a:pt x="1039083" y="194596"/>
                      </a:cubicBezTo>
                      <a:lnTo>
                        <a:pt x="1039941" y="195548"/>
                      </a:lnTo>
                      <a:cubicBezTo>
                        <a:pt x="1044513" y="200501"/>
                        <a:pt x="1044132" y="208312"/>
                        <a:pt x="1039083" y="212884"/>
                      </a:cubicBezTo>
                      <a:cubicBezTo>
                        <a:pt x="1034702" y="216980"/>
                        <a:pt x="1028130" y="217170"/>
                        <a:pt x="1023558" y="213741"/>
                      </a:cubicBezTo>
                      <a:close/>
                      <a:moveTo>
                        <a:pt x="872968" y="94774"/>
                      </a:moveTo>
                      <a:cubicBezTo>
                        <a:pt x="868110" y="91154"/>
                        <a:pt x="866491" y="84392"/>
                        <a:pt x="869539" y="78962"/>
                      </a:cubicBezTo>
                      <a:cubicBezTo>
                        <a:pt x="872872" y="73057"/>
                        <a:pt x="880302" y="70866"/>
                        <a:pt x="886302" y="74105"/>
                      </a:cubicBezTo>
                      <a:lnTo>
                        <a:pt x="887350" y="74771"/>
                      </a:lnTo>
                      <a:cubicBezTo>
                        <a:pt x="893256" y="78010"/>
                        <a:pt x="895446" y="85535"/>
                        <a:pt x="892113" y="91440"/>
                      </a:cubicBezTo>
                      <a:cubicBezTo>
                        <a:pt x="888779" y="97441"/>
                        <a:pt x="881350" y="99536"/>
                        <a:pt x="875444" y="96203"/>
                      </a:cubicBezTo>
                      <a:lnTo>
                        <a:pt x="874301" y="95631"/>
                      </a:lnTo>
                      <a:cubicBezTo>
                        <a:pt x="873825" y="95441"/>
                        <a:pt x="873444" y="95155"/>
                        <a:pt x="872968" y="94774"/>
                      </a:cubicBezTo>
                      <a:close/>
                      <a:moveTo>
                        <a:pt x="996888" y="186214"/>
                      </a:moveTo>
                      <a:cubicBezTo>
                        <a:pt x="996507" y="185928"/>
                        <a:pt x="996126" y="185642"/>
                        <a:pt x="995745" y="185261"/>
                      </a:cubicBezTo>
                      <a:lnTo>
                        <a:pt x="994697" y="184309"/>
                      </a:lnTo>
                      <a:cubicBezTo>
                        <a:pt x="989839" y="179642"/>
                        <a:pt x="989744" y="171831"/>
                        <a:pt x="994411" y="166973"/>
                      </a:cubicBezTo>
                      <a:cubicBezTo>
                        <a:pt x="999174" y="162116"/>
                        <a:pt x="1006984" y="162116"/>
                        <a:pt x="1011747" y="166688"/>
                      </a:cubicBezTo>
                      <a:lnTo>
                        <a:pt x="1012509" y="167450"/>
                      </a:lnTo>
                      <a:cubicBezTo>
                        <a:pt x="1017462" y="172117"/>
                        <a:pt x="1017748" y="179832"/>
                        <a:pt x="1012985" y="184785"/>
                      </a:cubicBezTo>
                      <a:cubicBezTo>
                        <a:pt x="1008794" y="189357"/>
                        <a:pt x="1001841" y="189929"/>
                        <a:pt x="996888" y="186214"/>
                      </a:cubicBezTo>
                      <a:close/>
                      <a:moveTo>
                        <a:pt x="906686" y="114967"/>
                      </a:moveTo>
                      <a:cubicBezTo>
                        <a:pt x="901543" y="111157"/>
                        <a:pt x="899733" y="103727"/>
                        <a:pt x="903162" y="98298"/>
                      </a:cubicBezTo>
                      <a:cubicBezTo>
                        <a:pt x="906781" y="92488"/>
                        <a:pt x="913925" y="90583"/>
                        <a:pt x="919735" y="94202"/>
                      </a:cubicBezTo>
                      <a:lnTo>
                        <a:pt x="920973" y="94964"/>
                      </a:lnTo>
                      <a:cubicBezTo>
                        <a:pt x="926308" y="98489"/>
                        <a:pt x="928213" y="106299"/>
                        <a:pt x="924498" y="112014"/>
                      </a:cubicBezTo>
                      <a:cubicBezTo>
                        <a:pt x="920783" y="117729"/>
                        <a:pt x="913163" y="119253"/>
                        <a:pt x="907448" y="115538"/>
                      </a:cubicBezTo>
                      <a:cubicBezTo>
                        <a:pt x="907258" y="115348"/>
                        <a:pt x="906972" y="115157"/>
                        <a:pt x="906686" y="114967"/>
                      </a:cubicBezTo>
                      <a:close/>
                      <a:moveTo>
                        <a:pt x="968408" y="160687"/>
                      </a:moveTo>
                      <a:cubicBezTo>
                        <a:pt x="968218" y="160496"/>
                        <a:pt x="967932" y="160306"/>
                        <a:pt x="967741" y="160115"/>
                      </a:cubicBezTo>
                      <a:cubicBezTo>
                        <a:pt x="962502" y="155734"/>
                        <a:pt x="961455" y="147638"/>
                        <a:pt x="965836" y="142494"/>
                      </a:cubicBezTo>
                      <a:cubicBezTo>
                        <a:pt x="970218" y="137255"/>
                        <a:pt x="977552" y="136112"/>
                        <a:pt x="982791" y="140589"/>
                      </a:cubicBezTo>
                      <a:lnTo>
                        <a:pt x="983839" y="141446"/>
                      </a:lnTo>
                      <a:cubicBezTo>
                        <a:pt x="988982" y="145828"/>
                        <a:pt x="989554" y="153638"/>
                        <a:pt x="985172" y="158782"/>
                      </a:cubicBezTo>
                      <a:cubicBezTo>
                        <a:pt x="980886" y="163735"/>
                        <a:pt x="973552" y="164497"/>
                        <a:pt x="968408" y="160687"/>
                      </a:cubicBezTo>
                      <a:close/>
                      <a:moveTo>
                        <a:pt x="938404" y="136874"/>
                      </a:moveTo>
                      <a:lnTo>
                        <a:pt x="937356" y="136112"/>
                      </a:lnTo>
                      <a:cubicBezTo>
                        <a:pt x="931927" y="132112"/>
                        <a:pt x="930784" y="124396"/>
                        <a:pt x="934785" y="118967"/>
                      </a:cubicBezTo>
                      <a:cubicBezTo>
                        <a:pt x="938881" y="113443"/>
                        <a:pt x="946500" y="112300"/>
                        <a:pt x="952025" y="116396"/>
                      </a:cubicBezTo>
                      <a:lnTo>
                        <a:pt x="953073" y="117158"/>
                      </a:lnTo>
                      <a:cubicBezTo>
                        <a:pt x="958502" y="121158"/>
                        <a:pt x="959645" y="128873"/>
                        <a:pt x="955549" y="134398"/>
                      </a:cubicBezTo>
                      <a:cubicBezTo>
                        <a:pt x="951549" y="139827"/>
                        <a:pt x="943833" y="140970"/>
                        <a:pt x="938404" y="136874"/>
                      </a:cubicBezTo>
                      <a:close/>
                    </a:path>
                  </a:pathLst>
                </a:custGeom>
                <a:solidFill>
                  <a:srgbClr val="FF0000"/>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41" name="Google Shape;1241;p11"/>
                <p:cNvSpPr/>
                <p:nvPr/>
              </p:nvSpPr>
              <p:spPr>
                <a:xfrm>
                  <a:off x="5609807" y="3067363"/>
                  <a:ext cx="25350" cy="25281"/>
                </a:xfrm>
                <a:custGeom>
                  <a:avLst/>
                  <a:gdLst/>
                  <a:ahLst/>
                  <a:cxnLst/>
                  <a:rect l="l" t="t" r="r" b="b"/>
                  <a:pathLst>
                    <a:path w="25350" h="25281" extrusionOk="0">
                      <a:moveTo>
                        <a:pt x="22833" y="20166"/>
                      </a:moveTo>
                      <a:cubicBezTo>
                        <a:pt x="18642" y="25785"/>
                        <a:pt x="10736" y="26928"/>
                        <a:pt x="5116" y="22833"/>
                      </a:cubicBezTo>
                      <a:cubicBezTo>
                        <a:pt x="-504" y="18642"/>
                        <a:pt x="-1647" y="10736"/>
                        <a:pt x="2449" y="5116"/>
                      </a:cubicBezTo>
                      <a:cubicBezTo>
                        <a:pt x="6640" y="-504"/>
                        <a:pt x="14546" y="-1647"/>
                        <a:pt x="20166" y="2449"/>
                      </a:cubicBezTo>
                      <a:cubicBezTo>
                        <a:pt x="25881" y="6640"/>
                        <a:pt x="27024" y="14546"/>
                        <a:pt x="22833" y="20166"/>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sp>
            <p:nvSpPr>
              <p:cNvPr id="1242" name="Google Shape;1242;p11"/>
              <p:cNvSpPr/>
              <p:nvPr/>
            </p:nvSpPr>
            <p:spPr>
              <a:xfrm>
                <a:off x="5991760" y="3326389"/>
                <a:ext cx="201832" cy="201860"/>
              </a:xfrm>
              <a:custGeom>
                <a:avLst/>
                <a:gdLst/>
                <a:ahLst/>
                <a:cxnLst/>
                <a:rect l="l" t="t" r="r" b="b"/>
                <a:pathLst>
                  <a:path w="201832" h="201860" extrusionOk="0">
                    <a:moveTo>
                      <a:pt x="181995" y="160998"/>
                    </a:moveTo>
                    <a:cubicBezTo>
                      <a:pt x="148752" y="205861"/>
                      <a:pt x="85601" y="215196"/>
                      <a:pt x="40834" y="181953"/>
                    </a:cubicBezTo>
                    <a:cubicBezTo>
                      <a:pt x="-3933" y="148806"/>
                      <a:pt x="-13363" y="85560"/>
                      <a:pt x="19879" y="40793"/>
                    </a:cubicBezTo>
                    <a:cubicBezTo>
                      <a:pt x="53026" y="-3975"/>
                      <a:pt x="116272" y="-13309"/>
                      <a:pt x="161039" y="19838"/>
                    </a:cubicBezTo>
                    <a:cubicBezTo>
                      <a:pt x="205807" y="52985"/>
                      <a:pt x="215141" y="116231"/>
                      <a:pt x="181995" y="160998"/>
                    </a:cubicBezTo>
                    <a:close/>
                  </a:path>
                </a:pathLst>
              </a:custGeom>
              <a:solidFill>
                <a:srgbClr val="FFFFFF"/>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43" name="Google Shape;1243;p11"/>
            <p:cNvPicPr preferRelativeResize="0"/>
            <p:nvPr/>
          </p:nvPicPr>
          <p:blipFill rotWithShape="1">
            <a:blip r:embed="rId3">
              <a:alphaModFix/>
            </a:blip>
            <a:srcRect/>
            <a:stretch/>
          </p:blipFill>
          <p:spPr>
            <a:xfrm>
              <a:off x="1810496" y="2122917"/>
              <a:ext cx="706950" cy="698701"/>
            </a:xfrm>
            <a:prstGeom prst="rect">
              <a:avLst/>
            </a:prstGeom>
            <a:noFill/>
            <a:ln>
              <a:noFill/>
            </a:ln>
          </p:spPr>
        </p:pic>
        <p:grpSp>
          <p:nvGrpSpPr>
            <p:cNvPr id="1244" name="Google Shape;1244;p11"/>
            <p:cNvGrpSpPr/>
            <p:nvPr/>
          </p:nvGrpSpPr>
          <p:grpSpPr>
            <a:xfrm>
              <a:off x="2729254" y="1928849"/>
              <a:ext cx="558750" cy="556563"/>
              <a:chOff x="5716936" y="3051333"/>
              <a:chExt cx="754761" cy="751808"/>
            </a:xfrm>
          </p:grpSpPr>
          <p:sp>
            <p:nvSpPr>
              <p:cNvPr id="1245" name="Google Shape;1245;p11"/>
              <p:cNvSpPr/>
              <p:nvPr/>
            </p:nvSpPr>
            <p:spPr>
              <a:xfrm>
                <a:off x="5716936" y="3051333"/>
                <a:ext cx="754761" cy="751808"/>
              </a:xfrm>
              <a:custGeom>
                <a:avLst/>
                <a:gdLst/>
                <a:ahLst/>
                <a:cxnLst/>
                <a:rect l="l" t="t"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46" name="Google Shape;1246;p11"/>
              <p:cNvSpPr/>
              <p:nvPr/>
            </p:nvSpPr>
            <p:spPr>
              <a:xfrm>
                <a:off x="5867526" y="3200495"/>
                <a:ext cx="453580" cy="453580"/>
              </a:xfrm>
              <a:custGeom>
                <a:avLst/>
                <a:gdLst/>
                <a:ahLst/>
                <a:cxnLst/>
                <a:rect l="l" t="t"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47" name="Google Shape;1247;p11"/>
            <p:cNvPicPr preferRelativeResize="0"/>
            <p:nvPr/>
          </p:nvPicPr>
          <p:blipFill rotWithShape="1">
            <a:blip r:embed="rId4">
              <a:alphaModFix/>
            </a:blip>
            <a:srcRect/>
            <a:stretch/>
          </p:blipFill>
          <p:spPr>
            <a:xfrm>
              <a:off x="3559249" y="3272907"/>
              <a:ext cx="817597" cy="817597"/>
            </a:xfrm>
            <a:prstGeom prst="rect">
              <a:avLst/>
            </a:prstGeom>
            <a:noFill/>
            <a:ln>
              <a:noFill/>
            </a:ln>
          </p:spPr>
        </p:pic>
        <p:grpSp>
          <p:nvGrpSpPr>
            <p:cNvPr id="1248" name="Google Shape;1248;p11"/>
            <p:cNvGrpSpPr/>
            <p:nvPr/>
          </p:nvGrpSpPr>
          <p:grpSpPr>
            <a:xfrm>
              <a:off x="2405136" y="1976511"/>
              <a:ext cx="298200" cy="298199"/>
              <a:chOff x="5965824" y="3300412"/>
              <a:chExt cx="255746" cy="255746"/>
            </a:xfrm>
          </p:grpSpPr>
          <p:sp>
            <p:nvSpPr>
              <p:cNvPr id="1249" name="Google Shape;1249;p11"/>
              <p:cNvSpPr/>
              <p:nvPr/>
            </p:nvSpPr>
            <p:spPr>
              <a:xfrm>
                <a:off x="5965824" y="3300412"/>
                <a:ext cx="255746" cy="255746"/>
              </a:xfrm>
              <a:custGeom>
                <a:avLst/>
                <a:gdLst/>
                <a:ahLst/>
                <a:cxnLst/>
                <a:rect l="l" t="t"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250" name="Google Shape;1250;p11"/>
              <p:cNvSpPr/>
              <p:nvPr/>
            </p:nvSpPr>
            <p:spPr>
              <a:xfrm>
                <a:off x="5975444" y="3310032"/>
                <a:ext cx="236505" cy="236696"/>
              </a:xfrm>
              <a:custGeom>
                <a:avLst/>
                <a:gdLst/>
                <a:ahLst/>
                <a:cxnLst/>
                <a:rect l="l" t="t"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p:spPr>
            <p:txBody>
              <a:bodyPr spcFirstLastPara="1" wrap="square" lIns="91401" tIns="45688" rIns="91401" bIns="45688" anchor="ctr" anchorCtr="0">
                <a:noAutofit/>
              </a:bodyPr>
              <a:lstStyle/>
              <a:p>
                <a:pPr>
                  <a:buSzPts val="1400"/>
                  <a:defRPr/>
                </a:pPr>
                <a:endParaRPr sz="1799"/>
              </a:p>
            </p:txBody>
          </p:sp>
          <p:grpSp>
            <p:nvGrpSpPr>
              <p:cNvPr id="1251" name="Google Shape;1251;p11"/>
              <p:cNvGrpSpPr/>
              <p:nvPr/>
            </p:nvGrpSpPr>
            <p:grpSpPr>
              <a:xfrm>
                <a:off x="6014782" y="3349370"/>
                <a:ext cx="157734" cy="157734"/>
                <a:chOff x="6014782" y="3349370"/>
                <a:chExt cx="157734" cy="157734"/>
              </a:xfrm>
            </p:grpSpPr>
            <p:sp>
              <p:nvSpPr>
                <p:cNvPr id="1252" name="Google Shape;1252;p11"/>
                <p:cNvSpPr/>
                <p:nvPr/>
              </p:nvSpPr>
              <p:spPr>
                <a:xfrm>
                  <a:off x="6087934" y="3349370"/>
                  <a:ext cx="11620" cy="157734"/>
                </a:xfrm>
                <a:custGeom>
                  <a:avLst/>
                  <a:gdLst/>
                  <a:ahLst/>
                  <a:cxnLst/>
                  <a:rect l="l" t="t" r="r" b="b"/>
                  <a:pathLst>
                    <a:path w="11620" h="157734" extrusionOk="0">
                      <a:moveTo>
                        <a:pt x="0" y="0"/>
                      </a:moveTo>
                      <a:lnTo>
                        <a:pt x="11621" y="0"/>
                      </a:lnTo>
                      <a:lnTo>
                        <a:pt x="11621" y="157734"/>
                      </a:lnTo>
                      <a:lnTo>
                        <a:pt x="0" y="157734"/>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253" name="Google Shape;1253;p11"/>
                <p:cNvSpPr/>
                <p:nvPr/>
              </p:nvSpPr>
              <p:spPr>
                <a:xfrm>
                  <a:off x="6014782" y="3422522"/>
                  <a:ext cx="157734" cy="11525"/>
                </a:xfrm>
                <a:custGeom>
                  <a:avLst/>
                  <a:gdLst/>
                  <a:ahLst/>
                  <a:cxnLst/>
                  <a:rect l="l" t="t" r="r" b="b"/>
                  <a:pathLst>
                    <a:path w="157734" h="11525" extrusionOk="0">
                      <a:moveTo>
                        <a:pt x="0" y="0"/>
                      </a:moveTo>
                      <a:lnTo>
                        <a:pt x="157734" y="0"/>
                      </a:lnTo>
                      <a:lnTo>
                        <a:pt x="157734" y="11525"/>
                      </a:lnTo>
                      <a:lnTo>
                        <a:pt x="0" y="11525"/>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sp>
            <p:nvSpPr>
              <p:cNvPr id="1254" name="Google Shape;1254;p11"/>
              <p:cNvSpPr/>
              <p:nvPr/>
            </p:nvSpPr>
            <p:spPr>
              <a:xfrm>
                <a:off x="6003543" y="3338131"/>
                <a:ext cx="180212" cy="180212"/>
              </a:xfrm>
              <a:custGeom>
                <a:avLst/>
                <a:gdLst/>
                <a:ahLst/>
                <a:cxnLst/>
                <a:rect l="l" t="t"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lt1"/>
              </a:solidFill>
              <a:ln>
                <a:noFill/>
              </a:ln>
            </p:spPr>
            <p:txBody>
              <a:bodyPr spcFirstLastPara="1" wrap="square" lIns="91401" tIns="45688" rIns="91401" bIns="45688" anchor="ctr" anchorCtr="0">
                <a:noAutofit/>
              </a:bodyPr>
              <a:lstStyle/>
              <a:p>
                <a:pPr>
                  <a:buSzPts val="1400"/>
                  <a:defRPr/>
                </a:pPr>
                <a:endParaRPr sz="1799"/>
              </a:p>
            </p:txBody>
          </p:sp>
          <p:sp>
            <p:nvSpPr>
              <p:cNvPr id="1255" name="Google Shape;1255;p11"/>
              <p:cNvSpPr/>
              <p:nvPr/>
            </p:nvSpPr>
            <p:spPr>
              <a:xfrm>
                <a:off x="6033165" y="3367753"/>
                <a:ext cx="120967" cy="120967"/>
              </a:xfrm>
              <a:custGeom>
                <a:avLst/>
                <a:gdLst/>
                <a:ahLst/>
                <a:cxnLst/>
                <a:rect l="l" t="t"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pic>
          <p:nvPicPr>
            <p:cNvPr id="1256" name="Google Shape;1256;p11"/>
            <p:cNvPicPr preferRelativeResize="0"/>
            <p:nvPr/>
          </p:nvPicPr>
          <p:blipFill rotWithShape="1">
            <a:blip r:embed="rId5">
              <a:alphaModFix/>
            </a:blip>
            <a:srcRect/>
            <a:stretch/>
          </p:blipFill>
          <p:spPr>
            <a:xfrm>
              <a:off x="4312685" y="3245424"/>
              <a:ext cx="219075" cy="209550"/>
            </a:xfrm>
            <a:prstGeom prst="rect">
              <a:avLst/>
            </a:prstGeom>
            <a:noFill/>
            <a:ln>
              <a:noFill/>
            </a:ln>
          </p:spPr>
        </p:pic>
        <p:grpSp>
          <p:nvGrpSpPr>
            <p:cNvPr id="1257" name="Google Shape;1257;p11"/>
            <p:cNvGrpSpPr/>
            <p:nvPr/>
          </p:nvGrpSpPr>
          <p:grpSpPr>
            <a:xfrm>
              <a:off x="3064219" y="4699698"/>
              <a:ext cx="326001" cy="310300"/>
              <a:chOff x="6173853" y="2205325"/>
              <a:chExt cx="691999" cy="658671"/>
            </a:xfrm>
          </p:grpSpPr>
          <p:sp>
            <p:nvSpPr>
              <p:cNvPr id="1258" name="Google Shape;1258;p11"/>
              <p:cNvSpPr/>
              <p:nvPr/>
            </p:nvSpPr>
            <p:spPr>
              <a:xfrm>
                <a:off x="6173853" y="2205325"/>
                <a:ext cx="691999" cy="658671"/>
              </a:xfrm>
              <a:custGeom>
                <a:avLst/>
                <a:gdLst/>
                <a:ahLst/>
                <a:cxnLst/>
                <a:rect l="l" t="t"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302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59" name="Google Shape;1259;p11"/>
              <p:cNvSpPr/>
              <p:nvPr/>
            </p:nvSpPr>
            <p:spPr>
              <a:xfrm>
                <a:off x="6290802" y="2316517"/>
                <a:ext cx="458707" cy="436286"/>
              </a:xfrm>
              <a:custGeom>
                <a:avLst/>
                <a:gdLst/>
                <a:ahLst/>
                <a:cxnLst/>
                <a:rect l="l" t="t"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302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60" name="Google Shape;1260;p11"/>
            <p:cNvGrpSpPr/>
            <p:nvPr/>
          </p:nvGrpSpPr>
          <p:grpSpPr>
            <a:xfrm>
              <a:off x="2847158" y="4239346"/>
              <a:ext cx="205219" cy="204417"/>
              <a:chOff x="5716936" y="3051333"/>
              <a:chExt cx="754761" cy="751808"/>
            </a:xfrm>
          </p:grpSpPr>
          <p:sp>
            <p:nvSpPr>
              <p:cNvPr id="1261" name="Google Shape;1261;p11"/>
              <p:cNvSpPr/>
              <p:nvPr/>
            </p:nvSpPr>
            <p:spPr>
              <a:xfrm>
                <a:off x="5716936" y="3051333"/>
                <a:ext cx="754761" cy="751808"/>
              </a:xfrm>
              <a:custGeom>
                <a:avLst/>
                <a:gdLst/>
                <a:ahLst/>
                <a:cxnLst/>
                <a:rect l="l" t="t"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62" name="Google Shape;1262;p11"/>
              <p:cNvSpPr/>
              <p:nvPr/>
            </p:nvSpPr>
            <p:spPr>
              <a:xfrm>
                <a:off x="5867526" y="3200495"/>
                <a:ext cx="453580" cy="453580"/>
              </a:xfrm>
              <a:custGeom>
                <a:avLst/>
                <a:gdLst/>
                <a:ahLst/>
                <a:cxnLst/>
                <a:rect l="l" t="t"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63" name="Google Shape;1263;p11"/>
            <p:cNvPicPr preferRelativeResize="0"/>
            <p:nvPr/>
          </p:nvPicPr>
          <p:blipFill rotWithShape="1">
            <a:blip r:embed="rId3">
              <a:alphaModFix/>
            </a:blip>
            <a:srcRect/>
            <a:stretch/>
          </p:blipFill>
          <p:spPr>
            <a:xfrm>
              <a:off x="3849120" y="4121410"/>
              <a:ext cx="188823" cy="186619"/>
            </a:xfrm>
            <a:prstGeom prst="rect">
              <a:avLst/>
            </a:prstGeom>
            <a:noFill/>
            <a:ln>
              <a:noFill/>
            </a:ln>
          </p:spPr>
        </p:pic>
        <p:grpSp>
          <p:nvGrpSpPr>
            <p:cNvPr id="1264" name="Google Shape;1264;p11"/>
            <p:cNvGrpSpPr/>
            <p:nvPr/>
          </p:nvGrpSpPr>
          <p:grpSpPr>
            <a:xfrm>
              <a:off x="3084498" y="3952778"/>
              <a:ext cx="738441" cy="717746"/>
              <a:chOff x="3003957" y="3390032"/>
              <a:chExt cx="742600" cy="721788"/>
            </a:xfrm>
          </p:grpSpPr>
          <p:sp>
            <p:nvSpPr>
              <p:cNvPr id="1265" name="Google Shape;1265;p11"/>
              <p:cNvSpPr/>
              <p:nvPr/>
            </p:nvSpPr>
            <p:spPr>
              <a:xfrm>
                <a:off x="3024769" y="3390032"/>
                <a:ext cx="721788" cy="721788"/>
              </a:xfrm>
              <a:custGeom>
                <a:avLst/>
                <a:gdLst/>
                <a:ahLst/>
                <a:cxnLst/>
                <a:rect l="l" t="t" r="r" b="b"/>
                <a:pathLst>
                  <a:path w="721788" h="721788" extrusionOk="0">
                    <a:moveTo>
                      <a:pt x="721788" y="360894"/>
                    </a:moveTo>
                    <a:cubicBezTo>
                      <a:pt x="721788" y="560118"/>
                      <a:pt x="560268" y="721789"/>
                      <a:pt x="360894" y="721789"/>
                    </a:cubicBezTo>
                    <a:cubicBezTo>
                      <a:pt x="161671" y="721789"/>
                      <a:pt x="0" y="560268"/>
                      <a:pt x="0" y="360894"/>
                    </a:cubicBezTo>
                    <a:cubicBezTo>
                      <a:pt x="151" y="161520"/>
                      <a:pt x="161822" y="0"/>
                      <a:pt x="361045" y="0"/>
                    </a:cubicBezTo>
                    <a:cubicBezTo>
                      <a:pt x="560268" y="0"/>
                      <a:pt x="721788" y="161520"/>
                      <a:pt x="721788" y="360894"/>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66" name="Google Shape;1266;p11"/>
              <p:cNvSpPr/>
              <p:nvPr/>
            </p:nvSpPr>
            <p:spPr>
              <a:xfrm>
                <a:off x="3041961" y="3407073"/>
                <a:ext cx="687704" cy="687704"/>
              </a:xfrm>
              <a:custGeom>
                <a:avLst/>
                <a:gdLst/>
                <a:ahLst/>
                <a:cxnLst/>
                <a:rect l="l" t="t" r="r" b="b"/>
                <a:pathLst>
                  <a:path w="687704" h="687704" extrusionOk="0">
                    <a:moveTo>
                      <a:pt x="687705" y="343853"/>
                    </a:moveTo>
                    <a:cubicBezTo>
                      <a:pt x="687705" y="533725"/>
                      <a:pt x="533725" y="687705"/>
                      <a:pt x="343852" y="687705"/>
                    </a:cubicBezTo>
                    <a:cubicBezTo>
                      <a:pt x="153980" y="687705"/>
                      <a:pt x="0" y="533725"/>
                      <a:pt x="0" y="343853"/>
                    </a:cubicBezTo>
                    <a:cubicBezTo>
                      <a:pt x="0" y="153980"/>
                      <a:pt x="153980" y="0"/>
                      <a:pt x="343852" y="0"/>
                    </a:cubicBezTo>
                    <a:cubicBezTo>
                      <a:pt x="533725" y="0"/>
                      <a:pt x="687705" y="153980"/>
                      <a:pt x="687705" y="343853"/>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67" name="Google Shape;1267;p11"/>
              <p:cNvSpPr/>
              <p:nvPr/>
            </p:nvSpPr>
            <p:spPr>
              <a:xfrm>
                <a:off x="3151451" y="3516563"/>
                <a:ext cx="468725" cy="468725"/>
              </a:xfrm>
              <a:custGeom>
                <a:avLst/>
                <a:gdLst/>
                <a:ahLst/>
                <a:cxnLst/>
                <a:rect l="l" t="t" r="r" b="b"/>
                <a:pathLst>
                  <a:path w="468725" h="468725" extrusionOk="0">
                    <a:moveTo>
                      <a:pt x="468725" y="234363"/>
                    </a:moveTo>
                    <a:cubicBezTo>
                      <a:pt x="468725" y="363760"/>
                      <a:pt x="363760" y="468725"/>
                      <a:pt x="234363" y="468725"/>
                    </a:cubicBezTo>
                    <a:cubicBezTo>
                      <a:pt x="104965" y="468725"/>
                      <a:pt x="0" y="363760"/>
                      <a:pt x="0" y="234363"/>
                    </a:cubicBezTo>
                    <a:cubicBezTo>
                      <a:pt x="0" y="104815"/>
                      <a:pt x="104965" y="0"/>
                      <a:pt x="234363" y="0"/>
                    </a:cubicBezTo>
                    <a:cubicBezTo>
                      <a:pt x="363760" y="-151"/>
                      <a:pt x="468725" y="104815"/>
                      <a:pt x="468725" y="234363"/>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68" name="Google Shape;1268;p11"/>
              <p:cNvSpPr/>
              <p:nvPr/>
            </p:nvSpPr>
            <p:spPr>
              <a:xfrm>
                <a:off x="3263203" y="3628315"/>
                <a:ext cx="245221" cy="245221"/>
              </a:xfrm>
              <a:custGeom>
                <a:avLst/>
                <a:gdLst/>
                <a:ahLst/>
                <a:cxnLst/>
                <a:rect l="l" t="t" r="r" b="b"/>
                <a:pathLst>
                  <a:path w="245221" h="245221" extrusionOk="0">
                    <a:moveTo>
                      <a:pt x="245221" y="122611"/>
                    </a:moveTo>
                    <a:cubicBezTo>
                      <a:pt x="245221" y="190326"/>
                      <a:pt x="190325" y="245221"/>
                      <a:pt x="122611" y="245221"/>
                    </a:cubicBezTo>
                    <a:cubicBezTo>
                      <a:pt x="54896" y="245221"/>
                      <a:pt x="0" y="190326"/>
                      <a:pt x="0" y="122611"/>
                    </a:cubicBezTo>
                    <a:cubicBezTo>
                      <a:pt x="0" y="54896"/>
                      <a:pt x="54896" y="0"/>
                      <a:pt x="122611" y="0"/>
                    </a:cubicBezTo>
                    <a:cubicBezTo>
                      <a:pt x="190325" y="-151"/>
                      <a:pt x="245221" y="54745"/>
                      <a:pt x="245221" y="122611"/>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69" name="Google Shape;1269;p11"/>
              <p:cNvSpPr/>
              <p:nvPr/>
            </p:nvSpPr>
            <p:spPr>
              <a:xfrm>
                <a:off x="3292310" y="3657422"/>
                <a:ext cx="187007" cy="187007"/>
              </a:xfrm>
              <a:custGeom>
                <a:avLst/>
                <a:gdLst/>
                <a:ahLst/>
                <a:cxnLst/>
                <a:rect l="l" t="t" r="r" b="b"/>
                <a:pathLst>
                  <a:path w="187007" h="187007" extrusionOk="0">
                    <a:moveTo>
                      <a:pt x="187007" y="93504"/>
                    </a:moveTo>
                    <a:cubicBezTo>
                      <a:pt x="187007" y="145082"/>
                      <a:pt x="145082" y="187008"/>
                      <a:pt x="93504" y="187008"/>
                    </a:cubicBezTo>
                    <a:cubicBezTo>
                      <a:pt x="41926" y="187008"/>
                      <a:pt x="0" y="145082"/>
                      <a:pt x="0" y="93504"/>
                    </a:cubicBezTo>
                    <a:cubicBezTo>
                      <a:pt x="0" y="41926"/>
                      <a:pt x="41926" y="0"/>
                      <a:pt x="93504" y="0"/>
                    </a:cubicBezTo>
                    <a:cubicBezTo>
                      <a:pt x="145082" y="0"/>
                      <a:pt x="187007" y="41775"/>
                      <a:pt x="187007" y="93504"/>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0" name="Google Shape;1270;p11"/>
              <p:cNvSpPr/>
              <p:nvPr/>
            </p:nvSpPr>
            <p:spPr>
              <a:xfrm>
                <a:off x="3314932" y="3680195"/>
                <a:ext cx="141462" cy="141462"/>
              </a:xfrm>
              <a:custGeom>
                <a:avLst/>
                <a:gdLst/>
                <a:ahLst/>
                <a:cxnLst/>
                <a:rect l="l" t="t" r="r" b="b"/>
                <a:pathLst>
                  <a:path w="141462" h="141462" extrusionOk="0">
                    <a:moveTo>
                      <a:pt x="141462" y="70731"/>
                    </a:moveTo>
                    <a:cubicBezTo>
                      <a:pt x="141462" y="109792"/>
                      <a:pt x="109791" y="141462"/>
                      <a:pt x="70731" y="141462"/>
                    </a:cubicBezTo>
                    <a:cubicBezTo>
                      <a:pt x="31671" y="141462"/>
                      <a:pt x="0" y="109792"/>
                      <a:pt x="0" y="70731"/>
                    </a:cubicBezTo>
                    <a:cubicBezTo>
                      <a:pt x="0" y="31671"/>
                      <a:pt x="31671" y="0"/>
                      <a:pt x="70731" y="0"/>
                    </a:cubicBezTo>
                    <a:cubicBezTo>
                      <a:pt x="109791" y="0"/>
                      <a:pt x="141462" y="31671"/>
                      <a:pt x="141462" y="70731"/>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1" name="Google Shape;1271;p11"/>
              <p:cNvSpPr/>
              <p:nvPr/>
            </p:nvSpPr>
            <p:spPr>
              <a:xfrm>
                <a:off x="3349317" y="3539336"/>
                <a:ext cx="72993" cy="72993"/>
              </a:xfrm>
              <a:custGeom>
                <a:avLst/>
                <a:gdLst/>
                <a:ahLst/>
                <a:cxnLst/>
                <a:rect l="l" t="t" r="r" b="b"/>
                <a:pathLst>
                  <a:path w="72993" h="72993" extrusionOk="0">
                    <a:moveTo>
                      <a:pt x="72993" y="36497"/>
                    </a:moveTo>
                    <a:cubicBezTo>
                      <a:pt x="72993" y="56706"/>
                      <a:pt x="56705" y="72993"/>
                      <a:pt x="36497" y="72993"/>
                    </a:cubicBezTo>
                    <a:cubicBezTo>
                      <a:pt x="16288" y="72993"/>
                      <a:pt x="0" y="56706"/>
                      <a:pt x="0" y="36497"/>
                    </a:cubicBezTo>
                    <a:cubicBezTo>
                      <a:pt x="0" y="16288"/>
                      <a:pt x="16288" y="0"/>
                      <a:pt x="36497" y="0"/>
                    </a:cubicBezTo>
                    <a:cubicBezTo>
                      <a:pt x="56555" y="0"/>
                      <a:pt x="72993" y="16439"/>
                      <a:pt x="72993" y="36497"/>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2" name="Google Shape;1272;p11"/>
              <p:cNvSpPr/>
              <p:nvPr/>
            </p:nvSpPr>
            <p:spPr>
              <a:xfrm>
                <a:off x="3349317" y="3889372"/>
                <a:ext cx="72993" cy="72993"/>
              </a:xfrm>
              <a:custGeom>
                <a:avLst/>
                <a:gdLst/>
                <a:ahLst/>
                <a:cxnLst/>
                <a:rect l="l" t="t" r="r" b="b"/>
                <a:pathLst>
                  <a:path w="72993" h="72993" extrusionOk="0">
                    <a:moveTo>
                      <a:pt x="72993" y="36497"/>
                    </a:moveTo>
                    <a:cubicBezTo>
                      <a:pt x="72993" y="56705"/>
                      <a:pt x="56705" y="72993"/>
                      <a:pt x="36497" y="72993"/>
                    </a:cubicBezTo>
                    <a:cubicBezTo>
                      <a:pt x="16288" y="72993"/>
                      <a:pt x="0" y="56705"/>
                      <a:pt x="0" y="36497"/>
                    </a:cubicBezTo>
                    <a:cubicBezTo>
                      <a:pt x="0" y="16439"/>
                      <a:pt x="16288" y="0"/>
                      <a:pt x="36497" y="0"/>
                    </a:cubicBezTo>
                    <a:cubicBezTo>
                      <a:pt x="56555" y="0"/>
                      <a:pt x="72993" y="16288"/>
                      <a:pt x="72993" y="36497"/>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3" name="Google Shape;1273;p11"/>
              <p:cNvSpPr/>
              <p:nvPr/>
            </p:nvSpPr>
            <p:spPr>
              <a:xfrm>
                <a:off x="3197940" y="3626884"/>
                <a:ext cx="72810" cy="72922"/>
              </a:xfrm>
              <a:custGeom>
                <a:avLst/>
                <a:gdLst/>
                <a:ahLst/>
                <a:cxnLst/>
                <a:rect l="l" t="t" r="r" b="b"/>
                <a:pathLst>
                  <a:path w="72810" h="72922" extrusionOk="0">
                    <a:moveTo>
                      <a:pt x="54555" y="4900"/>
                    </a:moveTo>
                    <a:cubicBezTo>
                      <a:pt x="72049" y="15004"/>
                      <a:pt x="77931" y="37324"/>
                      <a:pt x="67978" y="54668"/>
                    </a:cubicBezTo>
                    <a:cubicBezTo>
                      <a:pt x="57873" y="72162"/>
                      <a:pt x="35553" y="78044"/>
                      <a:pt x="18209" y="68090"/>
                    </a:cubicBezTo>
                    <a:cubicBezTo>
                      <a:pt x="715" y="57986"/>
                      <a:pt x="-5166" y="35665"/>
                      <a:pt x="4938" y="18322"/>
                    </a:cubicBezTo>
                    <a:cubicBezTo>
                      <a:pt x="14741" y="828"/>
                      <a:pt x="37061" y="-5205"/>
                      <a:pt x="54555" y="4900"/>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4" name="Google Shape;1274;p11"/>
              <p:cNvSpPr/>
              <p:nvPr/>
            </p:nvSpPr>
            <p:spPr>
              <a:xfrm>
                <a:off x="3500922" y="3801939"/>
                <a:ext cx="72915" cy="72915"/>
              </a:xfrm>
              <a:custGeom>
                <a:avLst/>
                <a:gdLst/>
                <a:ahLst/>
                <a:cxnLst/>
                <a:rect l="l" t="t" r="r" b="b"/>
                <a:pathLst>
                  <a:path w="72915" h="72915" extrusionOk="0">
                    <a:moveTo>
                      <a:pt x="54706" y="4938"/>
                    </a:moveTo>
                    <a:cubicBezTo>
                      <a:pt x="72200" y="15042"/>
                      <a:pt x="78082" y="37212"/>
                      <a:pt x="67978" y="54706"/>
                    </a:cubicBezTo>
                    <a:cubicBezTo>
                      <a:pt x="57873" y="72200"/>
                      <a:pt x="35553" y="78082"/>
                      <a:pt x="18209" y="67978"/>
                    </a:cubicBezTo>
                    <a:cubicBezTo>
                      <a:pt x="715" y="57873"/>
                      <a:pt x="-5166" y="35704"/>
                      <a:pt x="4938" y="18209"/>
                    </a:cubicBezTo>
                    <a:cubicBezTo>
                      <a:pt x="14892" y="715"/>
                      <a:pt x="37212" y="-5166"/>
                      <a:pt x="54706" y="493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5" name="Google Shape;1275;p11"/>
              <p:cNvSpPr/>
              <p:nvPr/>
            </p:nvSpPr>
            <p:spPr>
              <a:xfrm>
                <a:off x="3500955" y="3626879"/>
                <a:ext cx="72849" cy="72994"/>
              </a:xfrm>
              <a:custGeom>
                <a:avLst/>
                <a:gdLst/>
                <a:ahLst/>
                <a:cxnLst/>
                <a:rect l="l" t="t" r="r" b="b"/>
                <a:pathLst>
                  <a:path w="72849" h="72994" extrusionOk="0">
                    <a:moveTo>
                      <a:pt x="54673" y="68095"/>
                    </a:moveTo>
                    <a:cubicBezTo>
                      <a:pt x="37179" y="78200"/>
                      <a:pt x="15009" y="72167"/>
                      <a:pt x="4905" y="54673"/>
                    </a:cubicBezTo>
                    <a:cubicBezTo>
                      <a:pt x="-5200" y="37179"/>
                      <a:pt x="833" y="15009"/>
                      <a:pt x="18176" y="4905"/>
                    </a:cubicBezTo>
                    <a:cubicBezTo>
                      <a:pt x="35671" y="-5200"/>
                      <a:pt x="57840" y="833"/>
                      <a:pt x="67945" y="18176"/>
                    </a:cubicBezTo>
                    <a:cubicBezTo>
                      <a:pt x="78049" y="35671"/>
                      <a:pt x="72016" y="57991"/>
                      <a:pt x="54673" y="68095"/>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6" name="Google Shape;1276;p11"/>
              <p:cNvSpPr/>
              <p:nvPr/>
            </p:nvSpPr>
            <p:spPr>
              <a:xfrm>
                <a:off x="3197822" y="3801827"/>
                <a:ext cx="72882" cy="72989"/>
              </a:xfrm>
              <a:custGeom>
                <a:avLst/>
                <a:gdLst/>
                <a:ahLst/>
                <a:cxnLst/>
                <a:rect l="l" t="t" r="r" b="b"/>
                <a:pathLst>
                  <a:path w="72882" h="72989" extrusionOk="0">
                    <a:moveTo>
                      <a:pt x="54673" y="68090"/>
                    </a:moveTo>
                    <a:cubicBezTo>
                      <a:pt x="37179" y="78194"/>
                      <a:pt x="14859" y="72162"/>
                      <a:pt x="4905" y="54668"/>
                    </a:cubicBezTo>
                    <a:cubicBezTo>
                      <a:pt x="-5200" y="37173"/>
                      <a:pt x="833" y="15004"/>
                      <a:pt x="18176" y="4900"/>
                    </a:cubicBezTo>
                    <a:cubicBezTo>
                      <a:pt x="35671" y="-5205"/>
                      <a:pt x="57991" y="828"/>
                      <a:pt x="67945" y="18322"/>
                    </a:cubicBezTo>
                    <a:cubicBezTo>
                      <a:pt x="78049" y="35665"/>
                      <a:pt x="72167" y="57986"/>
                      <a:pt x="54673" y="68090"/>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7" name="Google Shape;1277;p11"/>
              <p:cNvSpPr/>
              <p:nvPr/>
            </p:nvSpPr>
            <p:spPr>
              <a:xfrm>
                <a:off x="3367565" y="3557584"/>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8" name="Google Shape;1278;p11"/>
              <p:cNvSpPr/>
              <p:nvPr/>
            </p:nvSpPr>
            <p:spPr>
              <a:xfrm>
                <a:off x="3519132" y="3645055"/>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79" name="Google Shape;1279;p11"/>
              <p:cNvSpPr/>
              <p:nvPr/>
            </p:nvSpPr>
            <p:spPr>
              <a:xfrm>
                <a:off x="3519132" y="3820149"/>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0"/>
                      <a:pt x="36497" y="8144"/>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0" name="Google Shape;1280;p11"/>
              <p:cNvSpPr/>
              <p:nvPr/>
            </p:nvSpPr>
            <p:spPr>
              <a:xfrm>
                <a:off x="3367565" y="3907620"/>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1" name="Google Shape;1281;p11"/>
              <p:cNvSpPr/>
              <p:nvPr/>
            </p:nvSpPr>
            <p:spPr>
              <a:xfrm>
                <a:off x="3215999" y="3820149"/>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2" name="Google Shape;1282;p11"/>
              <p:cNvSpPr/>
              <p:nvPr/>
            </p:nvSpPr>
            <p:spPr>
              <a:xfrm>
                <a:off x="3215999" y="3645055"/>
                <a:ext cx="36496" cy="36496"/>
              </a:xfrm>
              <a:custGeom>
                <a:avLst/>
                <a:gdLst/>
                <a:ahLst/>
                <a:cxnLst/>
                <a:rect l="l" t="t"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151"/>
                      <a:pt x="36497" y="8295"/>
                      <a:pt x="36497" y="18248"/>
                    </a:cubicBez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3" name="Google Shape;1283;p11"/>
              <p:cNvSpPr/>
              <p:nvPr/>
            </p:nvSpPr>
            <p:spPr>
              <a:xfrm>
                <a:off x="3003957" y="3514753"/>
                <a:ext cx="289107" cy="590883"/>
              </a:xfrm>
              <a:custGeom>
                <a:avLst/>
                <a:gdLst/>
                <a:ahLst/>
                <a:cxnLst/>
                <a:rect l="l" t="t" r="r" b="b"/>
                <a:pathLst>
                  <a:path w="289107" h="590883" extrusionOk="0">
                    <a:moveTo>
                      <a:pt x="131207" y="236172"/>
                    </a:moveTo>
                    <a:cubicBezTo>
                      <a:pt x="131207" y="177657"/>
                      <a:pt x="151416" y="123968"/>
                      <a:pt x="185047" y="81288"/>
                    </a:cubicBezTo>
                    <a:lnTo>
                      <a:pt x="81740" y="0"/>
                    </a:lnTo>
                    <a:cubicBezTo>
                      <a:pt x="30615" y="65151"/>
                      <a:pt x="0" y="147042"/>
                      <a:pt x="0" y="236172"/>
                    </a:cubicBezTo>
                    <a:cubicBezTo>
                      <a:pt x="0" y="397089"/>
                      <a:pt x="99536" y="534630"/>
                      <a:pt x="240395" y="590883"/>
                    </a:cubicBezTo>
                    <a:lnTo>
                      <a:pt x="289107" y="468876"/>
                    </a:lnTo>
                    <a:cubicBezTo>
                      <a:pt x="196659" y="431776"/>
                      <a:pt x="131207" y="341741"/>
                      <a:pt x="131207" y="236172"/>
                    </a:cubicBezTo>
                    <a:close/>
                    <a:moveTo>
                      <a:pt x="119293" y="66659"/>
                    </a:moveTo>
                    <a:lnTo>
                      <a:pt x="145232" y="87019"/>
                    </a:lnTo>
                    <a:cubicBezTo>
                      <a:pt x="131207" y="109188"/>
                      <a:pt x="120499" y="132866"/>
                      <a:pt x="113260" y="157599"/>
                    </a:cubicBezTo>
                    <a:lnTo>
                      <a:pt x="81439" y="150058"/>
                    </a:lnTo>
                    <a:cubicBezTo>
                      <a:pt x="90035" y="120348"/>
                      <a:pt x="102854" y="92146"/>
                      <a:pt x="119293" y="66659"/>
                    </a:cubicBezTo>
                    <a:close/>
                    <a:moveTo>
                      <a:pt x="69223" y="236172"/>
                    </a:moveTo>
                    <a:cubicBezTo>
                      <a:pt x="69223" y="216567"/>
                      <a:pt x="71183" y="197414"/>
                      <a:pt x="74803" y="178713"/>
                    </a:cubicBezTo>
                    <a:lnTo>
                      <a:pt x="106775" y="186253"/>
                    </a:lnTo>
                    <a:cubicBezTo>
                      <a:pt x="103910" y="202541"/>
                      <a:pt x="102251" y="219281"/>
                      <a:pt x="102251" y="236172"/>
                    </a:cubicBezTo>
                    <a:cubicBezTo>
                      <a:pt x="102251" y="286695"/>
                      <a:pt x="115673" y="334502"/>
                      <a:pt x="139652" y="375976"/>
                    </a:cubicBezTo>
                    <a:lnTo>
                      <a:pt x="112355" y="393771"/>
                    </a:lnTo>
                    <a:cubicBezTo>
                      <a:pt x="84907" y="347472"/>
                      <a:pt x="69223" y="293632"/>
                      <a:pt x="69223" y="236172"/>
                    </a:cubicBezTo>
                    <a:close/>
                    <a:moveTo>
                      <a:pt x="239490" y="514271"/>
                    </a:moveTo>
                    <a:cubicBezTo>
                      <a:pt x="195151" y="491498"/>
                      <a:pt x="156845" y="458470"/>
                      <a:pt x="127889" y="418203"/>
                    </a:cubicBezTo>
                    <a:lnTo>
                      <a:pt x="155337" y="400407"/>
                    </a:lnTo>
                    <a:cubicBezTo>
                      <a:pt x="180221" y="434642"/>
                      <a:pt x="212796" y="463296"/>
                      <a:pt x="251706" y="483656"/>
                    </a:cubicBezTo>
                    <a:lnTo>
                      <a:pt x="239490" y="514271"/>
                    </a:ln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4" name="Google Shape;1284;p11"/>
              <p:cNvSpPr/>
              <p:nvPr/>
            </p:nvSpPr>
            <p:spPr>
              <a:xfrm>
                <a:off x="3003957" y="3514904"/>
                <a:ext cx="244919" cy="590732"/>
              </a:xfrm>
              <a:custGeom>
                <a:avLst/>
                <a:gdLst/>
                <a:ahLst/>
                <a:cxnLst/>
                <a:rect l="l" t="t" r="r" b="b"/>
                <a:pathLst>
                  <a:path w="244919" h="590732" extrusionOk="0">
                    <a:moveTo>
                      <a:pt x="244919" y="579271"/>
                    </a:moveTo>
                    <a:cubicBezTo>
                      <a:pt x="108585" y="524828"/>
                      <a:pt x="12216" y="391660"/>
                      <a:pt x="12216" y="236022"/>
                    </a:cubicBezTo>
                    <a:cubicBezTo>
                      <a:pt x="12216" y="149757"/>
                      <a:pt x="41926" y="70429"/>
                      <a:pt x="91392" y="7541"/>
                    </a:cubicBezTo>
                    <a:lnTo>
                      <a:pt x="81891" y="0"/>
                    </a:lnTo>
                    <a:cubicBezTo>
                      <a:pt x="30615" y="65000"/>
                      <a:pt x="0" y="146891"/>
                      <a:pt x="0" y="236022"/>
                    </a:cubicBezTo>
                    <a:cubicBezTo>
                      <a:pt x="0" y="396938"/>
                      <a:pt x="99536" y="534480"/>
                      <a:pt x="240395" y="590733"/>
                    </a:cubicBezTo>
                    <a:lnTo>
                      <a:pt x="244919" y="579271"/>
                    </a:lnTo>
                    <a:close/>
                  </a:path>
                </a:pathLst>
              </a:custGeom>
              <a:solidFill>
                <a:schemeClr val="lt1"/>
              </a:solidFill>
              <a:ln w="1495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85" name="Google Shape;1285;p11"/>
            <p:cNvPicPr preferRelativeResize="0"/>
            <p:nvPr/>
          </p:nvPicPr>
          <p:blipFill rotWithShape="1">
            <a:blip r:embed="rId4">
              <a:alphaModFix/>
            </a:blip>
            <a:srcRect/>
            <a:stretch/>
          </p:blipFill>
          <p:spPr>
            <a:xfrm>
              <a:off x="2561006" y="2377773"/>
              <a:ext cx="243832" cy="243832"/>
            </a:xfrm>
            <a:prstGeom prst="rect">
              <a:avLst/>
            </a:prstGeom>
            <a:noFill/>
            <a:ln>
              <a:noFill/>
            </a:ln>
          </p:spPr>
        </p:pic>
        <p:grpSp>
          <p:nvGrpSpPr>
            <p:cNvPr id="1286" name="Google Shape;1286;p11"/>
            <p:cNvGrpSpPr/>
            <p:nvPr/>
          </p:nvGrpSpPr>
          <p:grpSpPr>
            <a:xfrm>
              <a:off x="3109568" y="2492412"/>
              <a:ext cx="137846" cy="131207"/>
              <a:chOff x="6173853" y="2205325"/>
              <a:chExt cx="691999" cy="658671"/>
            </a:xfrm>
          </p:grpSpPr>
          <p:sp>
            <p:nvSpPr>
              <p:cNvPr id="1287" name="Google Shape;1287;p11"/>
              <p:cNvSpPr/>
              <p:nvPr/>
            </p:nvSpPr>
            <p:spPr>
              <a:xfrm>
                <a:off x="6173853" y="2205325"/>
                <a:ext cx="691999" cy="658671"/>
              </a:xfrm>
              <a:custGeom>
                <a:avLst/>
                <a:gdLst/>
                <a:ahLst/>
                <a:cxnLst/>
                <a:rect l="l" t="t"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88" name="Google Shape;1288;p11"/>
              <p:cNvSpPr/>
              <p:nvPr/>
            </p:nvSpPr>
            <p:spPr>
              <a:xfrm>
                <a:off x="6290802" y="2316517"/>
                <a:ext cx="458707" cy="436286"/>
              </a:xfrm>
              <a:custGeom>
                <a:avLst/>
                <a:gdLst/>
                <a:ahLst/>
                <a:cxnLst/>
                <a:rect l="l" t="t"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89" name="Google Shape;1289;p11"/>
            <p:cNvPicPr preferRelativeResize="0"/>
            <p:nvPr/>
          </p:nvPicPr>
          <p:blipFill rotWithShape="1">
            <a:blip r:embed="rId3">
              <a:alphaModFix/>
            </a:blip>
            <a:srcRect/>
            <a:stretch/>
          </p:blipFill>
          <p:spPr>
            <a:xfrm>
              <a:off x="3318434" y="1975162"/>
              <a:ext cx="152406" cy="150627"/>
            </a:xfrm>
            <a:prstGeom prst="rect">
              <a:avLst/>
            </a:prstGeom>
            <a:noFill/>
            <a:ln>
              <a:noFill/>
            </a:ln>
          </p:spPr>
        </p:pic>
        <p:pic>
          <p:nvPicPr>
            <p:cNvPr id="1290" name="Google Shape;1290;p11" descr="Single gear"/>
            <p:cNvPicPr preferRelativeResize="0"/>
            <p:nvPr/>
          </p:nvPicPr>
          <p:blipFill rotWithShape="1">
            <a:blip r:embed="rId6">
              <a:alphaModFix/>
            </a:blip>
            <a:srcRect/>
            <a:stretch/>
          </p:blipFill>
          <p:spPr>
            <a:xfrm>
              <a:off x="2550681" y="4374542"/>
              <a:ext cx="605404" cy="605404"/>
            </a:xfrm>
            <a:prstGeom prst="rect">
              <a:avLst/>
            </a:prstGeom>
            <a:noFill/>
            <a:ln>
              <a:noFill/>
            </a:ln>
          </p:spPr>
        </p:pic>
        <p:pic>
          <p:nvPicPr>
            <p:cNvPr id="1291" name="Google Shape;1291;p11" descr="Single gear"/>
            <p:cNvPicPr preferRelativeResize="0"/>
            <p:nvPr/>
          </p:nvPicPr>
          <p:blipFill rotWithShape="1">
            <a:blip r:embed="rId6">
              <a:alphaModFix/>
            </a:blip>
            <a:srcRect/>
            <a:stretch/>
          </p:blipFill>
          <p:spPr>
            <a:xfrm>
              <a:off x="3559270" y="2800421"/>
              <a:ext cx="278787" cy="278787"/>
            </a:xfrm>
            <a:prstGeom prst="rect">
              <a:avLst/>
            </a:prstGeom>
            <a:noFill/>
            <a:ln>
              <a:noFill/>
            </a:ln>
          </p:spPr>
        </p:pic>
        <p:grpSp>
          <p:nvGrpSpPr>
            <p:cNvPr id="1292" name="Google Shape;1292;p11"/>
            <p:cNvGrpSpPr/>
            <p:nvPr/>
          </p:nvGrpSpPr>
          <p:grpSpPr>
            <a:xfrm>
              <a:off x="4065001" y="2388766"/>
              <a:ext cx="189608" cy="180476"/>
              <a:chOff x="6173853" y="2205325"/>
              <a:chExt cx="691999" cy="658671"/>
            </a:xfrm>
          </p:grpSpPr>
          <p:sp>
            <p:nvSpPr>
              <p:cNvPr id="1293" name="Google Shape;1293;p11"/>
              <p:cNvSpPr/>
              <p:nvPr/>
            </p:nvSpPr>
            <p:spPr>
              <a:xfrm>
                <a:off x="6173853" y="2205325"/>
                <a:ext cx="691999" cy="658671"/>
              </a:xfrm>
              <a:custGeom>
                <a:avLst/>
                <a:gdLst/>
                <a:ahLst/>
                <a:cxnLst/>
                <a:rect l="l" t="t"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94" name="Google Shape;1294;p11"/>
              <p:cNvSpPr/>
              <p:nvPr/>
            </p:nvSpPr>
            <p:spPr>
              <a:xfrm>
                <a:off x="6290802" y="2316517"/>
                <a:ext cx="458707" cy="436286"/>
              </a:xfrm>
              <a:custGeom>
                <a:avLst/>
                <a:gdLst/>
                <a:ahLst/>
                <a:cxnLst/>
                <a:rect l="l" t="t"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grpSp>
          <p:nvGrpSpPr>
            <p:cNvPr id="1295" name="Google Shape;1295;p11"/>
            <p:cNvGrpSpPr/>
            <p:nvPr/>
          </p:nvGrpSpPr>
          <p:grpSpPr>
            <a:xfrm>
              <a:off x="3037594" y="5275288"/>
              <a:ext cx="220843" cy="219979"/>
              <a:chOff x="5716936" y="3051333"/>
              <a:chExt cx="754761" cy="751808"/>
            </a:xfrm>
          </p:grpSpPr>
          <p:sp>
            <p:nvSpPr>
              <p:cNvPr id="1296" name="Google Shape;1296;p11"/>
              <p:cNvSpPr/>
              <p:nvPr/>
            </p:nvSpPr>
            <p:spPr>
              <a:xfrm>
                <a:off x="5716936" y="3051333"/>
                <a:ext cx="754761" cy="751808"/>
              </a:xfrm>
              <a:custGeom>
                <a:avLst/>
                <a:gdLst/>
                <a:ahLst/>
                <a:cxnLst/>
                <a:rect l="l" t="t"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297" name="Google Shape;1297;p11"/>
              <p:cNvSpPr/>
              <p:nvPr/>
            </p:nvSpPr>
            <p:spPr>
              <a:xfrm>
                <a:off x="5867526" y="3200495"/>
                <a:ext cx="453580" cy="453580"/>
              </a:xfrm>
              <a:custGeom>
                <a:avLst/>
                <a:gdLst/>
                <a:ahLst/>
                <a:cxnLst/>
                <a:rect l="l" t="t"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298" name="Google Shape;1298;p11" descr="Single gear"/>
            <p:cNvPicPr preferRelativeResize="0"/>
            <p:nvPr/>
          </p:nvPicPr>
          <p:blipFill rotWithShape="1">
            <a:blip r:embed="rId6">
              <a:alphaModFix/>
            </a:blip>
            <a:srcRect/>
            <a:stretch/>
          </p:blipFill>
          <p:spPr>
            <a:xfrm>
              <a:off x="3063487" y="5062781"/>
              <a:ext cx="225419" cy="225419"/>
            </a:xfrm>
            <a:prstGeom prst="rect">
              <a:avLst/>
            </a:prstGeom>
            <a:noFill/>
            <a:ln>
              <a:noFill/>
            </a:ln>
          </p:spPr>
        </p:pic>
        <p:grpSp>
          <p:nvGrpSpPr>
            <p:cNvPr id="1299" name="Google Shape;1299;p11"/>
            <p:cNvGrpSpPr/>
            <p:nvPr/>
          </p:nvGrpSpPr>
          <p:grpSpPr>
            <a:xfrm>
              <a:off x="2485022" y="4904612"/>
              <a:ext cx="568345" cy="568344"/>
              <a:chOff x="5965824" y="3300412"/>
              <a:chExt cx="255746" cy="255746"/>
            </a:xfrm>
          </p:grpSpPr>
          <p:sp>
            <p:nvSpPr>
              <p:cNvPr id="1300" name="Google Shape;1300;p11"/>
              <p:cNvSpPr/>
              <p:nvPr/>
            </p:nvSpPr>
            <p:spPr>
              <a:xfrm>
                <a:off x="5965824" y="3300412"/>
                <a:ext cx="255746" cy="255746"/>
              </a:xfrm>
              <a:custGeom>
                <a:avLst/>
                <a:gdLst/>
                <a:ahLst/>
                <a:cxnLst/>
                <a:rect l="l" t="t"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301" name="Google Shape;1301;p11"/>
              <p:cNvSpPr/>
              <p:nvPr/>
            </p:nvSpPr>
            <p:spPr>
              <a:xfrm>
                <a:off x="5975444" y="3310032"/>
                <a:ext cx="236505" cy="236696"/>
              </a:xfrm>
              <a:custGeom>
                <a:avLst/>
                <a:gdLst/>
                <a:ahLst/>
                <a:cxnLst/>
                <a:rect l="l" t="t"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p:spPr>
            <p:txBody>
              <a:bodyPr spcFirstLastPara="1" wrap="square" lIns="91401" tIns="45688" rIns="91401" bIns="45688" anchor="ctr" anchorCtr="0">
                <a:noAutofit/>
              </a:bodyPr>
              <a:lstStyle/>
              <a:p>
                <a:pPr>
                  <a:buSzPts val="1400"/>
                  <a:defRPr/>
                </a:pPr>
                <a:endParaRPr sz="1799"/>
              </a:p>
            </p:txBody>
          </p:sp>
          <p:grpSp>
            <p:nvGrpSpPr>
              <p:cNvPr id="1302" name="Google Shape;1302;p11"/>
              <p:cNvGrpSpPr/>
              <p:nvPr/>
            </p:nvGrpSpPr>
            <p:grpSpPr>
              <a:xfrm>
                <a:off x="6014782" y="3349370"/>
                <a:ext cx="157734" cy="157734"/>
                <a:chOff x="6014782" y="3349370"/>
                <a:chExt cx="157734" cy="157734"/>
              </a:xfrm>
            </p:grpSpPr>
            <p:sp>
              <p:nvSpPr>
                <p:cNvPr id="1303" name="Google Shape;1303;p11"/>
                <p:cNvSpPr/>
                <p:nvPr/>
              </p:nvSpPr>
              <p:spPr>
                <a:xfrm>
                  <a:off x="6087934" y="3349370"/>
                  <a:ext cx="11620" cy="157734"/>
                </a:xfrm>
                <a:custGeom>
                  <a:avLst/>
                  <a:gdLst/>
                  <a:ahLst/>
                  <a:cxnLst/>
                  <a:rect l="l" t="t" r="r" b="b"/>
                  <a:pathLst>
                    <a:path w="11620" h="157734" extrusionOk="0">
                      <a:moveTo>
                        <a:pt x="0" y="0"/>
                      </a:moveTo>
                      <a:lnTo>
                        <a:pt x="11621" y="0"/>
                      </a:lnTo>
                      <a:lnTo>
                        <a:pt x="11621" y="157734"/>
                      </a:lnTo>
                      <a:lnTo>
                        <a:pt x="0" y="157734"/>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304" name="Google Shape;1304;p11"/>
                <p:cNvSpPr/>
                <p:nvPr/>
              </p:nvSpPr>
              <p:spPr>
                <a:xfrm>
                  <a:off x="6014782" y="3422522"/>
                  <a:ext cx="157734" cy="11525"/>
                </a:xfrm>
                <a:custGeom>
                  <a:avLst/>
                  <a:gdLst/>
                  <a:ahLst/>
                  <a:cxnLst/>
                  <a:rect l="l" t="t" r="r" b="b"/>
                  <a:pathLst>
                    <a:path w="157734" h="11525" extrusionOk="0">
                      <a:moveTo>
                        <a:pt x="0" y="0"/>
                      </a:moveTo>
                      <a:lnTo>
                        <a:pt x="157734" y="0"/>
                      </a:lnTo>
                      <a:lnTo>
                        <a:pt x="157734" y="11525"/>
                      </a:lnTo>
                      <a:lnTo>
                        <a:pt x="0" y="11525"/>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sp>
            <p:nvSpPr>
              <p:cNvPr id="1305" name="Google Shape;1305;p11"/>
              <p:cNvSpPr/>
              <p:nvPr/>
            </p:nvSpPr>
            <p:spPr>
              <a:xfrm>
                <a:off x="6003543" y="3338131"/>
                <a:ext cx="180212" cy="180212"/>
              </a:xfrm>
              <a:custGeom>
                <a:avLst/>
                <a:gdLst/>
                <a:ahLst/>
                <a:cxnLst/>
                <a:rect l="l" t="t"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lt1"/>
              </a:solidFill>
              <a:ln>
                <a:noFill/>
              </a:ln>
            </p:spPr>
            <p:txBody>
              <a:bodyPr spcFirstLastPara="1" wrap="square" lIns="91401" tIns="45688" rIns="91401" bIns="45688" anchor="ctr" anchorCtr="0">
                <a:noAutofit/>
              </a:bodyPr>
              <a:lstStyle/>
              <a:p>
                <a:pPr>
                  <a:buSzPts val="1400"/>
                  <a:defRPr/>
                </a:pPr>
                <a:endParaRPr sz="1799"/>
              </a:p>
            </p:txBody>
          </p:sp>
          <p:sp>
            <p:nvSpPr>
              <p:cNvPr id="1306" name="Google Shape;1306;p11"/>
              <p:cNvSpPr/>
              <p:nvPr/>
            </p:nvSpPr>
            <p:spPr>
              <a:xfrm>
                <a:off x="6033165" y="3367753"/>
                <a:ext cx="120967" cy="120967"/>
              </a:xfrm>
              <a:custGeom>
                <a:avLst/>
                <a:gdLst/>
                <a:ahLst/>
                <a:cxnLst/>
                <a:rect l="l" t="t"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grpSp>
          <p:nvGrpSpPr>
            <p:cNvPr id="1307" name="Google Shape;1307;p11"/>
            <p:cNvGrpSpPr/>
            <p:nvPr/>
          </p:nvGrpSpPr>
          <p:grpSpPr>
            <a:xfrm>
              <a:off x="3404800" y="3769002"/>
              <a:ext cx="154650" cy="154649"/>
              <a:chOff x="5965824" y="3300412"/>
              <a:chExt cx="255746" cy="255746"/>
            </a:xfrm>
          </p:grpSpPr>
          <p:sp>
            <p:nvSpPr>
              <p:cNvPr id="1308" name="Google Shape;1308;p11"/>
              <p:cNvSpPr/>
              <p:nvPr/>
            </p:nvSpPr>
            <p:spPr>
              <a:xfrm>
                <a:off x="5965824" y="3300412"/>
                <a:ext cx="255746" cy="255746"/>
              </a:xfrm>
              <a:custGeom>
                <a:avLst/>
                <a:gdLst/>
                <a:ahLst/>
                <a:cxnLst/>
                <a:rect l="l" t="t"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309" name="Google Shape;1309;p11"/>
              <p:cNvSpPr/>
              <p:nvPr/>
            </p:nvSpPr>
            <p:spPr>
              <a:xfrm>
                <a:off x="5975444" y="3310032"/>
                <a:ext cx="236505" cy="236696"/>
              </a:xfrm>
              <a:custGeom>
                <a:avLst/>
                <a:gdLst/>
                <a:ahLst/>
                <a:cxnLst/>
                <a:rect l="l" t="t"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p:spPr>
            <p:txBody>
              <a:bodyPr spcFirstLastPara="1" wrap="square" lIns="91401" tIns="45688" rIns="91401" bIns="45688" anchor="ctr" anchorCtr="0">
                <a:noAutofit/>
              </a:bodyPr>
              <a:lstStyle/>
              <a:p>
                <a:pPr>
                  <a:buSzPts val="1400"/>
                  <a:defRPr/>
                </a:pPr>
                <a:endParaRPr sz="1799"/>
              </a:p>
            </p:txBody>
          </p:sp>
          <p:grpSp>
            <p:nvGrpSpPr>
              <p:cNvPr id="1310" name="Google Shape;1310;p11"/>
              <p:cNvGrpSpPr/>
              <p:nvPr/>
            </p:nvGrpSpPr>
            <p:grpSpPr>
              <a:xfrm>
                <a:off x="6014782" y="3349370"/>
                <a:ext cx="157734" cy="157734"/>
                <a:chOff x="6014782" y="3349370"/>
                <a:chExt cx="157734" cy="157734"/>
              </a:xfrm>
            </p:grpSpPr>
            <p:sp>
              <p:nvSpPr>
                <p:cNvPr id="1311" name="Google Shape;1311;p11"/>
                <p:cNvSpPr/>
                <p:nvPr/>
              </p:nvSpPr>
              <p:spPr>
                <a:xfrm>
                  <a:off x="6087934" y="3349370"/>
                  <a:ext cx="11620" cy="157734"/>
                </a:xfrm>
                <a:custGeom>
                  <a:avLst/>
                  <a:gdLst/>
                  <a:ahLst/>
                  <a:cxnLst/>
                  <a:rect l="l" t="t" r="r" b="b"/>
                  <a:pathLst>
                    <a:path w="11620" h="157734" extrusionOk="0">
                      <a:moveTo>
                        <a:pt x="0" y="0"/>
                      </a:moveTo>
                      <a:lnTo>
                        <a:pt x="11621" y="0"/>
                      </a:lnTo>
                      <a:lnTo>
                        <a:pt x="11621" y="157734"/>
                      </a:lnTo>
                      <a:lnTo>
                        <a:pt x="0" y="157734"/>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sp>
              <p:nvSpPr>
                <p:cNvPr id="1312" name="Google Shape;1312;p11"/>
                <p:cNvSpPr/>
                <p:nvPr/>
              </p:nvSpPr>
              <p:spPr>
                <a:xfrm>
                  <a:off x="6014782" y="3422522"/>
                  <a:ext cx="157734" cy="11525"/>
                </a:xfrm>
                <a:custGeom>
                  <a:avLst/>
                  <a:gdLst/>
                  <a:ahLst/>
                  <a:cxnLst/>
                  <a:rect l="l" t="t" r="r" b="b"/>
                  <a:pathLst>
                    <a:path w="157734" h="11525" extrusionOk="0">
                      <a:moveTo>
                        <a:pt x="0" y="0"/>
                      </a:moveTo>
                      <a:lnTo>
                        <a:pt x="157734" y="0"/>
                      </a:lnTo>
                      <a:lnTo>
                        <a:pt x="157734" y="11525"/>
                      </a:lnTo>
                      <a:lnTo>
                        <a:pt x="0" y="11525"/>
                      </a:lnTo>
                      <a:lnTo>
                        <a:pt x="0" y="0"/>
                      </a:ln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sp>
            <p:nvSpPr>
              <p:cNvPr id="1313" name="Google Shape;1313;p11"/>
              <p:cNvSpPr/>
              <p:nvPr/>
            </p:nvSpPr>
            <p:spPr>
              <a:xfrm>
                <a:off x="6003543" y="3338131"/>
                <a:ext cx="180212" cy="180212"/>
              </a:xfrm>
              <a:custGeom>
                <a:avLst/>
                <a:gdLst/>
                <a:ahLst/>
                <a:cxnLst/>
                <a:rect l="l" t="t"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lt1"/>
              </a:solidFill>
              <a:ln>
                <a:noFill/>
              </a:ln>
            </p:spPr>
            <p:txBody>
              <a:bodyPr spcFirstLastPara="1" wrap="square" lIns="91401" tIns="45688" rIns="91401" bIns="45688" anchor="ctr" anchorCtr="0">
                <a:noAutofit/>
              </a:bodyPr>
              <a:lstStyle/>
              <a:p>
                <a:pPr>
                  <a:buSzPts val="1400"/>
                  <a:defRPr/>
                </a:pPr>
                <a:endParaRPr sz="1799"/>
              </a:p>
            </p:txBody>
          </p:sp>
          <p:sp>
            <p:nvSpPr>
              <p:cNvPr id="1314" name="Google Shape;1314;p11"/>
              <p:cNvSpPr/>
              <p:nvPr/>
            </p:nvSpPr>
            <p:spPr>
              <a:xfrm>
                <a:off x="6033165" y="3367753"/>
                <a:ext cx="120967" cy="120967"/>
              </a:xfrm>
              <a:custGeom>
                <a:avLst/>
                <a:gdLst/>
                <a:ahLst/>
                <a:cxnLst/>
                <a:rect l="l" t="t"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p:spPr>
            <p:txBody>
              <a:bodyPr spcFirstLastPara="1" wrap="square" lIns="91401" tIns="45688" rIns="91401" bIns="45688" anchor="ctr" anchorCtr="0">
                <a:noAutofit/>
              </a:bodyPr>
              <a:lstStyle/>
              <a:p>
                <a:pPr>
                  <a:buSzPts val="1400"/>
                  <a:defRPr/>
                </a:pPr>
                <a:endParaRPr sz="1799"/>
              </a:p>
            </p:txBody>
          </p:sp>
        </p:grpSp>
        <p:grpSp>
          <p:nvGrpSpPr>
            <p:cNvPr id="1315" name="Google Shape;1315;p11"/>
            <p:cNvGrpSpPr/>
            <p:nvPr/>
          </p:nvGrpSpPr>
          <p:grpSpPr>
            <a:xfrm>
              <a:off x="3660701" y="3075815"/>
              <a:ext cx="202050" cy="201259"/>
              <a:chOff x="5716936" y="3051333"/>
              <a:chExt cx="754761" cy="751808"/>
            </a:xfrm>
          </p:grpSpPr>
          <p:sp>
            <p:nvSpPr>
              <p:cNvPr id="1316" name="Google Shape;1316;p11"/>
              <p:cNvSpPr/>
              <p:nvPr/>
            </p:nvSpPr>
            <p:spPr>
              <a:xfrm>
                <a:off x="5716936" y="3051333"/>
                <a:ext cx="754761" cy="751808"/>
              </a:xfrm>
              <a:custGeom>
                <a:avLst/>
                <a:gdLst/>
                <a:ahLst/>
                <a:cxnLst/>
                <a:rect l="l" t="t"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sp>
            <p:nvSpPr>
              <p:cNvPr id="1317" name="Google Shape;1317;p11"/>
              <p:cNvSpPr/>
              <p:nvPr/>
            </p:nvSpPr>
            <p:spPr>
              <a:xfrm>
                <a:off x="5867526" y="3200495"/>
                <a:ext cx="453580" cy="453580"/>
              </a:xfrm>
              <a:custGeom>
                <a:avLst/>
                <a:gdLst/>
                <a:ahLst/>
                <a:cxnLst/>
                <a:rect l="l" t="t"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5243"/>
                <a:headEnd type="none" w="sm" len="sm"/>
                <a:tailEnd type="none" w="sm" len="sm"/>
              </a:ln>
            </p:spPr>
            <p:txBody>
              <a:bodyPr spcFirstLastPara="1" wrap="square" lIns="91401" tIns="45688" rIns="91401" bIns="45688" anchor="ctr" anchorCtr="0">
                <a:noAutofit/>
              </a:bodyPr>
              <a:lstStyle/>
              <a:p>
                <a:pPr>
                  <a:buSzPts val="1400"/>
                  <a:defRPr/>
                </a:pPr>
                <a:endParaRPr sz="1799"/>
              </a:p>
            </p:txBody>
          </p:sp>
        </p:grpSp>
        <p:pic>
          <p:nvPicPr>
            <p:cNvPr id="1318" name="Google Shape;1318;p11" descr="Single gear"/>
            <p:cNvPicPr preferRelativeResize="0"/>
            <p:nvPr/>
          </p:nvPicPr>
          <p:blipFill rotWithShape="1">
            <a:blip r:embed="rId6">
              <a:alphaModFix/>
            </a:blip>
            <a:srcRect/>
            <a:stretch/>
          </p:blipFill>
          <p:spPr>
            <a:xfrm>
              <a:off x="2495159" y="5904861"/>
              <a:ext cx="941013" cy="941013"/>
            </a:xfrm>
            <a:prstGeom prst="rect">
              <a:avLst/>
            </a:prstGeom>
            <a:noFill/>
            <a:ln>
              <a:noFill/>
            </a:ln>
          </p:spPr>
        </p:pic>
        <p:pic>
          <p:nvPicPr>
            <p:cNvPr id="1319" name="Google Shape;1319;p11" descr="Single gear"/>
            <p:cNvPicPr preferRelativeResize="0"/>
            <p:nvPr/>
          </p:nvPicPr>
          <p:blipFill rotWithShape="1">
            <a:blip r:embed="rId7">
              <a:alphaModFix/>
            </a:blip>
            <a:srcRect/>
            <a:stretch/>
          </p:blipFill>
          <p:spPr>
            <a:xfrm>
              <a:off x="2358362" y="5768064"/>
              <a:ext cx="1214604" cy="1214604"/>
            </a:xfrm>
            <a:prstGeom prst="rect">
              <a:avLst/>
            </a:prstGeom>
            <a:noFill/>
            <a:ln>
              <a:noFill/>
            </a:ln>
          </p:spPr>
        </p:pic>
        <p:cxnSp>
          <p:nvCxnSpPr>
            <p:cNvPr id="1320" name="Google Shape;1320;p11"/>
            <p:cNvCxnSpPr/>
            <p:nvPr/>
          </p:nvCxnSpPr>
          <p:spPr>
            <a:xfrm>
              <a:off x="3331541" y="6841906"/>
              <a:ext cx="3050100" cy="0"/>
            </a:xfrm>
            <a:prstGeom prst="straightConnector1">
              <a:avLst/>
            </a:prstGeom>
            <a:noFill/>
            <a:ln w="76200" cap="flat" cmpd="sng">
              <a:solidFill>
                <a:srgbClr val="58595B"/>
              </a:solidFill>
              <a:prstDash val="solid"/>
              <a:miter lim="800000"/>
              <a:headEnd type="none" w="sm" len="sm"/>
              <a:tailEnd type="none" w="sm" len="sm"/>
            </a:ln>
          </p:spPr>
        </p:cxnSp>
        <p:cxnSp>
          <p:nvCxnSpPr>
            <p:cNvPr id="1321" name="Google Shape;1321;p11"/>
            <p:cNvCxnSpPr/>
            <p:nvPr/>
          </p:nvCxnSpPr>
          <p:spPr>
            <a:xfrm>
              <a:off x="-9854" y="6841906"/>
              <a:ext cx="2603400" cy="0"/>
            </a:xfrm>
            <a:prstGeom prst="straightConnector1">
              <a:avLst/>
            </a:prstGeom>
            <a:noFill/>
            <a:ln w="76200" cap="flat" cmpd="sng">
              <a:solidFill>
                <a:srgbClr val="58595B"/>
              </a:solidFill>
              <a:prstDash val="solid"/>
              <a:miter lim="800000"/>
              <a:headEnd type="none" w="sm" len="sm"/>
              <a:tailEnd type="none" w="sm" len="sm"/>
            </a:ln>
          </p:spPr>
        </p:cxnSp>
      </p:grpSp>
      <p:sp>
        <p:nvSpPr>
          <p:cNvPr id="2" name="Text Placeholder 5">
            <a:extLst>
              <a:ext uri="{FF2B5EF4-FFF2-40B4-BE49-F238E27FC236}">
                <a16:creationId xmlns:a16="http://schemas.microsoft.com/office/drawing/2014/main" id="{E7463449-7FA0-6BF0-2DE2-DDD286CB1F21}"/>
              </a:ext>
            </a:extLst>
          </p:cNvPr>
          <p:cNvSpPr txBox="1">
            <a:spLocks/>
          </p:cNvSpPr>
          <p:nvPr/>
        </p:nvSpPr>
        <p:spPr>
          <a:xfrm>
            <a:off x="3636430" y="5190894"/>
            <a:ext cx="4260171" cy="150410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1600" b="1">
                <a:solidFill>
                  <a:srgbClr val="FF0000"/>
                </a:solidFill>
              </a:rPr>
              <a:t>YouTube </a:t>
            </a:r>
            <a:r>
              <a:rPr lang="en-IN" sz="1600"/>
              <a:t>: Tutorials by Mukesh Kala</a:t>
            </a:r>
          </a:p>
          <a:p>
            <a:pPr marL="0" indent="0" algn="ctr">
              <a:buNone/>
            </a:pPr>
            <a:r>
              <a:rPr lang="en-IN" sz="1600">
                <a:hlinkClick r:id="rId8"/>
              </a:rPr>
              <a:t>https://mukeshkala.com</a:t>
            </a:r>
            <a:endParaRPr lang="en-IN" sz="1600"/>
          </a:p>
          <a:p>
            <a:pPr marL="0" indent="0" algn="ctr">
              <a:buNone/>
            </a:pPr>
            <a:endParaRPr lang="en-IN" sz="1600"/>
          </a:p>
          <a:p>
            <a:pPr marL="0" indent="0" algn="ctr">
              <a:buNone/>
            </a:pPr>
            <a:endParaRPr lang="en-US" sz="1600">
              <a:ea typeface="Cambria" panose="02040503050406030204" pitchFamily="18" charset="0"/>
            </a:endParaRPr>
          </a:p>
        </p:txBody>
      </p:sp>
      <p:pic>
        <p:nvPicPr>
          <p:cNvPr id="3" name="Picture 2">
            <a:extLst>
              <a:ext uri="{FF2B5EF4-FFF2-40B4-BE49-F238E27FC236}">
                <a16:creationId xmlns:a16="http://schemas.microsoft.com/office/drawing/2014/main" id="{79D0BBB4-93DE-C015-494A-7BC77B6685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03473" y="3270613"/>
            <a:ext cx="2868278" cy="2868278"/>
          </a:xfrm>
          <a:prstGeom prst="rect">
            <a:avLst/>
          </a:prstGeom>
        </p:spPr>
      </p:pic>
      <p:pic>
        <p:nvPicPr>
          <p:cNvPr id="5" name="Picture 4" descr="A picture containing text, clipart&#10;&#10;Description automatically generated">
            <a:extLst>
              <a:ext uri="{FF2B5EF4-FFF2-40B4-BE49-F238E27FC236}">
                <a16:creationId xmlns:a16="http://schemas.microsoft.com/office/drawing/2014/main" id="{6AB9EB2C-A28E-E64A-B7BA-9101ACFDA76E}"/>
              </a:ext>
            </a:extLst>
          </p:cNvPr>
          <p:cNvPicPr>
            <a:picLocks noChangeAspect="1"/>
          </p:cNvPicPr>
          <p:nvPr/>
        </p:nvPicPr>
        <p:blipFill>
          <a:blip r:embed="rId10"/>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4041741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606522" y="2100262"/>
            <a:ext cx="8794363"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Arial" panose="020B0604020202020204" pitchFamily="34" charset="0"/>
                <a:cs typeface="Arial" panose="020B0604020202020204" pitchFamily="34" charset="0"/>
                <a:sym typeface="Arial" panose="020B0604020202020204" pitchFamily="34" charset="0"/>
              </a:rPr>
              <a:t>Don’t Forget to mark your Attendance!</a:t>
            </a:r>
          </a:p>
        </p:txBody>
      </p:sp>
      <p:pic>
        <p:nvPicPr>
          <p:cNvPr id="3" name="Picture 2" descr="A picture containing text, clipart&#10;&#10;Description automatically generated">
            <a:extLst>
              <a:ext uri="{FF2B5EF4-FFF2-40B4-BE49-F238E27FC236}">
                <a16:creationId xmlns:a16="http://schemas.microsoft.com/office/drawing/2014/main" id="{BD32F0DC-90A9-F3DE-30E6-8284A9BF9BC6}"/>
              </a:ext>
            </a:extLst>
          </p:cNvPr>
          <p:cNvPicPr>
            <a:picLocks noChangeAspect="1"/>
          </p:cNvPicPr>
          <p:nvPr/>
        </p:nvPicPr>
        <p:blipFill>
          <a:blip r:embed="rId3"/>
          <a:stretch>
            <a:fillRect/>
          </a:stretch>
        </p:blipFill>
        <p:spPr>
          <a:xfrm>
            <a:off x="10900232" y="286414"/>
            <a:ext cx="753407" cy="752919"/>
          </a:xfrm>
          <a:prstGeom prst="rect">
            <a:avLst/>
          </a:prstGeom>
        </p:spPr>
      </p:pic>
    </p:spTree>
    <p:extLst>
      <p:ext uri="{BB962C8B-B14F-4D97-AF65-F5344CB8AC3E}">
        <p14:creationId xmlns:p14="http://schemas.microsoft.com/office/powerpoint/2010/main" val="3528570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714DCC-C60C-3814-C639-EF892ABC6C7D}"/>
              </a:ext>
            </a:extLst>
          </p:cNvPr>
          <p:cNvSpPr>
            <a:spLocks noGrp="1"/>
          </p:cNvSpPr>
          <p:nvPr>
            <p:ph type="body" sz="quarter" idx="14"/>
          </p:nvPr>
        </p:nvSpPr>
        <p:spPr>
          <a:xfrm>
            <a:off x="381001" y="1322388"/>
            <a:ext cx="9142413" cy="4895532"/>
          </a:xfrm>
        </p:spPr>
        <p:txBody>
          <a:bodyPr/>
          <a:lstStyle/>
          <a:p>
            <a:endParaRPr lang="en-IN"/>
          </a:p>
        </p:txBody>
      </p:sp>
      <p:sp>
        <p:nvSpPr>
          <p:cNvPr id="3" name="Title 2">
            <a:extLst>
              <a:ext uri="{FF2B5EF4-FFF2-40B4-BE49-F238E27FC236}">
                <a16:creationId xmlns:a16="http://schemas.microsoft.com/office/drawing/2014/main" id="{B35F7973-0E99-B9EC-F3E1-7B5CAB34A680}"/>
              </a:ext>
            </a:extLst>
          </p:cNvPr>
          <p:cNvSpPr>
            <a:spLocks noGrp="1"/>
          </p:cNvSpPr>
          <p:nvPr>
            <p:ph type="title"/>
          </p:nvPr>
        </p:nvSpPr>
        <p:spPr/>
        <p:txBody>
          <a:bodyPr/>
          <a:lstStyle/>
          <a:p>
            <a:r>
              <a:rPr lang="en-IN"/>
              <a:t>	</a:t>
            </a:r>
            <a:r>
              <a:rPr lang="en-IN">
                <a:latin typeface="Times New Roman" panose="02020603050405020304" pitchFamily="18" charset="0"/>
                <a:cs typeface="Times New Roman" panose="02020603050405020304" pitchFamily="18" charset="0"/>
              </a:rPr>
              <a:t>ROBOTS VS RO(BOTS)</a:t>
            </a:r>
          </a:p>
        </p:txBody>
      </p:sp>
      <p:pic>
        <p:nvPicPr>
          <p:cNvPr id="4" name="Content Placeholder 7">
            <a:extLst>
              <a:ext uri="{FF2B5EF4-FFF2-40B4-BE49-F238E27FC236}">
                <a16:creationId xmlns:a16="http://schemas.microsoft.com/office/drawing/2014/main" id="{C71DE554-0207-259E-5B8E-1BF991E05E0E}"/>
              </a:ext>
            </a:extLst>
          </p:cNvPr>
          <p:cNvPicPr>
            <a:picLocks noGrp="1" noChangeAspect="1"/>
          </p:cNvPicPr>
          <p:nvPr>
            <p:ph idx="21"/>
          </p:nvPr>
        </p:nvPicPr>
        <p:blipFill>
          <a:blip r:embed="rId3"/>
          <a:stretch>
            <a:fillRect/>
          </a:stretch>
        </p:blipFill>
        <p:spPr>
          <a:xfrm>
            <a:off x="294465" y="976914"/>
            <a:ext cx="9315481" cy="5439747"/>
          </a:xfrm>
        </p:spPr>
      </p:pic>
      <p:sp>
        <p:nvSpPr>
          <p:cNvPr id="5" name="TextBox 4">
            <a:extLst>
              <a:ext uri="{FF2B5EF4-FFF2-40B4-BE49-F238E27FC236}">
                <a16:creationId xmlns:a16="http://schemas.microsoft.com/office/drawing/2014/main" id="{F4C40AFB-1056-BF52-B450-167BAE35A0E2}"/>
              </a:ext>
            </a:extLst>
          </p:cNvPr>
          <p:cNvSpPr txBox="1"/>
          <p:nvPr/>
        </p:nvSpPr>
        <p:spPr>
          <a:xfrm>
            <a:off x="8266922" y="6615403"/>
            <a:ext cx="1987421" cy="111968"/>
          </a:xfrm>
          <a:prstGeom prst="rect">
            <a:avLst/>
          </a:prstGeom>
          <a:noFill/>
        </p:spPr>
        <p:txBody>
          <a:bodyPr wrap="square" lIns="0" tIns="0" rIns="0" bIns="0" rtlCol="0">
            <a:noAutofit/>
          </a:bodyPr>
          <a:lstStyle/>
          <a:p>
            <a:r>
              <a:rPr lang="en-IN" sz="1000">
                <a:latin typeface="Arial"/>
                <a:cs typeface="Arial"/>
              </a:rPr>
              <a:t>Image Credit: Codebot.com</a:t>
            </a:r>
          </a:p>
        </p:txBody>
      </p:sp>
      <p:pic>
        <p:nvPicPr>
          <p:cNvPr id="7" name="Picture 6">
            <a:extLst>
              <a:ext uri="{FF2B5EF4-FFF2-40B4-BE49-F238E27FC236}">
                <a16:creationId xmlns:a16="http://schemas.microsoft.com/office/drawing/2014/main" id="{D53BDCA0-529C-5AF0-A090-8343FBD9189B}"/>
              </a:ext>
            </a:extLst>
          </p:cNvPr>
          <p:cNvPicPr>
            <a:picLocks noChangeAspect="1"/>
          </p:cNvPicPr>
          <p:nvPr/>
        </p:nvPicPr>
        <p:blipFill>
          <a:blip r:embed="rId4"/>
          <a:stretch>
            <a:fillRect/>
          </a:stretch>
        </p:blipFill>
        <p:spPr>
          <a:xfrm>
            <a:off x="294465" y="976914"/>
            <a:ext cx="9358015" cy="5515961"/>
          </a:xfrm>
          <a:prstGeom prst="rect">
            <a:avLst/>
          </a:prstGeom>
        </p:spPr>
      </p:pic>
      <p:sp>
        <p:nvSpPr>
          <p:cNvPr id="8" name="TextBox 7">
            <a:extLst>
              <a:ext uri="{FF2B5EF4-FFF2-40B4-BE49-F238E27FC236}">
                <a16:creationId xmlns:a16="http://schemas.microsoft.com/office/drawing/2014/main" id="{75D0F957-30B4-6236-FBB8-DA9F24CCE7F2}"/>
              </a:ext>
            </a:extLst>
          </p:cNvPr>
          <p:cNvSpPr txBox="1"/>
          <p:nvPr/>
        </p:nvSpPr>
        <p:spPr>
          <a:xfrm>
            <a:off x="3048000" y="3244334"/>
            <a:ext cx="6096000" cy="369332"/>
          </a:xfrm>
          <a:prstGeom prst="rect">
            <a:avLst/>
          </a:prstGeom>
          <a:noFill/>
        </p:spPr>
        <p:txBody>
          <a:bodyPr wrap="square">
            <a:spAutoFit/>
          </a:bodyPr>
          <a:lstStyle/>
          <a:p>
            <a:endParaRPr lang="en-IN"/>
          </a:p>
        </p:txBody>
      </p:sp>
      <p:sp>
        <p:nvSpPr>
          <p:cNvPr id="10" name="TextBox 9">
            <a:extLst>
              <a:ext uri="{FF2B5EF4-FFF2-40B4-BE49-F238E27FC236}">
                <a16:creationId xmlns:a16="http://schemas.microsoft.com/office/drawing/2014/main" id="{D2B8C104-C450-8313-09C8-2745F79CDDA4}"/>
              </a:ext>
            </a:extLst>
          </p:cNvPr>
          <p:cNvSpPr txBox="1"/>
          <p:nvPr/>
        </p:nvSpPr>
        <p:spPr>
          <a:xfrm>
            <a:off x="3048000" y="3244334"/>
            <a:ext cx="6096000" cy="369332"/>
          </a:xfrm>
          <a:prstGeom prst="rect">
            <a:avLst/>
          </a:prstGeom>
          <a:noFill/>
        </p:spPr>
        <p:txBody>
          <a:bodyPr wrap="square">
            <a:spAutoFit/>
          </a:bodyPr>
          <a:lstStyle/>
          <a:p>
            <a:endParaRPr lang="en-IN"/>
          </a:p>
        </p:txBody>
      </p:sp>
      <p:sp>
        <p:nvSpPr>
          <p:cNvPr id="12" name="TextBox 11">
            <a:extLst>
              <a:ext uri="{FF2B5EF4-FFF2-40B4-BE49-F238E27FC236}">
                <a16:creationId xmlns:a16="http://schemas.microsoft.com/office/drawing/2014/main" id="{0E5AA9C6-2579-837A-4A45-2FE9B46CE83F}"/>
              </a:ext>
            </a:extLst>
          </p:cNvPr>
          <p:cNvSpPr txBox="1"/>
          <p:nvPr/>
        </p:nvSpPr>
        <p:spPr>
          <a:xfrm>
            <a:off x="3048000" y="3244334"/>
            <a:ext cx="6096000" cy="369332"/>
          </a:xfrm>
          <a:prstGeom prst="rect">
            <a:avLst/>
          </a:prstGeom>
          <a:noFill/>
        </p:spPr>
        <p:txBody>
          <a:bodyPr wrap="square">
            <a:spAutoFit/>
          </a:bodyPr>
          <a:lstStyle/>
          <a:p>
            <a:endParaRPr lang="en-IN"/>
          </a:p>
        </p:txBody>
      </p:sp>
      <p:pic>
        <p:nvPicPr>
          <p:cNvPr id="9" name="Picture 8" descr="A picture containing text, clipart&#10;&#10;Description automatically generated">
            <a:extLst>
              <a:ext uri="{FF2B5EF4-FFF2-40B4-BE49-F238E27FC236}">
                <a16:creationId xmlns:a16="http://schemas.microsoft.com/office/drawing/2014/main" id="{9B1AC45D-2BBC-2A16-DAC0-A6808448DA8D}"/>
              </a:ext>
            </a:extLst>
          </p:cNvPr>
          <p:cNvPicPr>
            <a:picLocks noChangeAspect="1"/>
          </p:cNvPicPr>
          <p:nvPr/>
        </p:nvPicPr>
        <p:blipFill>
          <a:blip r:embed="rId5"/>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3339293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1">
            <a:extLst>
              <a:ext uri="{FF2B5EF4-FFF2-40B4-BE49-F238E27FC236}">
                <a16:creationId xmlns:a16="http://schemas.microsoft.com/office/drawing/2014/main" id="{A2DD1532-980B-7E9F-1B7D-A10837EC63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5" y="1411288"/>
            <a:ext cx="1047591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Google Shape;344;p5">
            <a:extLst>
              <a:ext uri="{FF2B5EF4-FFF2-40B4-BE49-F238E27FC236}">
                <a16:creationId xmlns:a16="http://schemas.microsoft.com/office/drawing/2014/main" id="{6CCD37AA-A46C-2095-A413-824DDBBB9C83}"/>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What Robots Can Do ?</a:t>
            </a:r>
          </a:p>
        </p:txBody>
      </p:sp>
      <p:pic>
        <p:nvPicPr>
          <p:cNvPr id="3" name="Picture 2" descr="A picture containing text, clipart&#10;&#10;Description automatically generated">
            <a:extLst>
              <a:ext uri="{FF2B5EF4-FFF2-40B4-BE49-F238E27FC236}">
                <a16:creationId xmlns:a16="http://schemas.microsoft.com/office/drawing/2014/main" id="{89AD0026-59EB-9692-A0C3-2F10545FABBF}"/>
              </a:ext>
            </a:extLst>
          </p:cNvPr>
          <p:cNvPicPr>
            <a:picLocks noChangeAspect="1"/>
          </p:cNvPicPr>
          <p:nvPr/>
        </p:nvPicPr>
        <p:blipFill>
          <a:blip r:embed="rId4"/>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678404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843332B-28FA-6D2F-7AD9-02D353AE2CAA}"/>
              </a:ext>
            </a:extLst>
          </p:cNvPr>
          <p:cNvSpPr>
            <a:spLocks noGrp="1"/>
          </p:cNvSpPr>
          <p:nvPr>
            <p:ph type="ctrTitle"/>
          </p:nvPr>
        </p:nvSpPr>
        <p:spPr/>
        <p:txBody>
          <a:bodyPr/>
          <a:lstStyle/>
          <a:p>
            <a:r>
              <a:rPr lang="en-IN"/>
              <a:t>Why UiPath?</a:t>
            </a:r>
          </a:p>
        </p:txBody>
      </p:sp>
      <p:pic>
        <p:nvPicPr>
          <p:cNvPr id="3" name="Picture 2" descr="A picture containing text, clipart&#10;&#10;Description automatically generated">
            <a:extLst>
              <a:ext uri="{FF2B5EF4-FFF2-40B4-BE49-F238E27FC236}">
                <a16:creationId xmlns:a16="http://schemas.microsoft.com/office/drawing/2014/main" id="{F8E0D239-606F-E8D6-7172-A8A788FC48BB}"/>
              </a:ext>
            </a:extLst>
          </p:cNvPr>
          <p:cNvPicPr>
            <a:picLocks noChangeAspect="1"/>
          </p:cNvPicPr>
          <p:nvPr/>
        </p:nvPicPr>
        <p:blipFill>
          <a:blip r:embed="rId2"/>
          <a:stretch>
            <a:fillRect/>
          </a:stretch>
        </p:blipFill>
        <p:spPr>
          <a:xfrm>
            <a:off x="10810461" y="286414"/>
            <a:ext cx="753407" cy="752919"/>
          </a:xfrm>
          <a:prstGeom prst="rect">
            <a:avLst/>
          </a:prstGeom>
        </p:spPr>
      </p:pic>
    </p:spTree>
    <p:extLst>
      <p:ext uri="{BB962C8B-B14F-4D97-AF65-F5344CB8AC3E}">
        <p14:creationId xmlns:p14="http://schemas.microsoft.com/office/powerpoint/2010/main" val="3222702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traight Connector 16">
            <a:extLst>
              <a:ext uri="{FF2B5EF4-FFF2-40B4-BE49-F238E27FC236}">
                <a16:creationId xmlns:a16="http://schemas.microsoft.com/office/drawing/2014/main" id="{E2562C7D-97E2-B539-E219-D23818F60304}"/>
              </a:ext>
            </a:extLst>
          </p:cNvPr>
          <p:cNvSpPr/>
          <p:nvPr/>
        </p:nvSpPr>
        <p:spPr>
          <a:xfrm flipV="1">
            <a:off x="708308" y="2744878"/>
            <a:ext cx="0" cy="1355675"/>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 name="Straight Connector 4">
            <a:extLst>
              <a:ext uri="{FF2B5EF4-FFF2-40B4-BE49-F238E27FC236}">
                <a16:creationId xmlns:a16="http://schemas.microsoft.com/office/drawing/2014/main" id="{C8520DC9-D41F-FAED-617C-11DD46CC96EA}"/>
              </a:ext>
            </a:extLst>
          </p:cNvPr>
          <p:cNvSpPr/>
          <p:nvPr/>
        </p:nvSpPr>
        <p:spPr>
          <a:xfrm flipV="1">
            <a:off x="2381356" y="3427907"/>
            <a:ext cx="647" cy="75049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6" name="Straight Connector 174">
            <a:extLst>
              <a:ext uri="{FF2B5EF4-FFF2-40B4-BE49-F238E27FC236}">
                <a16:creationId xmlns:a16="http://schemas.microsoft.com/office/drawing/2014/main" id="{75C9781F-9AF4-E90B-1A46-3A3457270578}"/>
              </a:ext>
            </a:extLst>
          </p:cNvPr>
          <p:cNvSpPr/>
          <p:nvPr/>
        </p:nvSpPr>
        <p:spPr>
          <a:xfrm flipV="1">
            <a:off x="2114185" y="2292950"/>
            <a:ext cx="6357" cy="1857828"/>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 name="Straight Connector 183">
            <a:extLst>
              <a:ext uri="{FF2B5EF4-FFF2-40B4-BE49-F238E27FC236}">
                <a16:creationId xmlns:a16="http://schemas.microsoft.com/office/drawing/2014/main" id="{E3F4A9B2-E7A8-E847-7A49-C675FD635F10}"/>
              </a:ext>
            </a:extLst>
          </p:cNvPr>
          <p:cNvSpPr/>
          <p:nvPr/>
        </p:nvSpPr>
        <p:spPr>
          <a:xfrm flipH="1" flipV="1">
            <a:off x="3812573" y="3112006"/>
            <a:ext cx="7350" cy="1097338"/>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 name="Straight Connector 49">
            <a:extLst>
              <a:ext uri="{FF2B5EF4-FFF2-40B4-BE49-F238E27FC236}">
                <a16:creationId xmlns:a16="http://schemas.microsoft.com/office/drawing/2014/main" id="{5B29ECEB-6062-466C-4801-A0E4F85CF563}"/>
              </a:ext>
            </a:extLst>
          </p:cNvPr>
          <p:cNvSpPr/>
          <p:nvPr/>
        </p:nvSpPr>
        <p:spPr>
          <a:xfrm flipV="1">
            <a:off x="5064707" y="2493756"/>
            <a:ext cx="0" cy="1690696"/>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 name="Straight Connector 2">
            <a:extLst>
              <a:ext uri="{FF2B5EF4-FFF2-40B4-BE49-F238E27FC236}">
                <a16:creationId xmlns:a16="http://schemas.microsoft.com/office/drawing/2014/main" id="{EEB4CACF-C2CE-ED74-9B03-E7395F8DF77E}"/>
              </a:ext>
            </a:extLst>
          </p:cNvPr>
          <p:cNvSpPr/>
          <p:nvPr/>
        </p:nvSpPr>
        <p:spPr>
          <a:xfrm flipV="1">
            <a:off x="5081597" y="3546019"/>
            <a:ext cx="366495" cy="63960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0" name="Straight Connector 65">
            <a:extLst>
              <a:ext uri="{FF2B5EF4-FFF2-40B4-BE49-F238E27FC236}">
                <a16:creationId xmlns:a16="http://schemas.microsoft.com/office/drawing/2014/main" id="{B9D8C2D9-631A-64CF-AAD6-D792911C4D81}"/>
              </a:ext>
            </a:extLst>
          </p:cNvPr>
          <p:cNvSpPr/>
          <p:nvPr/>
        </p:nvSpPr>
        <p:spPr>
          <a:xfrm flipH="1" flipV="1">
            <a:off x="9845846" y="2551573"/>
            <a:ext cx="11197" cy="1567214"/>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1" name="Straight Connector 2">
            <a:extLst>
              <a:ext uri="{FF2B5EF4-FFF2-40B4-BE49-F238E27FC236}">
                <a16:creationId xmlns:a16="http://schemas.microsoft.com/office/drawing/2014/main" id="{8ACCB4D4-BBDE-3E5D-A19A-0FAB0A55BD03}"/>
              </a:ext>
            </a:extLst>
          </p:cNvPr>
          <p:cNvSpPr/>
          <p:nvPr/>
        </p:nvSpPr>
        <p:spPr>
          <a:xfrm flipV="1">
            <a:off x="7662447" y="3777888"/>
            <a:ext cx="367665" cy="435682"/>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2" name="Straight Connector 2">
            <a:extLst>
              <a:ext uri="{FF2B5EF4-FFF2-40B4-BE49-F238E27FC236}">
                <a16:creationId xmlns:a16="http://schemas.microsoft.com/office/drawing/2014/main" id="{367A58A4-D44F-5459-E6B0-BE77DC490819}"/>
              </a:ext>
            </a:extLst>
          </p:cNvPr>
          <p:cNvSpPr/>
          <p:nvPr/>
        </p:nvSpPr>
        <p:spPr>
          <a:xfrm flipH="1" flipV="1">
            <a:off x="7195081" y="3788164"/>
            <a:ext cx="491106" cy="44701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3" name="Title 3">
            <a:extLst>
              <a:ext uri="{FF2B5EF4-FFF2-40B4-BE49-F238E27FC236}">
                <a16:creationId xmlns:a16="http://schemas.microsoft.com/office/drawing/2014/main" id="{46AC0822-57D2-FCDB-97F5-2DB3B6CD07D8}"/>
              </a:ext>
            </a:extLst>
          </p:cNvPr>
          <p:cNvSpPr>
            <a:spLocks noGrp="1"/>
          </p:cNvSpPr>
          <p:nvPr>
            <p:ph type="title"/>
          </p:nvPr>
        </p:nvSpPr>
        <p:spPr>
          <a:xfrm>
            <a:off x="381001" y="357722"/>
            <a:ext cx="6608941" cy="223846"/>
          </a:xfrm>
        </p:spPr>
        <p:txBody>
          <a:bodyPr/>
          <a:lstStyle/>
          <a:p>
            <a:r>
              <a:rPr lang="en-US" sz="2800" b="1"/>
              <a:t>Automation</a:t>
            </a:r>
            <a:r>
              <a:rPr lang="en-US" sz="2800"/>
              <a:t> </a:t>
            </a:r>
            <a:r>
              <a:rPr lang="en-US" sz="2800" b="1"/>
              <a:t>&amp; us</a:t>
            </a:r>
          </a:p>
        </p:txBody>
      </p:sp>
      <p:sp>
        <p:nvSpPr>
          <p:cNvPr id="14" name="Rectangle">
            <a:extLst>
              <a:ext uri="{FF2B5EF4-FFF2-40B4-BE49-F238E27FC236}">
                <a16:creationId xmlns:a16="http://schemas.microsoft.com/office/drawing/2014/main" id="{3B7F9B89-E8EA-8B7B-924D-24879171D1C7}"/>
              </a:ext>
            </a:extLst>
          </p:cNvPr>
          <p:cNvSpPr/>
          <p:nvPr/>
        </p:nvSpPr>
        <p:spPr>
          <a:xfrm>
            <a:off x="0" y="4221696"/>
            <a:ext cx="12185651" cy="2610631"/>
          </a:xfrm>
          <a:prstGeom prst="rect">
            <a:avLst/>
          </a:prstGeom>
          <a:solidFill>
            <a:schemeClr val="accent1"/>
          </a:solidFill>
          <a:ln w="12700">
            <a:miter lim="400000"/>
          </a:ln>
        </p:spPr>
        <p:txBody>
          <a:bodyPr lIns="50787" tIns="50787" rIns="50787" bIns="50787" anchor="ctr"/>
          <a:lstStyle/>
          <a:p>
            <a:pPr defTabSz="825252">
              <a:defRPr sz="3200">
                <a:solidFill>
                  <a:srgbClr val="FFFFFF"/>
                </a:solidFill>
                <a:latin typeface="Helvetica Neue Medium"/>
                <a:ea typeface="Helvetica Neue Medium"/>
                <a:cs typeface="Helvetica Neue Medium"/>
                <a:sym typeface="Helvetica Neue Medium"/>
              </a:defRPr>
            </a:pPr>
            <a:endParaRPr lang="en-US" sz="3199">
              <a:solidFill>
                <a:srgbClr val="FFFFFF"/>
              </a:solidFill>
              <a:latin typeface="Helvetica Neue Medium"/>
              <a:ea typeface="Helvetica Neue Medium"/>
              <a:cs typeface="Helvetica Neue Medium"/>
              <a:sym typeface="Helvetica Neue Medium"/>
            </a:endParaRPr>
          </a:p>
        </p:txBody>
      </p:sp>
      <p:sp>
        <p:nvSpPr>
          <p:cNvPr id="15" name="Oval 116">
            <a:extLst>
              <a:ext uri="{FF2B5EF4-FFF2-40B4-BE49-F238E27FC236}">
                <a16:creationId xmlns:a16="http://schemas.microsoft.com/office/drawing/2014/main" id="{4DB6DCAC-B09F-7672-1E48-E9B2D2602774}"/>
              </a:ext>
            </a:extLst>
          </p:cNvPr>
          <p:cNvSpPr/>
          <p:nvPr/>
        </p:nvSpPr>
        <p:spPr>
          <a:xfrm>
            <a:off x="10743723" y="3711208"/>
            <a:ext cx="1311788" cy="1242902"/>
          </a:xfrm>
          <a:prstGeom prst="ellipse">
            <a:avLst/>
          </a:prstGeom>
          <a:solidFill>
            <a:srgbClr val="FFFFFF"/>
          </a:solidFill>
          <a:ln w="28575">
            <a:solidFill>
              <a:schemeClr val="accent1"/>
            </a:solidFill>
          </a:ln>
        </p:spPr>
        <p:txBody>
          <a:bodyPr lIns="0" tIns="0" rIns="0" bIns="0" anchor="ct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pic>
        <p:nvPicPr>
          <p:cNvPr id="16" name="Picture 6" descr="Picture 6">
            <a:extLst>
              <a:ext uri="{FF2B5EF4-FFF2-40B4-BE49-F238E27FC236}">
                <a16:creationId xmlns:a16="http://schemas.microsoft.com/office/drawing/2014/main" id="{29E27926-D2AD-4BA4-896F-3093401EB6B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20516263">
            <a:off x="11035066" y="4091829"/>
            <a:ext cx="612474" cy="583833"/>
          </a:xfrm>
          <a:prstGeom prst="rect">
            <a:avLst/>
          </a:prstGeom>
          <a:ln w="12700">
            <a:miter lim="400000"/>
          </a:ln>
        </p:spPr>
      </p:pic>
      <p:grpSp>
        <p:nvGrpSpPr>
          <p:cNvPr id="17" name="Group">
            <a:extLst>
              <a:ext uri="{FF2B5EF4-FFF2-40B4-BE49-F238E27FC236}">
                <a16:creationId xmlns:a16="http://schemas.microsoft.com/office/drawing/2014/main" id="{3CD18DF0-EC72-831F-6CD7-D2D53707AE64}"/>
              </a:ext>
            </a:extLst>
          </p:cNvPr>
          <p:cNvGrpSpPr/>
          <p:nvPr/>
        </p:nvGrpSpPr>
        <p:grpSpPr>
          <a:xfrm>
            <a:off x="-256762" y="4962340"/>
            <a:ext cx="7919209" cy="493512"/>
            <a:chOff x="-670274" y="-205309"/>
            <a:chExt cx="14865694" cy="1031268"/>
          </a:xfrm>
        </p:grpSpPr>
        <p:sp>
          <p:nvSpPr>
            <p:cNvPr id="18" name="TextBox 11">
              <a:extLst>
                <a:ext uri="{FF2B5EF4-FFF2-40B4-BE49-F238E27FC236}">
                  <a16:creationId xmlns:a16="http://schemas.microsoft.com/office/drawing/2014/main" id="{2E090D73-3775-75B7-3A00-C199CE8C4B77}"/>
                </a:ext>
              </a:extLst>
            </p:cNvPr>
            <p:cNvSpPr/>
            <p:nvPr/>
          </p:nvSpPr>
          <p:spPr>
            <a:xfrm rot="21597783">
              <a:off x="-670274" y="70420"/>
              <a:ext cx="2202178" cy="7555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100" spc="0">
                  <a:solidFill>
                    <a:srgbClr val="FA4616">
                      <a:lumMod val="50000"/>
                    </a:srgbClr>
                  </a:solidFill>
                </a:rPr>
                <a:t>2005</a:t>
              </a:r>
            </a:p>
          </p:txBody>
        </p:sp>
        <p:sp>
          <p:nvSpPr>
            <p:cNvPr id="19" name="TextBox 121">
              <a:extLst>
                <a:ext uri="{FF2B5EF4-FFF2-40B4-BE49-F238E27FC236}">
                  <a16:creationId xmlns:a16="http://schemas.microsoft.com/office/drawing/2014/main" id="{E0DE9F2D-AA27-2632-26F9-2577FA05A343}"/>
                </a:ext>
              </a:extLst>
            </p:cNvPr>
            <p:cNvSpPr/>
            <p:nvPr/>
          </p:nvSpPr>
          <p:spPr>
            <a:xfrm rot="21597783">
              <a:off x="816364" y="15874"/>
              <a:ext cx="2744882" cy="7556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300" spc="0">
                  <a:solidFill>
                    <a:srgbClr val="FA4616">
                      <a:lumMod val="50000"/>
                    </a:srgbClr>
                  </a:solidFill>
                </a:rPr>
                <a:t>2013</a:t>
              </a:r>
            </a:p>
          </p:txBody>
        </p:sp>
        <p:sp>
          <p:nvSpPr>
            <p:cNvPr id="20" name="TextBox 127">
              <a:extLst>
                <a:ext uri="{FF2B5EF4-FFF2-40B4-BE49-F238E27FC236}">
                  <a16:creationId xmlns:a16="http://schemas.microsoft.com/office/drawing/2014/main" id="{B3CDEBF6-FC1E-C7EE-E3A3-53AA1EDDB022}"/>
                </a:ext>
              </a:extLst>
            </p:cNvPr>
            <p:cNvSpPr/>
            <p:nvPr/>
          </p:nvSpPr>
          <p:spPr>
            <a:xfrm rot="21597783">
              <a:off x="11450519" y="-191252"/>
              <a:ext cx="2744901" cy="88488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200" spc="0">
                  <a:solidFill>
                    <a:srgbClr val="FA4616">
                      <a:lumMod val="50000"/>
                    </a:srgbClr>
                  </a:solidFill>
                </a:rPr>
                <a:t>2020</a:t>
              </a:r>
            </a:p>
          </p:txBody>
        </p:sp>
        <p:sp>
          <p:nvSpPr>
            <p:cNvPr id="21" name="TextBox 172">
              <a:extLst>
                <a:ext uri="{FF2B5EF4-FFF2-40B4-BE49-F238E27FC236}">
                  <a16:creationId xmlns:a16="http://schemas.microsoft.com/office/drawing/2014/main" id="{2F99D5F4-F0ED-A5F0-49EA-A548F94141B0}"/>
                </a:ext>
              </a:extLst>
            </p:cNvPr>
            <p:cNvSpPr/>
            <p:nvPr/>
          </p:nvSpPr>
          <p:spPr>
            <a:xfrm rot="21597783">
              <a:off x="2753454" y="-78550"/>
              <a:ext cx="2744882" cy="7556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500" spc="0">
                  <a:solidFill>
                    <a:srgbClr val="FA4616">
                      <a:lumMod val="50000"/>
                    </a:srgbClr>
                  </a:solidFill>
                </a:rPr>
                <a:t>2017</a:t>
              </a:r>
            </a:p>
          </p:txBody>
        </p:sp>
        <p:sp>
          <p:nvSpPr>
            <p:cNvPr id="22" name="TextBox 180">
              <a:extLst>
                <a:ext uri="{FF2B5EF4-FFF2-40B4-BE49-F238E27FC236}">
                  <a16:creationId xmlns:a16="http://schemas.microsoft.com/office/drawing/2014/main" id="{C4FB0857-F51E-E33C-DBE4-70EAD55011ED}"/>
                </a:ext>
              </a:extLst>
            </p:cNvPr>
            <p:cNvSpPr/>
            <p:nvPr/>
          </p:nvSpPr>
          <p:spPr>
            <a:xfrm rot="21597783">
              <a:off x="5688276" y="-151954"/>
              <a:ext cx="2744882" cy="75560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1700" spc="0">
                  <a:solidFill>
                    <a:srgbClr val="FA4616">
                      <a:lumMod val="50000"/>
                    </a:srgbClr>
                  </a:solidFill>
                </a:rPr>
                <a:t>2018</a:t>
              </a:r>
            </a:p>
          </p:txBody>
        </p:sp>
        <p:sp>
          <p:nvSpPr>
            <p:cNvPr id="23" name="TextBox 47">
              <a:extLst>
                <a:ext uri="{FF2B5EF4-FFF2-40B4-BE49-F238E27FC236}">
                  <a16:creationId xmlns:a16="http://schemas.microsoft.com/office/drawing/2014/main" id="{21F49DD4-6385-3C9F-770A-2D14CEDBA194}"/>
                </a:ext>
              </a:extLst>
            </p:cNvPr>
            <p:cNvSpPr/>
            <p:nvPr/>
          </p:nvSpPr>
          <p:spPr>
            <a:xfrm rot="21597783">
              <a:off x="8289662" y="-205309"/>
              <a:ext cx="2744882" cy="7556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9"/>
                  </a:lnTo>
                  <a:lnTo>
                    <a:pt x="21600" y="21600"/>
                  </a:lnTo>
                  <a:lnTo>
                    <a:pt x="1" y="21591"/>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312">
                  <a:solidFill>
                    <a:srgbClr val="802F1A"/>
                  </a:solidFill>
                  <a:latin typeface="Arial"/>
                  <a:ea typeface="Arial"/>
                  <a:cs typeface="Arial"/>
                  <a:sym typeface="Arial"/>
                </a:defRPr>
              </a:lvl1pPr>
            </a:lstStyle>
            <a:p>
              <a:pPr algn="ctr">
                <a:defRPr/>
              </a:pPr>
              <a:r>
                <a:rPr sz="2000" spc="0">
                  <a:solidFill>
                    <a:srgbClr val="FA4616">
                      <a:lumMod val="50000"/>
                    </a:srgbClr>
                  </a:solidFill>
                </a:rPr>
                <a:t>2019</a:t>
              </a:r>
            </a:p>
          </p:txBody>
        </p:sp>
      </p:grpSp>
      <p:sp>
        <p:nvSpPr>
          <p:cNvPr id="24" name="TextBox 139">
            <a:extLst>
              <a:ext uri="{FF2B5EF4-FFF2-40B4-BE49-F238E27FC236}">
                <a16:creationId xmlns:a16="http://schemas.microsoft.com/office/drawing/2014/main" id="{FCE24746-ED0F-9984-B549-FCC924CFFDA7}"/>
              </a:ext>
            </a:extLst>
          </p:cNvPr>
          <p:cNvSpPr/>
          <p:nvPr/>
        </p:nvSpPr>
        <p:spPr>
          <a:xfrm rot="21597783">
            <a:off x="-121801" y="4552710"/>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sz="800">
                <a:solidFill>
                  <a:srgbClr val="FFFFFF"/>
                </a:solidFill>
                <a:latin typeface="Arial"/>
                <a:cs typeface="Arial"/>
                <a:sym typeface="Arial"/>
              </a:rPr>
              <a:t>SCREEN </a:t>
            </a:r>
          </a:p>
          <a:p>
            <a:pPr algn="ctr" defTabSz="914126">
              <a:defRPr sz="2000">
                <a:solidFill>
                  <a:srgbClr val="FFFFFF"/>
                </a:solidFill>
                <a:latin typeface="Arial"/>
                <a:ea typeface="Arial"/>
                <a:cs typeface="Arial"/>
                <a:sym typeface="Arial"/>
              </a:defRPr>
            </a:pPr>
            <a:r>
              <a:rPr sz="800">
                <a:solidFill>
                  <a:srgbClr val="FFFFFF"/>
                </a:solidFill>
                <a:latin typeface="Arial"/>
                <a:cs typeface="Arial"/>
                <a:sym typeface="Arial"/>
              </a:rPr>
              <a:t>SCRAPING</a:t>
            </a:r>
          </a:p>
        </p:txBody>
      </p:sp>
      <p:sp>
        <p:nvSpPr>
          <p:cNvPr id="25" name="TextBox 157">
            <a:extLst>
              <a:ext uri="{FF2B5EF4-FFF2-40B4-BE49-F238E27FC236}">
                <a16:creationId xmlns:a16="http://schemas.microsoft.com/office/drawing/2014/main" id="{6AB9401A-BAF3-CF08-E4C4-D9A2AFD9054A}"/>
              </a:ext>
            </a:extLst>
          </p:cNvPr>
          <p:cNvSpPr/>
          <p:nvPr/>
        </p:nvSpPr>
        <p:spPr>
          <a:xfrm rot="21597783">
            <a:off x="913600" y="4614264"/>
            <a:ext cx="827004" cy="12311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UI AUTOMATION</a:t>
            </a:r>
            <a:endParaRPr sz="800">
              <a:solidFill>
                <a:srgbClr val="FFFFFF"/>
              </a:solidFill>
              <a:latin typeface="Arial"/>
              <a:cs typeface="Arial"/>
              <a:sym typeface="Arial"/>
            </a:endParaRPr>
          </a:p>
        </p:txBody>
      </p:sp>
      <p:sp>
        <p:nvSpPr>
          <p:cNvPr id="26" name="TextBox 187">
            <a:extLst>
              <a:ext uri="{FF2B5EF4-FFF2-40B4-BE49-F238E27FC236}">
                <a16:creationId xmlns:a16="http://schemas.microsoft.com/office/drawing/2014/main" id="{78375F16-DAC2-A7AC-2054-A14345F49E72}"/>
              </a:ext>
            </a:extLst>
          </p:cNvPr>
          <p:cNvSpPr/>
          <p:nvPr/>
        </p:nvSpPr>
        <p:spPr>
          <a:xfrm rot="21597783">
            <a:off x="2729515" y="4549581"/>
            <a:ext cx="416601"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OCR</a:t>
            </a:r>
            <a:r>
              <a:rPr lang="en-US" sz="800"/>
              <a:t>	</a:t>
            </a:r>
            <a:endParaRPr sz="800"/>
          </a:p>
        </p:txBody>
      </p:sp>
      <p:sp>
        <p:nvSpPr>
          <p:cNvPr id="27" name="TextBox 192">
            <a:extLst>
              <a:ext uri="{FF2B5EF4-FFF2-40B4-BE49-F238E27FC236}">
                <a16:creationId xmlns:a16="http://schemas.microsoft.com/office/drawing/2014/main" id="{59DAF0CB-6B5A-BD84-5341-3538CF8C7CE7}"/>
              </a:ext>
            </a:extLst>
          </p:cNvPr>
          <p:cNvSpPr/>
          <p:nvPr/>
        </p:nvSpPr>
        <p:spPr>
          <a:xfrm rot="21597783">
            <a:off x="3618995" y="4517608"/>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I COMPUTER VISION</a:t>
            </a:r>
            <a:endParaRPr sz="800"/>
          </a:p>
        </p:txBody>
      </p:sp>
      <p:sp>
        <p:nvSpPr>
          <p:cNvPr id="28" name="TextBox 53">
            <a:extLst>
              <a:ext uri="{FF2B5EF4-FFF2-40B4-BE49-F238E27FC236}">
                <a16:creationId xmlns:a16="http://schemas.microsoft.com/office/drawing/2014/main" id="{7DA46B62-53B8-108E-F7E9-57C28BA8C043}"/>
              </a:ext>
            </a:extLst>
          </p:cNvPr>
          <p:cNvSpPr/>
          <p:nvPr/>
        </p:nvSpPr>
        <p:spPr>
          <a:xfrm rot="21597783">
            <a:off x="5697743" y="4545432"/>
            <a:ext cx="614453" cy="36933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HUMAN </a:t>
            </a:r>
            <a:endParaRPr lang="en-US" sz="800"/>
          </a:p>
          <a:p>
            <a:pPr algn="ctr">
              <a:defRPr/>
            </a:pPr>
            <a:r>
              <a:rPr sz="800"/>
              <a:t>IN </a:t>
            </a:r>
            <a:br>
              <a:rPr lang="en-US" sz="800"/>
            </a:br>
            <a:r>
              <a:rPr sz="800"/>
              <a:t>THE LOOP</a:t>
            </a:r>
          </a:p>
        </p:txBody>
      </p:sp>
      <p:sp>
        <p:nvSpPr>
          <p:cNvPr id="29" name="TextBox 55">
            <a:extLst>
              <a:ext uri="{FF2B5EF4-FFF2-40B4-BE49-F238E27FC236}">
                <a16:creationId xmlns:a16="http://schemas.microsoft.com/office/drawing/2014/main" id="{3DC22F54-CC81-A5B6-BE94-1303D95B3E96}"/>
              </a:ext>
            </a:extLst>
          </p:cNvPr>
          <p:cNvSpPr/>
          <p:nvPr/>
        </p:nvSpPr>
        <p:spPr>
          <a:xfrm rot="21597783">
            <a:off x="6315749" y="4560380"/>
            <a:ext cx="548976"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TEST SUITE</a:t>
            </a:r>
            <a:endParaRPr sz="800"/>
          </a:p>
        </p:txBody>
      </p:sp>
      <p:sp>
        <p:nvSpPr>
          <p:cNvPr id="30" name="TextBox 70">
            <a:extLst>
              <a:ext uri="{FF2B5EF4-FFF2-40B4-BE49-F238E27FC236}">
                <a16:creationId xmlns:a16="http://schemas.microsoft.com/office/drawing/2014/main" id="{92D2EFFA-4C8A-4675-09FD-9B7BAA1A8827}"/>
              </a:ext>
            </a:extLst>
          </p:cNvPr>
          <p:cNvSpPr/>
          <p:nvPr/>
        </p:nvSpPr>
        <p:spPr>
          <a:xfrm rot="21597783">
            <a:off x="10833636" y="5090767"/>
            <a:ext cx="1221741" cy="41539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900"/>
              <a:t>THE </a:t>
            </a:r>
            <a:r>
              <a:rPr sz="900"/>
              <a:t>FULLY AUTOMATED ENTERPRISE</a:t>
            </a:r>
          </a:p>
        </p:txBody>
      </p:sp>
      <p:sp>
        <p:nvSpPr>
          <p:cNvPr id="31" name="TextBox 69">
            <a:extLst>
              <a:ext uri="{FF2B5EF4-FFF2-40B4-BE49-F238E27FC236}">
                <a16:creationId xmlns:a16="http://schemas.microsoft.com/office/drawing/2014/main" id="{6D07A7AA-6993-C7F7-10A6-D5E00362E4B7}"/>
              </a:ext>
            </a:extLst>
          </p:cNvPr>
          <p:cNvSpPr/>
          <p:nvPr/>
        </p:nvSpPr>
        <p:spPr>
          <a:xfrm rot="21597783">
            <a:off x="5002043" y="4531507"/>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sz="800"/>
              <a:t>PROCESS MINING</a:t>
            </a:r>
          </a:p>
        </p:txBody>
      </p:sp>
      <p:sp>
        <p:nvSpPr>
          <p:cNvPr id="32" name="TextBox 74">
            <a:extLst>
              <a:ext uri="{FF2B5EF4-FFF2-40B4-BE49-F238E27FC236}">
                <a16:creationId xmlns:a16="http://schemas.microsoft.com/office/drawing/2014/main" id="{65662C73-8D8C-7E83-A2FF-1D63436AF01F}"/>
              </a:ext>
            </a:extLst>
          </p:cNvPr>
          <p:cNvSpPr/>
          <p:nvPr/>
        </p:nvSpPr>
        <p:spPr>
          <a:xfrm rot="21597783">
            <a:off x="8289928" y="4548772"/>
            <a:ext cx="454702" cy="12311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PPS</a:t>
            </a:r>
            <a:endParaRPr sz="800"/>
          </a:p>
        </p:txBody>
      </p:sp>
      <p:pic>
        <p:nvPicPr>
          <p:cNvPr id="33" name="Picture 27" descr="Picture 27">
            <a:extLst>
              <a:ext uri="{FF2B5EF4-FFF2-40B4-BE49-F238E27FC236}">
                <a16:creationId xmlns:a16="http://schemas.microsoft.com/office/drawing/2014/main" id="{2419B29B-1143-1450-5E4D-90BB3353435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45366">
            <a:off x="1104720" y="3630542"/>
            <a:ext cx="503091" cy="591133"/>
          </a:xfrm>
          <a:prstGeom prst="rect">
            <a:avLst/>
          </a:prstGeom>
          <a:ln w="12700">
            <a:miter lim="400000"/>
          </a:ln>
        </p:spPr>
      </p:pic>
      <p:sp>
        <p:nvSpPr>
          <p:cNvPr id="34" name="TextBox 17">
            <a:extLst>
              <a:ext uri="{FF2B5EF4-FFF2-40B4-BE49-F238E27FC236}">
                <a16:creationId xmlns:a16="http://schemas.microsoft.com/office/drawing/2014/main" id="{C9936824-E57F-113D-08D2-3F223F90B19B}"/>
              </a:ext>
            </a:extLst>
          </p:cNvPr>
          <p:cNvSpPr txBox="1"/>
          <p:nvPr/>
        </p:nvSpPr>
        <p:spPr>
          <a:xfrm rot="6030">
            <a:off x="251899" y="2270287"/>
            <a:ext cx="1474512" cy="3876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defTabSz="914400">
              <a:lnSpc>
                <a:spcPct val="90000"/>
              </a:lnSpc>
              <a:defRPr sz="2800" b="1">
                <a:solidFill>
                  <a:srgbClr val="E6552F"/>
                </a:solidFill>
                <a:latin typeface="Arial"/>
                <a:ea typeface="Arial"/>
                <a:cs typeface="Arial"/>
                <a:sym typeface="Arial"/>
              </a:defRPr>
            </a:lvl1pPr>
          </a:lstStyle>
          <a:p>
            <a:pPr>
              <a:defRPr/>
            </a:pPr>
            <a:r>
              <a:rPr sz="1400"/>
              <a:t>UiPath founded in Romania</a:t>
            </a:r>
          </a:p>
        </p:txBody>
      </p:sp>
      <p:sp>
        <p:nvSpPr>
          <p:cNvPr id="35" name="TextBox 164">
            <a:extLst>
              <a:ext uri="{FF2B5EF4-FFF2-40B4-BE49-F238E27FC236}">
                <a16:creationId xmlns:a16="http://schemas.microsoft.com/office/drawing/2014/main" id="{67C92D1A-EB78-C6EA-77E4-FEC4AF62A9C8}"/>
              </a:ext>
            </a:extLst>
          </p:cNvPr>
          <p:cNvSpPr txBox="1"/>
          <p:nvPr/>
        </p:nvSpPr>
        <p:spPr>
          <a:xfrm rot="6030">
            <a:off x="2212490" y="2666805"/>
            <a:ext cx="806435" cy="6769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UiPath </a:t>
            </a:r>
            <a:br>
              <a:rPr sz="1100">
                <a:solidFill>
                  <a:srgbClr val="404040"/>
                </a:solidFill>
                <a:latin typeface="Arial"/>
                <a:cs typeface="Arial"/>
                <a:sym typeface="Arial"/>
              </a:rPr>
            </a:br>
            <a:r>
              <a:rPr sz="1100">
                <a:solidFill>
                  <a:srgbClr val="404040"/>
                </a:solidFill>
                <a:latin typeface="Arial"/>
                <a:cs typeface="Arial"/>
                <a:sym typeface="Arial"/>
              </a:rPr>
              <a:t>Enterprise</a:t>
            </a:r>
            <a:r>
              <a:rPr lang="en-US" sz="1100">
                <a:solidFill>
                  <a:srgbClr val="404040"/>
                </a:solidFill>
                <a:latin typeface="Arial"/>
                <a:cs typeface="Arial"/>
                <a:sym typeface="Arial"/>
              </a:rPr>
              <a:t> RPA</a:t>
            </a:r>
            <a:r>
              <a:rPr sz="1100">
                <a:solidFill>
                  <a:srgbClr val="404040"/>
                </a:solidFill>
                <a:latin typeface="Arial"/>
                <a:cs typeface="Arial"/>
                <a:sym typeface="Arial"/>
              </a:rPr>
              <a:t> </a:t>
            </a:r>
            <a:br>
              <a:rPr sz="1100">
                <a:solidFill>
                  <a:srgbClr val="404040"/>
                </a:solidFill>
                <a:latin typeface="Arial"/>
                <a:cs typeface="Arial"/>
                <a:sym typeface="Arial"/>
              </a:rPr>
            </a:br>
            <a:r>
              <a:rPr sz="1100">
                <a:solidFill>
                  <a:srgbClr val="404040"/>
                </a:solidFill>
                <a:latin typeface="Arial"/>
                <a:cs typeface="Arial"/>
                <a:sym typeface="Arial"/>
              </a:rPr>
              <a:t>Platform</a:t>
            </a:r>
          </a:p>
        </p:txBody>
      </p:sp>
      <p:sp>
        <p:nvSpPr>
          <p:cNvPr id="36" name="TextBox 177">
            <a:extLst>
              <a:ext uri="{FF2B5EF4-FFF2-40B4-BE49-F238E27FC236}">
                <a16:creationId xmlns:a16="http://schemas.microsoft.com/office/drawing/2014/main" id="{8292E8C0-F95F-191D-F732-955F91C527E0}"/>
              </a:ext>
            </a:extLst>
          </p:cNvPr>
          <p:cNvSpPr txBox="1"/>
          <p:nvPr/>
        </p:nvSpPr>
        <p:spPr>
          <a:xfrm rot="6030">
            <a:off x="1797524" y="1412651"/>
            <a:ext cx="757931" cy="338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Series A</a:t>
            </a:r>
          </a:p>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Investment</a:t>
            </a:r>
            <a:r>
              <a:rPr lang="en-US" sz="1100">
                <a:solidFill>
                  <a:srgbClr val="404040"/>
                </a:solidFill>
                <a:latin typeface="Arial"/>
                <a:cs typeface="Arial"/>
                <a:sym typeface="Arial"/>
              </a:rPr>
              <a:t> </a:t>
            </a:r>
            <a:endParaRPr sz="1100">
              <a:solidFill>
                <a:srgbClr val="404040"/>
              </a:solidFill>
              <a:latin typeface="Arial"/>
              <a:cs typeface="Arial"/>
              <a:sym typeface="Arial"/>
            </a:endParaRPr>
          </a:p>
        </p:txBody>
      </p:sp>
      <p:sp>
        <p:nvSpPr>
          <p:cNvPr id="37" name="TextBox 185">
            <a:extLst>
              <a:ext uri="{FF2B5EF4-FFF2-40B4-BE49-F238E27FC236}">
                <a16:creationId xmlns:a16="http://schemas.microsoft.com/office/drawing/2014/main" id="{F3C67BB8-E2B2-8B43-6CB8-E82C462E4137}"/>
              </a:ext>
            </a:extLst>
          </p:cNvPr>
          <p:cNvSpPr txBox="1"/>
          <p:nvPr/>
        </p:nvSpPr>
        <p:spPr>
          <a:xfrm rot="6030">
            <a:off x="3476256" y="2735599"/>
            <a:ext cx="1247157" cy="338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Series B &amp; C </a:t>
            </a:r>
          </a:p>
          <a:p>
            <a:pPr defTabSz="914126">
              <a:defRPr sz="2200">
                <a:solidFill>
                  <a:srgbClr val="404040"/>
                </a:solidFill>
                <a:latin typeface="Arial"/>
                <a:ea typeface="Arial"/>
                <a:cs typeface="Arial"/>
                <a:sym typeface="Arial"/>
              </a:defRPr>
            </a:pPr>
            <a:r>
              <a:rPr sz="1100">
                <a:solidFill>
                  <a:srgbClr val="404040"/>
                </a:solidFill>
                <a:latin typeface="Arial"/>
                <a:cs typeface="Arial"/>
                <a:sym typeface="Arial"/>
              </a:rPr>
              <a:t>investment</a:t>
            </a:r>
          </a:p>
        </p:txBody>
      </p:sp>
      <p:sp>
        <p:nvSpPr>
          <p:cNvPr id="38" name="TextBox 51">
            <a:extLst>
              <a:ext uri="{FF2B5EF4-FFF2-40B4-BE49-F238E27FC236}">
                <a16:creationId xmlns:a16="http://schemas.microsoft.com/office/drawing/2014/main" id="{B95FDB68-2E3E-512F-B8B9-EB4A88DACAEF}"/>
              </a:ext>
            </a:extLst>
          </p:cNvPr>
          <p:cNvSpPr txBox="1"/>
          <p:nvPr/>
        </p:nvSpPr>
        <p:spPr>
          <a:xfrm rot="6030">
            <a:off x="4441686" y="1826362"/>
            <a:ext cx="1247157"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lang="en-US" sz="1100"/>
              <a:t>Leader in Gartner Magic Quadrant and Forrester Wave for RPA</a:t>
            </a:r>
            <a:endParaRPr sz="1100"/>
          </a:p>
        </p:txBody>
      </p:sp>
      <p:sp>
        <p:nvSpPr>
          <p:cNvPr id="39" name="TextBox 58">
            <a:extLst>
              <a:ext uri="{FF2B5EF4-FFF2-40B4-BE49-F238E27FC236}">
                <a16:creationId xmlns:a16="http://schemas.microsoft.com/office/drawing/2014/main" id="{11AA45CA-CBF4-3095-71F3-7D9472A63766}"/>
              </a:ext>
            </a:extLst>
          </p:cNvPr>
          <p:cNvSpPr txBox="1"/>
          <p:nvPr/>
        </p:nvSpPr>
        <p:spPr>
          <a:xfrm rot="6030">
            <a:off x="5203059" y="3126669"/>
            <a:ext cx="874507" cy="338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D investment</a:t>
            </a:r>
          </a:p>
        </p:txBody>
      </p:sp>
      <p:sp>
        <p:nvSpPr>
          <p:cNvPr id="40" name="TextBox 72">
            <a:extLst>
              <a:ext uri="{FF2B5EF4-FFF2-40B4-BE49-F238E27FC236}">
                <a16:creationId xmlns:a16="http://schemas.microsoft.com/office/drawing/2014/main" id="{D6DC7B81-6CAD-D4E9-7C52-E51363533959}"/>
              </a:ext>
            </a:extLst>
          </p:cNvPr>
          <p:cNvSpPr txBox="1"/>
          <p:nvPr/>
        </p:nvSpPr>
        <p:spPr>
          <a:xfrm rot="6030">
            <a:off x="9389092" y="1794290"/>
            <a:ext cx="678039"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lgn="r">
              <a:defRPr/>
            </a:pPr>
            <a:r>
              <a:rPr lang="en-US" sz="1100"/>
              <a:t>#1 i</a:t>
            </a:r>
            <a:r>
              <a:rPr sz="1100"/>
              <a:t>n Gartner M</a:t>
            </a:r>
            <a:r>
              <a:rPr lang="en-US" sz="1100"/>
              <a:t>agic </a:t>
            </a:r>
            <a:r>
              <a:rPr sz="1100"/>
              <a:t>Q</a:t>
            </a:r>
            <a:r>
              <a:rPr lang="en-US" sz="1100"/>
              <a:t>uadrant</a:t>
            </a:r>
            <a:endParaRPr sz="1100"/>
          </a:p>
        </p:txBody>
      </p:sp>
      <p:sp>
        <p:nvSpPr>
          <p:cNvPr id="41" name="TextBox 73">
            <a:extLst>
              <a:ext uri="{FF2B5EF4-FFF2-40B4-BE49-F238E27FC236}">
                <a16:creationId xmlns:a16="http://schemas.microsoft.com/office/drawing/2014/main" id="{F3BEC248-6D11-8523-E623-180B0CBD79FD}"/>
              </a:ext>
            </a:extLst>
          </p:cNvPr>
          <p:cNvSpPr txBox="1"/>
          <p:nvPr/>
        </p:nvSpPr>
        <p:spPr>
          <a:xfrm rot="6030">
            <a:off x="6002098" y="3224147"/>
            <a:ext cx="1345581" cy="5076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lgn="r">
              <a:defRPr/>
            </a:pPr>
            <a:r>
              <a:rPr sz="1100"/>
              <a:t>#1 in all major independent user review sites for RPA</a:t>
            </a:r>
          </a:p>
        </p:txBody>
      </p:sp>
      <p:sp>
        <p:nvSpPr>
          <p:cNvPr id="42" name="TextBox 75">
            <a:extLst>
              <a:ext uri="{FF2B5EF4-FFF2-40B4-BE49-F238E27FC236}">
                <a16:creationId xmlns:a16="http://schemas.microsoft.com/office/drawing/2014/main" id="{DBDCF2A0-338D-4556-9C71-391C8DD1564D}"/>
              </a:ext>
            </a:extLst>
          </p:cNvPr>
          <p:cNvSpPr txBox="1"/>
          <p:nvPr/>
        </p:nvSpPr>
        <p:spPr>
          <a:xfrm rot="6030">
            <a:off x="7737410" y="3374807"/>
            <a:ext cx="874507" cy="338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E investment</a:t>
            </a:r>
          </a:p>
        </p:txBody>
      </p:sp>
      <p:sp>
        <p:nvSpPr>
          <p:cNvPr id="43" name="A robot…">
            <a:extLst>
              <a:ext uri="{FF2B5EF4-FFF2-40B4-BE49-F238E27FC236}">
                <a16:creationId xmlns:a16="http://schemas.microsoft.com/office/drawing/2014/main" id="{1172670B-602F-AE4E-8A81-6F90254C61C0}"/>
              </a:ext>
            </a:extLst>
          </p:cNvPr>
          <p:cNvSpPr txBox="1"/>
          <p:nvPr/>
        </p:nvSpPr>
        <p:spPr>
          <a:xfrm>
            <a:off x="3115740" y="1648904"/>
            <a:ext cx="828693" cy="590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126">
              <a:lnSpc>
                <a:spcPct val="80000"/>
              </a:lnSpc>
              <a:defRPr sz="2800" b="1">
                <a:solidFill>
                  <a:srgbClr val="E6552F"/>
                </a:solidFill>
                <a:latin typeface="Arial"/>
                <a:ea typeface="Arial"/>
                <a:cs typeface="Arial"/>
                <a:sym typeface="Arial"/>
              </a:defRPr>
            </a:pPr>
            <a:r>
              <a:rPr lang="en-US" sz="1200" b="1">
                <a:solidFill>
                  <a:srgbClr val="E6552F"/>
                </a:solidFill>
                <a:latin typeface="Arial"/>
                <a:cs typeface="Arial"/>
                <a:sym typeface="Arial"/>
              </a:rPr>
              <a:t>Our Vision: A Robot for Every Person</a:t>
            </a:r>
            <a:endParaRPr sz="1200" b="1">
              <a:solidFill>
                <a:srgbClr val="E6552F"/>
              </a:solidFill>
              <a:latin typeface="Arial"/>
              <a:cs typeface="Arial"/>
              <a:sym typeface="Arial"/>
            </a:endParaRPr>
          </a:p>
        </p:txBody>
      </p:sp>
      <p:sp>
        <p:nvSpPr>
          <p:cNvPr id="44" name="Straight Connector 16">
            <a:extLst>
              <a:ext uri="{FF2B5EF4-FFF2-40B4-BE49-F238E27FC236}">
                <a16:creationId xmlns:a16="http://schemas.microsoft.com/office/drawing/2014/main" id="{1F414F06-8195-0E15-7836-A520DD71A7ED}"/>
              </a:ext>
            </a:extLst>
          </p:cNvPr>
          <p:cNvSpPr/>
          <p:nvPr/>
        </p:nvSpPr>
        <p:spPr>
          <a:xfrm flipV="1">
            <a:off x="238989" y="4318049"/>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5" name="Straight Connector 16">
            <a:extLst>
              <a:ext uri="{FF2B5EF4-FFF2-40B4-BE49-F238E27FC236}">
                <a16:creationId xmlns:a16="http://schemas.microsoft.com/office/drawing/2014/main" id="{DD73BC6D-6FAB-AD18-1B67-824C14BEDB56}"/>
              </a:ext>
            </a:extLst>
          </p:cNvPr>
          <p:cNvSpPr/>
          <p:nvPr/>
        </p:nvSpPr>
        <p:spPr>
          <a:xfrm flipV="1">
            <a:off x="2944994" y="4298650"/>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6" name="Straight Connector 16">
            <a:extLst>
              <a:ext uri="{FF2B5EF4-FFF2-40B4-BE49-F238E27FC236}">
                <a16:creationId xmlns:a16="http://schemas.microsoft.com/office/drawing/2014/main" id="{2052CBB8-8ED8-17B7-07DE-F30E8F2C34AC}"/>
              </a:ext>
            </a:extLst>
          </p:cNvPr>
          <p:cNvSpPr/>
          <p:nvPr/>
        </p:nvSpPr>
        <p:spPr>
          <a:xfrm flipV="1">
            <a:off x="4073592" y="4300183"/>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7" name="Straight Connector 16">
            <a:extLst>
              <a:ext uri="{FF2B5EF4-FFF2-40B4-BE49-F238E27FC236}">
                <a16:creationId xmlns:a16="http://schemas.microsoft.com/office/drawing/2014/main" id="{F4718DEE-B215-866C-CEDE-1421D234273D}"/>
              </a:ext>
            </a:extLst>
          </p:cNvPr>
          <p:cNvSpPr/>
          <p:nvPr/>
        </p:nvSpPr>
        <p:spPr>
          <a:xfrm flipV="1">
            <a:off x="4777477" y="4304701"/>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8" name="Straight Connector 16">
            <a:extLst>
              <a:ext uri="{FF2B5EF4-FFF2-40B4-BE49-F238E27FC236}">
                <a16:creationId xmlns:a16="http://schemas.microsoft.com/office/drawing/2014/main" id="{9FD21ACA-A08D-805B-4F8D-37A5FEBBCDA3}"/>
              </a:ext>
            </a:extLst>
          </p:cNvPr>
          <p:cNvSpPr/>
          <p:nvPr/>
        </p:nvSpPr>
        <p:spPr>
          <a:xfrm flipV="1">
            <a:off x="5392025" y="4297125"/>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49" name="Straight Connector 16">
            <a:extLst>
              <a:ext uri="{FF2B5EF4-FFF2-40B4-BE49-F238E27FC236}">
                <a16:creationId xmlns:a16="http://schemas.microsoft.com/office/drawing/2014/main" id="{2BFC9B53-3A7C-2343-6D6C-28C935FF3316}"/>
              </a:ext>
            </a:extLst>
          </p:cNvPr>
          <p:cNvSpPr/>
          <p:nvPr/>
        </p:nvSpPr>
        <p:spPr>
          <a:xfrm flipV="1">
            <a:off x="6008225" y="4303962"/>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0" name="Straight Connector 16">
            <a:extLst>
              <a:ext uri="{FF2B5EF4-FFF2-40B4-BE49-F238E27FC236}">
                <a16:creationId xmlns:a16="http://schemas.microsoft.com/office/drawing/2014/main" id="{6A5E0858-B9DB-E6C9-83F1-09637C3D6DE4}"/>
              </a:ext>
            </a:extLst>
          </p:cNvPr>
          <p:cNvSpPr/>
          <p:nvPr/>
        </p:nvSpPr>
        <p:spPr>
          <a:xfrm flipV="1">
            <a:off x="6591122" y="4336858"/>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1" name="Straight Connector 16">
            <a:extLst>
              <a:ext uri="{FF2B5EF4-FFF2-40B4-BE49-F238E27FC236}">
                <a16:creationId xmlns:a16="http://schemas.microsoft.com/office/drawing/2014/main" id="{7CB748C4-17CB-4070-EDF3-46785EDD487F}"/>
              </a:ext>
            </a:extLst>
          </p:cNvPr>
          <p:cNvSpPr/>
          <p:nvPr/>
        </p:nvSpPr>
        <p:spPr>
          <a:xfrm flipV="1">
            <a:off x="8528412" y="4350422"/>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52" name="Oval 133">
            <a:extLst>
              <a:ext uri="{FF2B5EF4-FFF2-40B4-BE49-F238E27FC236}">
                <a16:creationId xmlns:a16="http://schemas.microsoft.com/office/drawing/2014/main" id="{3A4B4BC9-89D3-4CF1-A021-4AF6F9433182}"/>
              </a:ext>
            </a:extLst>
          </p:cNvPr>
          <p:cNvSpPr/>
          <p:nvPr/>
        </p:nvSpPr>
        <p:spPr>
          <a:xfrm>
            <a:off x="153184" y="414880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3" name="Oval 156">
            <a:extLst>
              <a:ext uri="{FF2B5EF4-FFF2-40B4-BE49-F238E27FC236}">
                <a16:creationId xmlns:a16="http://schemas.microsoft.com/office/drawing/2014/main" id="{77ACED72-9199-C8CC-88D3-EF603B848056}"/>
              </a:ext>
            </a:extLst>
          </p:cNvPr>
          <p:cNvSpPr/>
          <p:nvPr/>
        </p:nvSpPr>
        <p:spPr>
          <a:xfrm>
            <a:off x="1598091" y="4143551"/>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4" name="Oval 166">
            <a:extLst>
              <a:ext uri="{FF2B5EF4-FFF2-40B4-BE49-F238E27FC236}">
                <a16:creationId xmlns:a16="http://schemas.microsoft.com/office/drawing/2014/main" id="{CF310F26-B2EA-F9C3-D30C-DB5215DF035D}"/>
              </a:ext>
            </a:extLst>
          </p:cNvPr>
          <p:cNvSpPr/>
          <p:nvPr/>
        </p:nvSpPr>
        <p:spPr>
          <a:xfrm>
            <a:off x="2297163" y="414262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5" name="Oval 170">
            <a:extLst>
              <a:ext uri="{FF2B5EF4-FFF2-40B4-BE49-F238E27FC236}">
                <a16:creationId xmlns:a16="http://schemas.microsoft.com/office/drawing/2014/main" id="{E0A3E6DA-09A5-FC20-4D96-1FCE5011450A}"/>
              </a:ext>
            </a:extLst>
          </p:cNvPr>
          <p:cNvSpPr/>
          <p:nvPr/>
        </p:nvSpPr>
        <p:spPr>
          <a:xfrm>
            <a:off x="3310245" y="413328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6" name="Oval 173">
            <a:extLst>
              <a:ext uri="{FF2B5EF4-FFF2-40B4-BE49-F238E27FC236}">
                <a16:creationId xmlns:a16="http://schemas.microsoft.com/office/drawing/2014/main" id="{57662460-03DD-688F-311E-BFC33793F24F}"/>
              </a:ext>
            </a:extLst>
          </p:cNvPr>
          <p:cNvSpPr/>
          <p:nvPr/>
        </p:nvSpPr>
        <p:spPr>
          <a:xfrm>
            <a:off x="2032471" y="414800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57" name="Oval 182">
            <a:extLst>
              <a:ext uri="{FF2B5EF4-FFF2-40B4-BE49-F238E27FC236}">
                <a16:creationId xmlns:a16="http://schemas.microsoft.com/office/drawing/2014/main" id="{8D9DD278-D702-F55C-4AAB-A45A25D81691}"/>
              </a:ext>
            </a:extLst>
          </p:cNvPr>
          <p:cNvSpPr/>
          <p:nvPr/>
        </p:nvSpPr>
        <p:spPr>
          <a:xfrm>
            <a:off x="3731694" y="4130937"/>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58" name="Oval 48">
            <a:extLst>
              <a:ext uri="{FF2B5EF4-FFF2-40B4-BE49-F238E27FC236}">
                <a16:creationId xmlns:a16="http://schemas.microsoft.com/office/drawing/2014/main" id="{212235FD-2139-EE92-FC93-08EC7AF39156}"/>
              </a:ext>
            </a:extLst>
          </p:cNvPr>
          <p:cNvSpPr/>
          <p:nvPr/>
        </p:nvSpPr>
        <p:spPr>
          <a:xfrm>
            <a:off x="4981313" y="4135455"/>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59" name="Oval 186">
            <a:extLst>
              <a:ext uri="{FF2B5EF4-FFF2-40B4-BE49-F238E27FC236}">
                <a16:creationId xmlns:a16="http://schemas.microsoft.com/office/drawing/2014/main" id="{4228AD2A-429D-F8B7-0612-A440DF28C10A}"/>
              </a:ext>
            </a:extLst>
          </p:cNvPr>
          <p:cNvSpPr/>
          <p:nvPr/>
        </p:nvSpPr>
        <p:spPr>
          <a:xfrm>
            <a:off x="3987787" y="4130937"/>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0" name="Oval 191">
            <a:extLst>
              <a:ext uri="{FF2B5EF4-FFF2-40B4-BE49-F238E27FC236}">
                <a16:creationId xmlns:a16="http://schemas.microsoft.com/office/drawing/2014/main" id="{8995B558-290C-1BD0-18AC-C8FB38B8ECCE}"/>
              </a:ext>
            </a:extLst>
          </p:cNvPr>
          <p:cNvSpPr/>
          <p:nvPr/>
        </p:nvSpPr>
        <p:spPr>
          <a:xfrm>
            <a:off x="4687502" y="4135455"/>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1" name="Oval 52">
            <a:extLst>
              <a:ext uri="{FF2B5EF4-FFF2-40B4-BE49-F238E27FC236}">
                <a16:creationId xmlns:a16="http://schemas.microsoft.com/office/drawing/2014/main" id="{15ABB7AF-90AB-453B-6D6C-D28AD2B98CE8}"/>
              </a:ext>
            </a:extLst>
          </p:cNvPr>
          <p:cNvSpPr/>
          <p:nvPr/>
        </p:nvSpPr>
        <p:spPr>
          <a:xfrm>
            <a:off x="5936206" y="4119438"/>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2" name="Oval 54">
            <a:extLst>
              <a:ext uri="{FF2B5EF4-FFF2-40B4-BE49-F238E27FC236}">
                <a16:creationId xmlns:a16="http://schemas.microsoft.com/office/drawing/2014/main" id="{29CBA9A6-0584-6D4D-C259-B099E94B9F1B}"/>
              </a:ext>
            </a:extLst>
          </p:cNvPr>
          <p:cNvSpPr/>
          <p:nvPr/>
        </p:nvSpPr>
        <p:spPr>
          <a:xfrm>
            <a:off x="6504430" y="4139360"/>
            <a:ext cx="171613"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3" name="Oval 64">
            <a:extLst>
              <a:ext uri="{FF2B5EF4-FFF2-40B4-BE49-F238E27FC236}">
                <a16:creationId xmlns:a16="http://schemas.microsoft.com/office/drawing/2014/main" id="{28CA4891-B65B-A1D6-F595-7F24435C4455}"/>
              </a:ext>
            </a:extLst>
          </p:cNvPr>
          <p:cNvSpPr/>
          <p:nvPr/>
        </p:nvSpPr>
        <p:spPr>
          <a:xfrm>
            <a:off x="7573797" y="4144931"/>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404040"/>
                </a:solidFill>
                <a:latin typeface="Arial"/>
                <a:ea typeface="Arial"/>
                <a:cs typeface="Arial"/>
                <a:sym typeface="Arial"/>
              </a:defRPr>
            </a:pPr>
            <a:endParaRPr lang="en-US" sz="2799">
              <a:solidFill>
                <a:srgbClr val="404040"/>
              </a:solidFill>
              <a:latin typeface="Arial"/>
              <a:cs typeface="Arial"/>
              <a:sym typeface="Arial"/>
            </a:endParaRPr>
          </a:p>
        </p:txBody>
      </p:sp>
      <p:sp>
        <p:nvSpPr>
          <p:cNvPr id="64" name="Oval 68">
            <a:extLst>
              <a:ext uri="{FF2B5EF4-FFF2-40B4-BE49-F238E27FC236}">
                <a16:creationId xmlns:a16="http://schemas.microsoft.com/office/drawing/2014/main" id="{6F7B6547-B5E0-8376-711B-1D0330743691}"/>
              </a:ext>
            </a:extLst>
          </p:cNvPr>
          <p:cNvSpPr/>
          <p:nvPr/>
        </p:nvSpPr>
        <p:spPr>
          <a:xfrm>
            <a:off x="5302065" y="412787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5" name="Oval 71">
            <a:extLst>
              <a:ext uri="{FF2B5EF4-FFF2-40B4-BE49-F238E27FC236}">
                <a16:creationId xmlns:a16="http://schemas.microsoft.com/office/drawing/2014/main" id="{3FB64696-4CB7-F893-2942-F815BCF09669}"/>
              </a:ext>
            </a:extLst>
          </p:cNvPr>
          <p:cNvSpPr/>
          <p:nvPr/>
        </p:nvSpPr>
        <p:spPr>
          <a:xfrm>
            <a:off x="8441859" y="414218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6" name="Oval 116">
            <a:extLst>
              <a:ext uri="{FF2B5EF4-FFF2-40B4-BE49-F238E27FC236}">
                <a16:creationId xmlns:a16="http://schemas.microsoft.com/office/drawing/2014/main" id="{9A156337-1CF2-2AF2-EEC9-678BC282D565}"/>
              </a:ext>
            </a:extLst>
          </p:cNvPr>
          <p:cNvSpPr/>
          <p:nvPr/>
        </p:nvSpPr>
        <p:spPr>
          <a:xfrm>
            <a:off x="568809" y="4090496"/>
            <a:ext cx="285093" cy="281161"/>
          </a:xfrm>
          <a:prstGeom prst="ellipse">
            <a:avLst/>
          </a:prstGeom>
          <a:solidFill>
            <a:schemeClr val="accent1"/>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7" name="Oval 156">
            <a:extLst>
              <a:ext uri="{FF2B5EF4-FFF2-40B4-BE49-F238E27FC236}">
                <a16:creationId xmlns:a16="http://schemas.microsoft.com/office/drawing/2014/main" id="{4D73CF71-AB8D-D3B8-0CEE-7DEE673FBE30}"/>
              </a:ext>
            </a:extLst>
          </p:cNvPr>
          <p:cNvSpPr/>
          <p:nvPr/>
        </p:nvSpPr>
        <p:spPr>
          <a:xfrm>
            <a:off x="929667" y="415040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68" name="Right Brace 67">
            <a:extLst>
              <a:ext uri="{FF2B5EF4-FFF2-40B4-BE49-F238E27FC236}">
                <a16:creationId xmlns:a16="http://schemas.microsoft.com/office/drawing/2014/main" id="{76DF8226-8CD7-AF47-044A-400F0CB64821}"/>
              </a:ext>
            </a:extLst>
          </p:cNvPr>
          <p:cNvSpPr/>
          <p:nvPr/>
        </p:nvSpPr>
        <p:spPr>
          <a:xfrm rot="5400000">
            <a:off x="1286773" y="4028059"/>
            <a:ext cx="99923" cy="723764"/>
          </a:xfrm>
          <a:prstGeom prst="rightBrac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799">
              <a:solidFill>
                <a:srgbClr val="000000"/>
              </a:solidFill>
              <a:latin typeface="Arial"/>
            </a:endParaRPr>
          </a:p>
        </p:txBody>
      </p:sp>
      <p:sp>
        <p:nvSpPr>
          <p:cNvPr id="69" name="TextBox 192">
            <a:extLst>
              <a:ext uri="{FF2B5EF4-FFF2-40B4-BE49-F238E27FC236}">
                <a16:creationId xmlns:a16="http://schemas.microsoft.com/office/drawing/2014/main" id="{3F503060-23F2-466F-F5C8-0FEA884135DA}"/>
              </a:ext>
            </a:extLst>
          </p:cNvPr>
          <p:cNvSpPr/>
          <p:nvPr/>
        </p:nvSpPr>
        <p:spPr>
          <a:xfrm rot="21597783">
            <a:off x="4371293" y="4525127"/>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I </a:t>
            </a:r>
            <a:br>
              <a:rPr lang="en-US" sz="800"/>
            </a:br>
            <a:r>
              <a:rPr lang="en-US" sz="800"/>
              <a:t>CENTER</a:t>
            </a:r>
            <a:endParaRPr sz="800"/>
          </a:p>
        </p:txBody>
      </p:sp>
      <p:sp>
        <p:nvSpPr>
          <p:cNvPr id="70" name="TextBox 55">
            <a:extLst>
              <a:ext uri="{FF2B5EF4-FFF2-40B4-BE49-F238E27FC236}">
                <a16:creationId xmlns:a16="http://schemas.microsoft.com/office/drawing/2014/main" id="{61A011DE-5E42-B928-75A5-0954CA93A705}"/>
              </a:ext>
            </a:extLst>
          </p:cNvPr>
          <p:cNvSpPr/>
          <p:nvPr/>
        </p:nvSpPr>
        <p:spPr>
          <a:xfrm rot="21597783">
            <a:off x="7491330" y="4545816"/>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AUTOMATION CLOUD</a:t>
            </a:r>
            <a:endParaRPr sz="800"/>
          </a:p>
        </p:txBody>
      </p:sp>
      <p:sp>
        <p:nvSpPr>
          <p:cNvPr id="71" name="Straight Connector 16">
            <a:extLst>
              <a:ext uri="{FF2B5EF4-FFF2-40B4-BE49-F238E27FC236}">
                <a16:creationId xmlns:a16="http://schemas.microsoft.com/office/drawing/2014/main" id="{35B78D47-CBB4-3EC3-0EBC-DD6DBA68FB3C}"/>
              </a:ext>
            </a:extLst>
          </p:cNvPr>
          <p:cNvSpPr/>
          <p:nvPr/>
        </p:nvSpPr>
        <p:spPr>
          <a:xfrm flipV="1">
            <a:off x="7959252" y="4332647"/>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2" name="Straight Connector 65">
            <a:extLst>
              <a:ext uri="{FF2B5EF4-FFF2-40B4-BE49-F238E27FC236}">
                <a16:creationId xmlns:a16="http://schemas.microsoft.com/office/drawing/2014/main" id="{B4EC32D3-2608-03BC-F3AE-AC56F34F5CC9}"/>
              </a:ext>
            </a:extLst>
          </p:cNvPr>
          <p:cNvSpPr/>
          <p:nvPr/>
        </p:nvSpPr>
        <p:spPr>
          <a:xfrm flipV="1">
            <a:off x="3391450" y="2283388"/>
            <a:ext cx="7095" cy="1861960"/>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3" name="Oval 170">
            <a:extLst>
              <a:ext uri="{FF2B5EF4-FFF2-40B4-BE49-F238E27FC236}">
                <a16:creationId xmlns:a16="http://schemas.microsoft.com/office/drawing/2014/main" id="{D6701339-5850-DEAB-D798-00D964C926C8}"/>
              </a:ext>
            </a:extLst>
          </p:cNvPr>
          <p:cNvSpPr/>
          <p:nvPr/>
        </p:nvSpPr>
        <p:spPr>
          <a:xfrm>
            <a:off x="2859188" y="413707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74" name="A robot…">
            <a:extLst>
              <a:ext uri="{FF2B5EF4-FFF2-40B4-BE49-F238E27FC236}">
                <a16:creationId xmlns:a16="http://schemas.microsoft.com/office/drawing/2014/main" id="{E02D59A4-FA6F-66BF-E29B-81D70047FDDD}"/>
              </a:ext>
            </a:extLst>
          </p:cNvPr>
          <p:cNvSpPr txBox="1"/>
          <p:nvPr/>
        </p:nvSpPr>
        <p:spPr>
          <a:xfrm>
            <a:off x="10876267" y="1137863"/>
            <a:ext cx="1309384" cy="590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126">
              <a:lnSpc>
                <a:spcPct val="80000"/>
              </a:lnSpc>
              <a:defRPr sz="2800" b="1">
                <a:solidFill>
                  <a:srgbClr val="E6552F"/>
                </a:solidFill>
                <a:latin typeface="Arial"/>
                <a:ea typeface="Arial"/>
                <a:cs typeface="Arial"/>
                <a:sym typeface="Arial"/>
              </a:defRPr>
            </a:pPr>
            <a:r>
              <a:rPr lang="en-US" sz="1200" b="1">
                <a:solidFill>
                  <a:schemeClr val="bg1"/>
                </a:solidFill>
                <a:latin typeface="Arial"/>
                <a:cs typeface="Arial"/>
                <a:sym typeface="Arial"/>
              </a:rPr>
              <a:t>Our Mission: To deliver the </a:t>
            </a:r>
          </a:p>
          <a:p>
            <a:pPr defTabSz="914126">
              <a:lnSpc>
                <a:spcPct val="80000"/>
              </a:lnSpc>
              <a:defRPr sz="2800" b="1">
                <a:solidFill>
                  <a:srgbClr val="E6552F"/>
                </a:solidFill>
                <a:latin typeface="Arial"/>
                <a:ea typeface="Arial"/>
                <a:cs typeface="Arial"/>
                <a:sym typeface="Arial"/>
              </a:defRPr>
            </a:pPr>
            <a:r>
              <a:rPr lang="en-US" sz="1200" b="1">
                <a:solidFill>
                  <a:schemeClr val="bg1"/>
                </a:solidFill>
                <a:latin typeface="Arial"/>
                <a:cs typeface="Arial"/>
                <a:sym typeface="Arial"/>
              </a:rPr>
              <a:t>Fully Automated </a:t>
            </a:r>
            <a:r>
              <a:rPr lang="en-US" sz="1200" b="1" err="1">
                <a:solidFill>
                  <a:schemeClr val="bg1"/>
                </a:solidFill>
                <a:latin typeface="Arial"/>
                <a:cs typeface="Arial"/>
                <a:sym typeface="Arial"/>
              </a:rPr>
              <a:t>Enterprise</a:t>
            </a:r>
            <a:r>
              <a:rPr lang="en-US" sz="1200" b="1" baseline="30000" err="1">
                <a:solidFill>
                  <a:schemeClr val="bg1"/>
                </a:solidFill>
                <a:latin typeface="Arial"/>
                <a:cs typeface="Arial"/>
                <a:sym typeface="Arial"/>
              </a:rPr>
              <a:t>TM</a:t>
            </a:r>
            <a:endParaRPr sz="1200" b="1" baseline="30000">
              <a:solidFill>
                <a:schemeClr val="bg1"/>
              </a:solidFill>
              <a:latin typeface="Arial"/>
              <a:cs typeface="Arial"/>
              <a:sym typeface="Arial"/>
            </a:endParaRPr>
          </a:p>
        </p:txBody>
      </p:sp>
      <p:sp>
        <p:nvSpPr>
          <p:cNvPr id="75" name="Straight Connector 65">
            <a:extLst>
              <a:ext uri="{FF2B5EF4-FFF2-40B4-BE49-F238E27FC236}">
                <a16:creationId xmlns:a16="http://schemas.microsoft.com/office/drawing/2014/main" id="{DC4D6263-CBF9-E034-0E06-BB5E10F0E926}"/>
              </a:ext>
            </a:extLst>
          </p:cNvPr>
          <p:cNvSpPr/>
          <p:nvPr/>
        </p:nvSpPr>
        <p:spPr>
          <a:xfrm flipV="1">
            <a:off x="11368600" y="1799558"/>
            <a:ext cx="6162" cy="1914482"/>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76" name="Right Brace 75">
            <a:extLst>
              <a:ext uri="{FF2B5EF4-FFF2-40B4-BE49-F238E27FC236}">
                <a16:creationId xmlns:a16="http://schemas.microsoft.com/office/drawing/2014/main" id="{A7B7E064-DF39-4061-CB6B-ED220DD8F529}"/>
              </a:ext>
            </a:extLst>
          </p:cNvPr>
          <p:cNvSpPr/>
          <p:nvPr/>
        </p:nvSpPr>
        <p:spPr>
          <a:xfrm rot="5400000">
            <a:off x="2203298" y="4199843"/>
            <a:ext cx="90520" cy="343742"/>
          </a:xfrm>
          <a:prstGeom prst="rightBrac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799">
              <a:solidFill>
                <a:srgbClr val="000000"/>
              </a:solidFill>
              <a:latin typeface="Arial"/>
            </a:endParaRPr>
          </a:p>
        </p:txBody>
      </p:sp>
      <p:sp>
        <p:nvSpPr>
          <p:cNvPr id="77" name="TextBox 157">
            <a:extLst>
              <a:ext uri="{FF2B5EF4-FFF2-40B4-BE49-F238E27FC236}">
                <a16:creationId xmlns:a16="http://schemas.microsoft.com/office/drawing/2014/main" id="{AB30B224-B8D1-11C5-C33C-116C9BED9CEA}"/>
              </a:ext>
            </a:extLst>
          </p:cNvPr>
          <p:cNvSpPr/>
          <p:nvPr/>
        </p:nvSpPr>
        <p:spPr>
          <a:xfrm rot="21597783">
            <a:off x="1618820" y="4541875"/>
            <a:ext cx="1352877" cy="4924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STUDIO</a:t>
            </a:r>
          </a:p>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ORCHESTRATOR</a:t>
            </a:r>
          </a:p>
          <a:p>
            <a:pPr algn="ctr" defTabSz="914126">
              <a:defRPr sz="2000">
                <a:solidFill>
                  <a:srgbClr val="FFFFFF"/>
                </a:solidFill>
                <a:latin typeface="Arial"/>
                <a:ea typeface="Arial"/>
                <a:cs typeface="Arial"/>
                <a:sym typeface="Arial"/>
              </a:defRPr>
            </a:pPr>
            <a:r>
              <a:rPr lang="en-US" sz="800">
                <a:solidFill>
                  <a:srgbClr val="FFFFFF"/>
                </a:solidFill>
                <a:latin typeface="Arial"/>
                <a:cs typeface="Arial"/>
                <a:sym typeface="Arial"/>
              </a:rPr>
              <a:t>ROBOTS</a:t>
            </a:r>
          </a:p>
          <a:p>
            <a:pPr algn="ctr" defTabSz="914126">
              <a:defRPr sz="2000">
                <a:solidFill>
                  <a:srgbClr val="FFFFFF"/>
                </a:solidFill>
                <a:latin typeface="Arial"/>
                <a:ea typeface="Arial"/>
                <a:cs typeface="Arial"/>
                <a:sym typeface="Arial"/>
              </a:defRPr>
            </a:pPr>
            <a:endParaRPr sz="800">
              <a:solidFill>
                <a:srgbClr val="FFFFFF"/>
              </a:solidFill>
              <a:latin typeface="Arial"/>
              <a:cs typeface="Arial"/>
              <a:sym typeface="Arial"/>
            </a:endParaRPr>
          </a:p>
        </p:txBody>
      </p:sp>
      <p:sp>
        <p:nvSpPr>
          <p:cNvPr id="78" name="TextBox 55">
            <a:extLst>
              <a:ext uri="{FF2B5EF4-FFF2-40B4-BE49-F238E27FC236}">
                <a16:creationId xmlns:a16="http://schemas.microsoft.com/office/drawing/2014/main" id="{ED259CAD-6DFD-5C31-6A81-DE48C63187F4}"/>
              </a:ext>
            </a:extLst>
          </p:cNvPr>
          <p:cNvSpPr/>
          <p:nvPr/>
        </p:nvSpPr>
        <p:spPr>
          <a:xfrm rot="21597783">
            <a:off x="6731903" y="4553071"/>
            <a:ext cx="827004"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STUDIOX /</a:t>
            </a:r>
            <a:br>
              <a:rPr lang="en-US" sz="800"/>
            </a:br>
            <a:r>
              <a:rPr lang="en-US" sz="800"/>
              <a:t>ASSISTANT</a:t>
            </a:r>
            <a:endParaRPr sz="800"/>
          </a:p>
        </p:txBody>
      </p:sp>
      <p:sp>
        <p:nvSpPr>
          <p:cNvPr id="79" name="Straight Connector 16">
            <a:extLst>
              <a:ext uri="{FF2B5EF4-FFF2-40B4-BE49-F238E27FC236}">
                <a16:creationId xmlns:a16="http://schemas.microsoft.com/office/drawing/2014/main" id="{D1FE1987-B77E-C9FD-72EA-E25379529F93}"/>
              </a:ext>
            </a:extLst>
          </p:cNvPr>
          <p:cNvSpPr/>
          <p:nvPr/>
        </p:nvSpPr>
        <p:spPr>
          <a:xfrm flipV="1">
            <a:off x="7127139" y="4332647"/>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0" name="Oval 54">
            <a:extLst>
              <a:ext uri="{FF2B5EF4-FFF2-40B4-BE49-F238E27FC236}">
                <a16:creationId xmlns:a16="http://schemas.microsoft.com/office/drawing/2014/main" id="{4D346700-5082-ACF4-2F78-FBD335FB2A63}"/>
              </a:ext>
            </a:extLst>
          </p:cNvPr>
          <p:cNvSpPr/>
          <p:nvPr/>
        </p:nvSpPr>
        <p:spPr>
          <a:xfrm>
            <a:off x="7040780" y="4142622"/>
            <a:ext cx="171613"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81" name="Oval 71">
            <a:extLst>
              <a:ext uri="{FF2B5EF4-FFF2-40B4-BE49-F238E27FC236}">
                <a16:creationId xmlns:a16="http://schemas.microsoft.com/office/drawing/2014/main" id="{9DF739A4-5DC4-7292-63E9-861AD0D8C2C2}"/>
              </a:ext>
            </a:extLst>
          </p:cNvPr>
          <p:cNvSpPr/>
          <p:nvPr/>
        </p:nvSpPr>
        <p:spPr>
          <a:xfrm>
            <a:off x="7873446" y="413891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82" name="TextBox 177">
            <a:extLst>
              <a:ext uri="{FF2B5EF4-FFF2-40B4-BE49-F238E27FC236}">
                <a16:creationId xmlns:a16="http://schemas.microsoft.com/office/drawing/2014/main" id="{60A3F96D-C9F7-0C77-7C65-D7D2ADE094FE}"/>
              </a:ext>
            </a:extLst>
          </p:cNvPr>
          <p:cNvSpPr txBox="1"/>
          <p:nvPr/>
        </p:nvSpPr>
        <p:spPr>
          <a:xfrm rot="6030">
            <a:off x="1680420" y="1885114"/>
            <a:ext cx="1012979" cy="338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126">
              <a:defRPr sz="2200">
                <a:solidFill>
                  <a:srgbClr val="404040"/>
                </a:solidFill>
                <a:latin typeface="Arial"/>
                <a:ea typeface="Arial"/>
                <a:cs typeface="Arial"/>
                <a:sym typeface="Arial"/>
              </a:defRPr>
            </a:pPr>
            <a:r>
              <a:rPr lang="en-US" sz="1100">
                <a:solidFill>
                  <a:srgbClr val="404040"/>
                </a:solidFill>
                <a:latin typeface="Arial"/>
                <a:cs typeface="Arial"/>
                <a:sym typeface="Arial"/>
              </a:rPr>
              <a:t>Headquarters in New York City</a:t>
            </a:r>
            <a:endParaRPr sz="1100">
              <a:solidFill>
                <a:srgbClr val="404040"/>
              </a:solidFill>
              <a:latin typeface="Arial"/>
              <a:cs typeface="Arial"/>
              <a:sym typeface="Arial"/>
            </a:endParaRPr>
          </a:p>
        </p:txBody>
      </p:sp>
      <p:pic>
        <p:nvPicPr>
          <p:cNvPr id="83" name="Picture 28" descr="Picture 28">
            <a:extLst>
              <a:ext uri="{FF2B5EF4-FFF2-40B4-BE49-F238E27FC236}">
                <a16:creationId xmlns:a16="http://schemas.microsoft.com/office/drawing/2014/main" id="{AE9AD8DE-6D9A-FDA6-F682-5122729F256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912">
            <a:off x="7076908" y="1440914"/>
            <a:ext cx="1075008" cy="264211"/>
          </a:xfrm>
          <a:prstGeom prst="rect">
            <a:avLst/>
          </a:prstGeom>
          <a:ln w="12700">
            <a:miter lim="400000"/>
          </a:ln>
        </p:spPr>
      </p:pic>
      <p:pic>
        <p:nvPicPr>
          <p:cNvPr id="84" name="Picture 29" descr="Picture 29">
            <a:extLst>
              <a:ext uri="{FF2B5EF4-FFF2-40B4-BE49-F238E27FC236}">
                <a16:creationId xmlns:a16="http://schemas.microsoft.com/office/drawing/2014/main" id="{9CE948D6-7362-779D-D692-87FCEA7083B6}"/>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917">
            <a:off x="6386816" y="1772338"/>
            <a:ext cx="1134071" cy="435303"/>
          </a:xfrm>
          <a:prstGeom prst="rect">
            <a:avLst/>
          </a:prstGeom>
          <a:ln w="12700">
            <a:miter lim="400000"/>
          </a:ln>
        </p:spPr>
      </p:pic>
      <p:pic>
        <p:nvPicPr>
          <p:cNvPr id="85" name="Picture 4" descr="2019 Cloud 100 Celebration Dinner – ForbesLive">
            <a:extLst>
              <a:ext uri="{FF2B5EF4-FFF2-40B4-BE49-F238E27FC236}">
                <a16:creationId xmlns:a16="http://schemas.microsoft.com/office/drawing/2014/main" id="{F84BD0F9-E545-46D8-DC01-6E4AAEB09D33}"/>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06733" y="1695002"/>
            <a:ext cx="1122878" cy="683084"/>
          </a:xfrm>
          <a:prstGeom prst="rect">
            <a:avLst/>
          </a:prstGeom>
          <a:noFill/>
          <a:extLst>
            <a:ext uri="{909E8E84-426E-40DD-AFC4-6F175D3DCCD1}">
              <a14:hiddenFill xmlns:a14="http://schemas.microsoft.com/office/drawing/2010/main">
                <a:solidFill>
                  <a:srgbClr val="FFFFFF"/>
                </a:solidFill>
              </a14:hiddenFill>
            </a:ext>
          </a:extLst>
        </p:spPr>
      </p:pic>
      <p:sp>
        <p:nvSpPr>
          <p:cNvPr id="86" name="Straight Connector 2">
            <a:extLst>
              <a:ext uri="{FF2B5EF4-FFF2-40B4-BE49-F238E27FC236}">
                <a16:creationId xmlns:a16="http://schemas.microsoft.com/office/drawing/2014/main" id="{75DB3CE0-F7F9-C1C7-3365-C40F16A21AE0}"/>
              </a:ext>
            </a:extLst>
          </p:cNvPr>
          <p:cNvSpPr/>
          <p:nvPr/>
        </p:nvSpPr>
        <p:spPr>
          <a:xfrm flipH="1" flipV="1">
            <a:off x="7669536" y="2130646"/>
            <a:ext cx="0" cy="2016255"/>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87" name="Rectangle 86">
            <a:extLst>
              <a:ext uri="{FF2B5EF4-FFF2-40B4-BE49-F238E27FC236}">
                <a16:creationId xmlns:a16="http://schemas.microsoft.com/office/drawing/2014/main" id="{66375576-00C8-FDAA-BE94-D861425736E5}"/>
              </a:ext>
            </a:extLst>
          </p:cNvPr>
          <p:cNvSpPr/>
          <p:nvPr/>
        </p:nvSpPr>
        <p:spPr>
          <a:xfrm>
            <a:off x="292985" y="685711"/>
            <a:ext cx="6818815" cy="400110"/>
          </a:xfrm>
          <a:prstGeom prst="rect">
            <a:avLst/>
          </a:prstGeom>
        </p:spPr>
        <p:txBody>
          <a:bodyPr wrap="square">
            <a:spAutoFit/>
          </a:bodyPr>
          <a:lstStyle/>
          <a:p>
            <a:r>
              <a:rPr lang="en-US" sz="2000" b="0"/>
              <a:t>Evolving with speed to accelerate human achievement</a:t>
            </a:r>
          </a:p>
        </p:txBody>
      </p:sp>
      <p:sp>
        <p:nvSpPr>
          <p:cNvPr id="88" name="TextBox 127">
            <a:extLst>
              <a:ext uri="{FF2B5EF4-FFF2-40B4-BE49-F238E27FC236}">
                <a16:creationId xmlns:a16="http://schemas.microsoft.com/office/drawing/2014/main" id="{A2759889-4B80-52C2-6C8C-778FF9CC56AD}"/>
              </a:ext>
            </a:extLst>
          </p:cNvPr>
          <p:cNvSpPr/>
          <p:nvPr/>
        </p:nvSpPr>
        <p:spPr>
          <a:xfrm rot="21597783">
            <a:off x="7881086" y="4952960"/>
            <a:ext cx="1462256" cy="4234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400" spc="0">
                <a:solidFill>
                  <a:srgbClr val="FA4616">
                    <a:lumMod val="50000"/>
                  </a:srgbClr>
                </a:solidFill>
              </a:rPr>
              <a:t>202</a:t>
            </a:r>
            <a:r>
              <a:rPr lang="ro-RO" sz="2400" spc="0">
                <a:solidFill>
                  <a:srgbClr val="FA4616">
                    <a:lumMod val="50000"/>
                  </a:srgbClr>
                </a:solidFill>
              </a:rPr>
              <a:t>1</a:t>
            </a:r>
            <a:endParaRPr sz="2400" spc="0">
              <a:solidFill>
                <a:srgbClr val="FA4616">
                  <a:lumMod val="50000"/>
                </a:srgbClr>
              </a:solidFill>
            </a:endParaRPr>
          </a:p>
        </p:txBody>
      </p:sp>
      <p:sp>
        <p:nvSpPr>
          <p:cNvPr id="89" name="Oval 71">
            <a:extLst>
              <a:ext uri="{FF2B5EF4-FFF2-40B4-BE49-F238E27FC236}">
                <a16:creationId xmlns:a16="http://schemas.microsoft.com/office/drawing/2014/main" id="{E2A3E87B-C792-BF78-6681-B9AD81FF4D22}"/>
              </a:ext>
            </a:extLst>
          </p:cNvPr>
          <p:cNvSpPr/>
          <p:nvPr/>
        </p:nvSpPr>
        <p:spPr>
          <a:xfrm>
            <a:off x="8810786" y="4139789"/>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0" name="TextBox 75">
            <a:extLst>
              <a:ext uri="{FF2B5EF4-FFF2-40B4-BE49-F238E27FC236}">
                <a16:creationId xmlns:a16="http://schemas.microsoft.com/office/drawing/2014/main" id="{78723B86-7C2F-EC67-D9A2-0444039EC31C}"/>
              </a:ext>
            </a:extLst>
          </p:cNvPr>
          <p:cNvSpPr txBox="1"/>
          <p:nvPr/>
        </p:nvSpPr>
        <p:spPr>
          <a:xfrm rot="6030">
            <a:off x="8446130" y="3075872"/>
            <a:ext cx="772718" cy="3385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defRPr/>
            </a:pPr>
            <a:r>
              <a:rPr sz="1100"/>
              <a:t>Series </a:t>
            </a:r>
            <a:r>
              <a:rPr lang="ro-RO" sz="1100"/>
              <a:t>F</a:t>
            </a:r>
            <a:r>
              <a:rPr sz="1100"/>
              <a:t> </a:t>
            </a:r>
            <a:r>
              <a:rPr sz="1100">
                <a:latin typeface="+mj-lt"/>
              </a:rPr>
              <a:t>investment</a:t>
            </a:r>
          </a:p>
        </p:txBody>
      </p:sp>
      <p:sp>
        <p:nvSpPr>
          <p:cNvPr id="91" name="Straight Connector 65">
            <a:extLst>
              <a:ext uri="{FF2B5EF4-FFF2-40B4-BE49-F238E27FC236}">
                <a16:creationId xmlns:a16="http://schemas.microsoft.com/office/drawing/2014/main" id="{51F38BC7-2328-EAFE-0FD3-FA2B86E50780}"/>
              </a:ext>
            </a:extLst>
          </p:cNvPr>
          <p:cNvSpPr/>
          <p:nvPr/>
        </p:nvSpPr>
        <p:spPr>
          <a:xfrm flipV="1">
            <a:off x="8895147" y="3445390"/>
            <a:ext cx="1" cy="69503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2" name="TextBox 75">
            <a:extLst>
              <a:ext uri="{FF2B5EF4-FFF2-40B4-BE49-F238E27FC236}">
                <a16:creationId xmlns:a16="http://schemas.microsoft.com/office/drawing/2014/main" id="{EA9FB26F-0EEC-2765-2ED4-90B05F81F585}"/>
              </a:ext>
            </a:extLst>
          </p:cNvPr>
          <p:cNvSpPr txBox="1"/>
          <p:nvPr/>
        </p:nvSpPr>
        <p:spPr>
          <a:xfrm rot="6030">
            <a:off x="8798917" y="2468373"/>
            <a:ext cx="677764" cy="3385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defRPr/>
            </a:pPr>
            <a:r>
              <a:rPr lang="en-US" sz="1100">
                <a:latin typeface="+mj-lt"/>
              </a:rPr>
              <a:t>Public company </a:t>
            </a:r>
            <a:endParaRPr sz="1100">
              <a:latin typeface="+mj-lt"/>
            </a:endParaRPr>
          </a:p>
        </p:txBody>
      </p:sp>
      <p:sp>
        <p:nvSpPr>
          <p:cNvPr id="93" name="Oval 71">
            <a:extLst>
              <a:ext uri="{FF2B5EF4-FFF2-40B4-BE49-F238E27FC236}">
                <a16:creationId xmlns:a16="http://schemas.microsoft.com/office/drawing/2014/main" id="{B0A7056F-260B-7A5E-707A-D09E8C1ACFA9}"/>
              </a:ext>
            </a:extLst>
          </p:cNvPr>
          <p:cNvSpPr/>
          <p:nvPr/>
        </p:nvSpPr>
        <p:spPr>
          <a:xfrm>
            <a:off x="9115677" y="412482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4" name="Straight Connector 65">
            <a:extLst>
              <a:ext uri="{FF2B5EF4-FFF2-40B4-BE49-F238E27FC236}">
                <a16:creationId xmlns:a16="http://schemas.microsoft.com/office/drawing/2014/main" id="{9B40A155-D448-F59D-8A82-68CB6EAFB18C}"/>
              </a:ext>
            </a:extLst>
          </p:cNvPr>
          <p:cNvSpPr/>
          <p:nvPr/>
        </p:nvSpPr>
        <p:spPr>
          <a:xfrm flipH="1" flipV="1">
            <a:off x="9187255" y="2838904"/>
            <a:ext cx="2" cy="1306993"/>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5" name="Straight Connector 94">
            <a:extLst>
              <a:ext uri="{FF2B5EF4-FFF2-40B4-BE49-F238E27FC236}">
                <a16:creationId xmlns:a16="http://schemas.microsoft.com/office/drawing/2014/main" id="{71F5607F-E86B-E050-F6BE-089F0D492763}"/>
              </a:ext>
            </a:extLst>
          </p:cNvPr>
          <p:cNvSpPr/>
          <p:nvPr/>
        </p:nvSpPr>
        <p:spPr>
          <a:xfrm flipH="1" flipV="1">
            <a:off x="2114185" y="1769387"/>
            <a:ext cx="0" cy="111937"/>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6" name="Straight Connector 16">
            <a:extLst>
              <a:ext uri="{FF2B5EF4-FFF2-40B4-BE49-F238E27FC236}">
                <a16:creationId xmlns:a16="http://schemas.microsoft.com/office/drawing/2014/main" id="{9CBA15BB-4F74-FCC6-3CD2-1500A0B0BE43}"/>
              </a:ext>
            </a:extLst>
          </p:cNvPr>
          <p:cNvSpPr/>
          <p:nvPr/>
        </p:nvSpPr>
        <p:spPr>
          <a:xfrm flipV="1">
            <a:off x="9470383" y="4320718"/>
            <a:ext cx="0" cy="150821"/>
          </a:xfrm>
          <a:prstGeom prst="line">
            <a:avLst/>
          </a:prstGeom>
          <a:ln w="12700">
            <a:solidFill>
              <a:schemeClr val="bg1"/>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97" name="Oval 71">
            <a:extLst>
              <a:ext uri="{FF2B5EF4-FFF2-40B4-BE49-F238E27FC236}">
                <a16:creationId xmlns:a16="http://schemas.microsoft.com/office/drawing/2014/main" id="{24BF7A4D-1EBF-F0A9-DBB5-A7B25224FBB8}"/>
              </a:ext>
            </a:extLst>
          </p:cNvPr>
          <p:cNvSpPr/>
          <p:nvPr/>
        </p:nvSpPr>
        <p:spPr>
          <a:xfrm>
            <a:off x="9374676" y="4117983"/>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98" name="TextBox 74">
            <a:extLst>
              <a:ext uri="{FF2B5EF4-FFF2-40B4-BE49-F238E27FC236}">
                <a16:creationId xmlns:a16="http://schemas.microsoft.com/office/drawing/2014/main" id="{E609E1FE-529C-5F27-18EF-FB92E13CFDD5}"/>
              </a:ext>
            </a:extLst>
          </p:cNvPr>
          <p:cNvSpPr/>
          <p:nvPr/>
        </p:nvSpPr>
        <p:spPr>
          <a:xfrm rot="21597783">
            <a:off x="9137883" y="4552412"/>
            <a:ext cx="614590" cy="24622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400">
              <a:defRPr sz="2000">
                <a:solidFill>
                  <a:srgbClr val="FFFFFF"/>
                </a:solidFill>
                <a:latin typeface="Arial"/>
                <a:ea typeface="Arial"/>
                <a:cs typeface="Arial"/>
                <a:sym typeface="Arial"/>
              </a:defRPr>
            </a:lvl1pPr>
          </a:lstStyle>
          <a:p>
            <a:pPr algn="ctr">
              <a:defRPr/>
            </a:pPr>
            <a:r>
              <a:rPr lang="en-US" sz="800"/>
              <a:t>TASK MINING</a:t>
            </a:r>
            <a:endParaRPr sz="800"/>
          </a:p>
        </p:txBody>
      </p:sp>
      <p:sp>
        <p:nvSpPr>
          <p:cNvPr id="99" name="Oval 71">
            <a:extLst>
              <a:ext uri="{FF2B5EF4-FFF2-40B4-BE49-F238E27FC236}">
                <a16:creationId xmlns:a16="http://schemas.microsoft.com/office/drawing/2014/main" id="{876956E4-7257-D4E2-C046-DD831E1CEF6C}"/>
              </a:ext>
            </a:extLst>
          </p:cNvPr>
          <p:cNvSpPr/>
          <p:nvPr/>
        </p:nvSpPr>
        <p:spPr>
          <a:xfrm>
            <a:off x="9784144" y="4106550"/>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
        <p:nvSpPr>
          <p:cNvPr id="100" name="TextBox 127">
            <a:extLst>
              <a:ext uri="{FF2B5EF4-FFF2-40B4-BE49-F238E27FC236}">
                <a16:creationId xmlns:a16="http://schemas.microsoft.com/office/drawing/2014/main" id="{662AC9AE-CB31-45DC-9154-341D08D48A88}"/>
              </a:ext>
            </a:extLst>
          </p:cNvPr>
          <p:cNvSpPr/>
          <p:nvPr/>
        </p:nvSpPr>
        <p:spPr>
          <a:xfrm rot="21597783">
            <a:off x="9380717" y="4930504"/>
            <a:ext cx="1462256" cy="4234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99" y="8"/>
                </a:lnTo>
                <a:lnTo>
                  <a:pt x="21600" y="21600"/>
                </a:lnTo>
                <a:lnTo>
                  <a:pt x="1" y="21592"/>
                </a:lnTo>
                <a:close/>
              </a:path>
            </a:pathLst>
          </a:cu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914400">
              <a:defRPr sz="5000" b="1" spc="-208">
                <a:solidFill>
                  <a:srgbClr val="802F1A"/>
                </a:solidFill>
                <a:latin typeface="Arial"/>
                <a:ea typeface="Arial"/>
                <a:cs typeface="Arial"/>
                <a:sym typeface="Arial"/>
              </a:defRPr>
            </a:lvl1pPr>
          </a:lstStyle>
          <a:p>
            <a:pPr algn="ctr">
              <a:defRPr/>
            </a:pPr>
            <a:r>
              <a:rPr sz="2400" spc="0">
                <a:solidFill>
                  <a:srgbClr val="FA4616">
                    <a:lumMod val="50000"/>
                  </a:srgbClr>
                </a:solidFill>
              </a:rPr>
              <a:t>202</a:t>
            </a:r>
            <a:r>
              <a:rPr lang="en-US" sz="2400" spc="0">
                <a:solidFill>
                  <a:srgbClr val="FA4616">
                    <a:lumMod val="50000"/>
                  </a:srgbClr>
                </a:solidFill>
              </a:rPr>
              <a:t>2</a:t>
            </a:r>
            <a:endParaRPr sz="2400" spc="0">
              <a:solidFill>
                <a:srgbClr val="FA4616">
                  <a:lumMod val="50000"/>
                </a:srgbClr>
              </a:solidFill>
            </a:endParaRPr>
          </a:p>
        </p:txBody>
      </p:sp>
      <p:sp>
        <p:nvSpPr>
          <p:cNvPr id="101" name="Straight Connector 65">
            <a:extLst>
              <a:ext uri="{FF2B5EF4-FFF2-40B4-BE49-F238E27FC236}">
                <a16:creationId xmlns:a16="http://schemas.microsoft.com/office/drawing/2014/main" id="{4AD1A1E7-2C29-422D-7DB1-07198D24F0B6}"/>
              </a:ext>
            </a:extLst>
          </p:cNvPr>
          <p:cNvSpPr/>
          <p:nvPr/>
        </p:nvSpPr>
        <p:spPr>
          <a:xfrm flipV="1">
            <a:off x="10333002" y="3064580"/>
            <a:ext cx="4199" cy="1052720"/>
          </a:xfrm>
          <a:prstGeom prst="line">
            <a:avLst/>
          </a:prstGeom>
          <a:ln w="12700">
            <a:solidFill>
              <a:srgbClr val="E6552F"/>
            </a:solidFill>
          </a:ln>
        </p:spPr>
        <p:txBody>
          <a:bodyPr tIns="91415" bIns="91415"/>
          <a:lstStyle/>
          <a:p>
            <a:pPr defTabSz="914126">
              <a:defRPr sz="3600">
                <a:solidFill>
                  <a:srgbClr val="000000"/>
                </a:solidFill>
                <a:latin typeface="Arial"/>
                <a:ea typeface="Arial"/>
                <a:cs typeface="Arial"/>
                <a:sym typeface="Arial"/>
              </a:defRPr>
            </a:pPr>
            <a:endParaRPr lang="en-US" sz="3599">
              <a:solidFill>
                <a:srgbClr val="000000"/>
              </a:solidFill>
              <a:latin typeface="Arial"/>
              <a:cs typeface="Arial"/>
              <a:sym typeface="Arial"/>
            </a:endParaRPr>
          </a:p>
        </p:txBody>
      </p:sp>
      <p:sp>
        <p:nvSpPr>
          <p:cNvPr id="102" name="TextBox 72">
            <a:extLst>
              <a:ext uri="{FF2B5EF4-FFF2-40B4-BE49-F238E27FC236}">
                <a16:creationId xmlns:a16="http://schemas.microsoft.com/office/drawing/2014/main" id="{9B49878A-082A-3FE7-1FCB-E147DDC9225F}"/>
              </a:ext>
            </a:extLst>
          </p:cNvPr>
          <p:cNvSpPr txBox="1"/>
          <p:nvPr/>
        </p:nvSpPr>
        <p:spPr>
          <a:xfrm rot="6030">
            <a:off x="10056682" y="2658626"/>
            <a:ext cx="613790" cy="33855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defTabSz="914400">
              <a:defRPr sz="2200">
                <a:solidFill>
                  <a:srgbClr val="404040"/>
                </a:solidFill>
                <a:latin typeface="Arial"/>
                <a:ea typeface="Arial"/>
                <a:cs typeface="Arial"/>
                <a:sym typeface="Arial"/>
              </a:defRPr>
            </a:lvl1pPr>
          </a:lstStyle>
          <a:p>
            <a:pPr algn="r">
              <a:defRPr/>
            </a:pPr>
            <a:r>
              <a:rPr lang="en-US" sz="1100"/>
              <a:t>Acquired Re:infer</a:t>
            </a:r>
            <a:endParaRPr sz="1100"/>
          </a:p>
        </p:txBody>
      </p:sp>
      <p:sp>
        <p:nvSpPr>
          <p:cNvPr id="103" name="Oval 71">
            <a:extLst>
              <a:ext uri="{FF2B5EF4-FFF2-40B4-BE49-F238E27FC236}">
                <a16:creationId xmlns:a16="http://schemas.microsoft.com/office/drawing/2014/main" id="{C776C543-8FCC-5D1D-A612-F970A8424B70}"/>
              </a:ext>
            </a:extLst>
          </p:cNvPr>
          <p:cNvSpPr/>
          <p:nvPr/>
        </p:nvSpPr>
        <p:spPr>
          <a:xfrm>
            <a:off x="10260104" y="4105062"/>
            <a:ext cx="171612" cy="169246"/>
          </a:xfrm>
          <a:prstGeom prst="ellipse">
            <a:avLst/>
          </a:prstGeom>
          <a:solidFill>
            <a:srgbClr val="FFFFFF"/>
          </a:solidFill>
          <a:ln w="28575" cap="flat">
            <a:solidFill>
              <a:schemeClr val="accent1"/>
            </a:solidFill>
            <a:prstDash val="solid"/>
            <a:round/>
          </a:ln>
          <a:effectLst/>
        </p:spPr>
        <p:txBody>
          <a:bodyPr wrap="square" lIns="0" tIns="0" rIns="0" bIns="0" numCol="1" anchor="ctr">
            <a:noAutofit/>
          </a:bodyPr>
          <a:lstStyle/>
          <a:p>
            <a:pPr defTabSz="914126">
              <a:defRPr sz="2800">
                <a:solidFill>
                  <a:srgbClr val="ED145B"/>
                </a:solidFill>
                <a:latin typeface="Arial"/>
                <a:ea typeface="Arial"/>
                <a:cs typeface="Arial"/>
                <a:sym typeface="Arial"/>
              </a:defRPr>
            </a:pPr>
            <a:endParaRPr lang="en-US" sz="2799">
              <a:solidFill>
                <a:srgbClr val="ED145B"/>
              </a:solidFill>
              <a:latin typeface="Arial"/>
              <a:cs typeface="Arial"/>
              <a:sym typeface="Arial"/>
            </a:endParaRPr>
          </a:p>
        </p:txBody>
      </p:sp>
    </p:spTree>
    <p:extLst>
      <p:ext uri="{BB962C8B-B14F-4D97-AF65-F5344CB8AC3E}">
        <p14:creationId xmlns:p14="http://schemas.microsoft.com/office/powerpoint/2010/main" val="2588449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742161-D7F7-1148-9517-22A4D1BD20AC}"/>
              </a:ext>
            </a:extLst>
          </p:cNvPr>
          <p:cNvSpPr/>
          <p:nvPr/>
        </p:nvSpPr>
        <p:spPr>
          <a:xfrm>
            <a:off x="1" y="1322388"/>
            <a:ext cx="12187364" cy="488791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a:latin typeface="Arial"/>
              <a:cs typeface="Arial"/>
            </a:endParaRPr>
          </a:p>
        </p:txBody>
      </p:sp>
      <p:sp>
        <p:nvSpPr>
          <p:cNvPr id="5" name="Title 3">
            <a:extLst>
              <a:ext uri="{FF2B5EF4-FFF2-40B4-BE49-F238E27FC236}">
                <a16:creationId xmlns:a16="http://schemas.microsoft.com/office/drawing/2014/main" id="{15389885-FA71-B09A-0915-8F55C70A173B}"/>
              </a:ext>
            </a:extLst>
          </p:cNvPr>
          <p:cNvSpPr>
            <a:spLocks noGrp="1"/>
          </p:cNvSpPr>
          <p:nvPr>
            <p:ph type="title"/>
          </p:nvPr>
        </p:nvSpPr>
        <p:spPr>
          <a:xfrm>
            <a:off x="100845" y="369285"/>
            <a:ext cx="7679266" cy="690029"/>
          </a:xfrm>
        </p:spPr>
        <p:txBody>
          <a:bodyPr/>
          <a:lstStyle/>
          <a:p>
            <a:r>
              <a:rPr lang="en-US" sz="2800" b="1"/>
              <a:t>Today: </a:t>
            </a:r>
            <a:br>
              <a:rPr lang="en-US" sz="2800" b="1"/>
            </a:br>
            <a:r>
              <a:rPr lang="en-US" sz="2800" b="1"/>
              <a:t>global coverage, local expertise</a:t>
            </a:r>
          </a:p>
        </p:txBody>
      </p:sp>
      <p:grpSp>
        <p:nvGrpSpPr>
          <p:cNvPr id="6" name="Group 5">
            <a:extLst>
              <a:ext uri="{FF2B5EF4-FFF2-40B4-BE49-F238E27FC236}">
                <a16:creationId xmlns:a16="http://schemas.microsoft.com/office/drawing/2014/main" id="{8E8515E4-9E3C-08F5-4FF6-74080C99B850}"/>
              </a:ext>
            </a:extLst>
          </p:cNvPr>
          <p:cNvGrpSpPr/>
          <p:nvPr/>
        </p:nvGrpSpPr>
        <p:grpSpPr>
          <a:xfrm>
            <a:off x="482012" y="1322387"/>
            <a:ext cx="11224800" cy="4887913"/>
            <a:chOff x="66530" y="1023408"/>
            <a:chExt cx="12217617" cy="5320242"/>
          </a:xfrm>
        </p:grpSpPr>
        <p:pic>
          <p:nvPicPr>
            <p:cNvPr id="7" name="Graphic 6">
              <a:extLst>
                <a:ext uri="{FF2B5EF4-FFF2-40B4-BE49-F238E27FC236}">
                  <a16:creationId xmlns:a16="http://schemas.microsoft.com/office/drawing/2014/main" id="{51202230-7219-D930-B53E-4C241109E8F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15415" b="11366"/>
            <a:stretch/>
          </p:blipFill>
          <p:spPr>
            <a:xfrm>
              <a:off x="66530" y="1023408"/>
              <a:ext cx="12217617" cy="5320242"/>
            </a:xfrm>
            <a:prstGeom prst="rect">
              <a:avLst/>
            </a:prstGeom>
          </p:spPr>
        </p:pic>
        <p:sp>
          <p:nvSpPr>
            <p:cNvPr id="8" name="Freeform: Shape 139">
              <a:extLst>
                <a:ext uri="{FF2B5EF4-FFF2-40B4-BE49-F238E27FC236}">
                  <a16:creationId xmlns:a16="http://schemas.microsoft.com/office/drawing/2014/main" id="{D360F936-2A43-CFBF-A0C7-4ED6B1606FCC}"/>
                </a:ext>
              </a:extLst>
            </p:cNvPr>
            <p:cNvSpPr/>
            <p:nvPr/>
          </p:nvSpPr>
          <p:spPr>
            <a:xfrm>
              <a:off x="4877291" y="2516244"/>
              <a:ext cx="1069995" cy="452609"/>
            </a:xfrm>
            <a:custGeom>
              <a:avLst/>
              <a:gdLst>
                <a:gd name="connsiteX0" fmla="*/ 669727 w 938213"/>
                <a:gd name="connsiteY0" fmla="*/ 0 h 396865"/>
                <a:gd name="connsiteX1" fmla="*/ 780804 w 938213"/>
                <a:gd name="connsiteY1" fmla="*/ 39677 h 396865"/>
                <a:gd name="connsiteX2" fmla="*/ 938213 w 938213"/>
                <a:gd name="connsiteY2" fmla="*/ 39677 h 396865"/>
                <a:gd name="connsiteX3" fmla="*/ 938213 w 938213"/>
                <a:gd name="connsiteY3" fmla="*/ 396865 h 396865"/>
                <a:gd name="connsiteX4" fmla="*/ 0 w 938213"/>
                <a:gd name="connsiteY4" fmla="*/ 396865 h 396865"/>
                <a:gd name="connsiteX5" fmla="*/ 0 w 938213"/>
                <a:gd name="connsiteY5" fmla="*/ 39677 h 396865"/>
                <a:gd name="connsiteX6" fmla="*/ 558650 w 938213"/>
                <a:gd name="connsiteY6" fmla="*/ 39677 h 39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213" h="396865">
                  <a:moveTo>
                    <a:pt x="669727" y="0"/>
                  </a:moveTo>
                  <a:lnTo>
                    <a:pt x="780804" y="39677"/>
                  </a:lnTo>
                  <a:lnTo>
                    <a:pt x="938213" y="39677"/>
                  </a:lnTo>
                  <a:lnTo>
                    <a:pt x="938213" y="396865"/>
                  </a:lnTo>
                  <a:lnTo>
                    <a:pt x="0" y="396865"/>
                  </a:lnTo>
                  <a:lnTo>
                    <a:pt x="0" y="39677"/>
                  </a:lnTo>
                  <a:lnTo>
                    <a:pt x="558650" y="39677"/>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Paris</a:t>
              </a:r>
            </a:p>
          </p:txBody>
        </p:sp>
        <p:sp>
          <p:nvSpPr>
            <p:cNvPr id="9" name="Freeform: Shape 140">
              <a:extLst>
                <a:ext uri="{FF2B5EF4-FFF2-40B4-BE49-F238E27FC236}">
                  <a16:creationId xmlns:a16="http://schemas.microsoft.com/office/drawing/2014/main" id="{0ABD9FB5-2577-12DA-094E-015A22A22B2F}"/>
                </a:ext>
              </a:extLst>
            </p:cNvPr>
            <p:cNvSpPr/>
            <p:nvPr/>
          </p:nvSpPr>
          <p:spPr>
            <a:xfrm>
              <a:off x="6736343" y="2793633"/>
              <a:ext cx="1194917" cy="450793"/>
            </a:xfrm>
            <a:custGeom>
              <a:avLst/>
              <a:gdLst>
                <a:gd name="connsiteX0" fmla="*/ 304775 w 1047750"/>
                <a:gd name="connsiteY0" fmla="*/ 0 h 395273"/>
                <a:gd name="connsiteX1" fmla="*/ 418853 w 1047750"/>
                <a:gd name="connsiteY1" fmla="*/ 42848 h 395273"/>
                <a:gd name="connsiteX2" fmla="*/ 1047750 w 1047750"/>
                <a:gd name="connsiteY2" fmla="*/ 42848 h 395273"/>
                <a:gd name="connsiteX3" fmla="*/ 1047750 w 1047750"/>
                <a:gd name="connsiteY3" fmla="*/ 395273 h 395273"/>
                <a:gd name="connsiteX4" fmla="*/ 0 w 1047750"/>
                <a:gd name="connsiteY4" fmla="*/ 395273 h 395273"/>
                <a:gd name="connsiteX5" fmla="*/ 0 w 1047750"/>
                <a:gd name="connsiteY5" fmla="*/ 42848 h 395273"/>
                <a:gd name="connsiteX6" fmla="*/ 190697 w 1047750"/>
                <a:gd name="connsiteY6" fmla="*/ 42848 h 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395273">
                  <a:moveTo>
                    <a:pt x="304775" y="0"/>
                  </a:moveTo>
                  <a:lnTo>
                    <a:pt x="418853" y="42848"/>
                  </a:lnTo>
                  <a:lnTo>
                    <a:pt x="1047750" y="42848"/>
                  </a:lnTo>
                  <a:lnTo>
                    <a:pt x="1047750" y="395273"/>
                  </a:lnTo>
                  <a:lnTo>
                    <a:pt x="0" y="395273"/>
                  </a:lnTo>
                  <a:lnTo>
                    <a:pt x="0" y="42848"/>
                  </a:lnTo>
                  <a:lnTo>
                    <a:pt x="190697" y="42848"/>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Bucharest</a:t>
              </a:r>
            </a:p>
          </p:txBody>
        </p:sp>
        <p:sp>
          <p:nvSpPr>
            <p:cNvPr id="10" name="Freeform: Shape 141">
              <a:extLst>
                <a:ext uri="{FF2B5EF4-FFF2-40B4-BE49-F238E27FC236}">
                  <a16:creationId xmlns:a16="http://schemas.microsoft.com/office/drawing/2014/main" id="{E9F5C48D-C8C6-D356-463E-23E9499E083C}"/>
                </a:ext>
              </a:extLst>
            </p:cNvPr>
            <p:cNvSpPr/>
            <p:nvPr/>
          </p:nvSpPr>
          <p:spPr>
            <a:xfrm>
              <a:off x="7412676" y="2284509"/>
              <a:ext cx="1194918" cy="458040"/>
            </a:xfrm>
            <a:custGeom>
              <a:avLst/>
              <a:gdLst>
                <a:gd name="connsiteX0" fmla="*/ 0 w 1047750"/>
                <a:gd name="connsiteY0" fmla="*/ 0 h 401627"/>
                <a:gd name="connsiteX1" fmla="*/ 1047750 w 1047750"/>
                <a:gd name="connsiteY1" fmla="*/ 0 h 401627"/>
                <a:gd name="connsiteX2" fmla="*/ 1047750 w 1047750"/>
                <a:gd name="connsiteY2" fmla="*/ 352425 h 401627"/>
                <a:gd name="connsiteX3" fmla="*/ 873970 w 1047750"/>
                <a:gd name="connsiteY3" fmla="*/ 352425 h 401627"/>
                <a:gd name="connsiteX4" fmla="*/ 742975 w 1047750"/>
                <a:gd name="connsiteY4" fmla="*/ 401627 h 401627"/>
                <a:gd name="connsiteX5" fmla="*/ 611981 w 1047750"/>
                <a:gd name="connsiteY5" fmla="*/ 352425 h 401627"/>
                <a:gd name="connsiteX6" fmla="*/ 0 w 1047750"/>
                <a:gd name="connsiteY6" fmla="*/ 352425 h 40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401627">
                  <a:moveTo>
                    <a:pt x="0" y="0"/>
                  </a:moveTo>
                  <a:lnTo>
                    <a:pt x="1047750" y="0"/>
                  </a:lnTo>
                  <a:lnTo>
                    <a:pt x="1047750" y="352425"/>
                  </a:lnTo>
                  <a:lnTo>
                    <a:pt x="873970" y="352425"/>
                  </a:lnTo>
                  <a:lnTo>
                    <a:pt x="742975" y="401627"/>
                  </a:lnTo>
                  <a:lnTo>
                    <a:pt x="611981"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Mumbai</a:t>
              </a:r>
            </a:p>
          </p:txBody>
        </p:sp>
        <p:sp>
          <p:nvSpPr>
            <p:cNvPr id="11" name="Freeform: Shape 142">
              <a:extLst>
                <a:ext uri="{FF2B5EF4-FFF2-40B4-BE49-F238E27FC236}">
                  <a16:creationId xmlns:a16="http://schemas.microsoft.com/office/drawing/2014/main" id="{30D994BE-CEAE-1F84-9444-E574D6F34EFF}"/>
                </a:ext>
              </a:extLst>
            </p:cNvPr>
            <p:cNvSpPr/>
            <p:nvPr/>
          </p:nvSpPr>
          <p:spPr>
            <a:xfrm>
              <a:off x="7997775" y="3062774"/>
              <a:ext cx="1194918" cy="458040"/>
            </a:xfrm>
            <a:custGeom>
              <a:avLst/>
              <a:gdLst>
                <a:gd name="connsiteX0" fmla="*/ 0 w 1047750"/>
                <a:gd name="connsiteY0" fmla="*/ 0 h 401627"/>
                <a:gd name="connsiteX1" fmla="*/ 1047750 w 1047750"/>
                <a:gd name="connsiteY1" fmla="*/ 0 h 401627"/>
                <a:gd name="connsiteX2" fmla="*/ 1047750 w 1047750"/>
                <a:gd name="connsiteY2" fmla="*/ 352425 h 401627"/>
                <a:gd name="connsiteX3" fmla="*/ 421506 w 1047750"/>
                <a:gd name="connsiteY3" fmla="*/ 352425 h 401627"/>
                <a:gd name="connsiteX4" fmla="*/ 290511 w 1047750"/>
                <a:gd name="connsiteY4" fmla="*/ 401627 h 401627"/>
                <a:gd name="connsiteX5" fmla="*/ 159517 w 1047750"/>
                <a:gd name="connsiteY5" fmla="*/ 352425 h 401627"/>
                <a:gd name="connsiteX6" fmla="*/ 0 w 1047750"/>
                <a:gd name="connsiteY6" fmla="*/ 352425 h 40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0" h="401627">
                  <a:moveTo>
                    <a:pt x="0" y="0"/>
                  </a:moveTo>
                  <a:lnTo>
                    <a:pt x="1047750" y="0"/>
                  </a:lnTo>
                  <a:lnTo>
                    <a:pt x="1047750" y="352425"/>
                  </a:lnTo>
                  <a:lnTo>
                    <a:pt x="421506" y="352425"/>
                  </a:lnTo>
                  <a:lnTo>
                    <a:pt x="290511" y="401627"/>
                  </a:lnTo>
                  <a:lnTo>
                    <a:pt x="159517"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angalore</a:t>
              </a:r>
            </a:p>
          </p:txBody>
        </p:sp>
        <p:sp>
          <p:nvSpPr>
            <p:cNvPr id="12" name="Freeform: Shape 143">
              <a:extLst>
                <a:ext uri="{FF2B5EF4-FFF2-40B4-BE49-F238E27FC236}">
                  <a16:creationId xmlns:a16="http://schemas.microsoft.com/office/drawing/2014/main" id="{E60B4509-123E-6DBB-E799-E352583CD05A}"/>
                </a:ext>
              </a:extLst>
            </p:cNvPr>
            <p:cNvSpPr/>
            <p:nvPr/>
          </p:nvSpPr>
          <p:spPr>
            <a:xfrm>
              <a:off x="6384009" y="3760594"/>
              <a:ext cx="1072712" cy="443861"/>
            </a:xfrm>
            <a:custGeom>
              <a:avLst/>
              <a:gdLst>
                <a:gd name="connsiteX0" fmla="*/ 654870 w 940594"/>
                <a:gd name="connsiteY0" fmla="*/ 0 h 389194"/>
                <a:gd name="connsiteX1" fmla="*/ 752763 w 940594"/>
                <a:gd name="connsiteY1" fmla="*/ 36769 h 389194"/>
                <a:gd name="connsiteX2" fmla="*/ 940594 w 940594"/>
                <a:gd name="connsiteY2" fmla="*/ 36769 h 389194"/>
                <a:gd name="connsiteX3" fmla="*/ 940594 w 940594"/>
                <a:gd name="connsiteY3" fmla="*/ 389194 h 389194"/>
                <a:gd name="connsiteX4" fmla="*/ 0 w 940594"/>
                <a:gd name="connsiteY4" fmla="*/ 389194 h 389194"/>
                <a:gd name="connsiteX5" fmla="*/ 0 w 940594"/>
                <a:gd name="connsiteY5" fmla="*/ 36769 h 389194"/>
                <a:gd name="connsiteX6" fmla="*/ 556977 w 94059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594" h="389194">
                  <a:moveTo>
                    <a:pt x="654870" y="0"/>
                  </a:moveTo>
                  <a:lnTo>
                    <a:pt x="752763" y="36769"/>
                  </a:lnTo>
                  <a:lnTo>
                    <a:pt x="940594" y="36769"/>
                  </a:lnTo>
                  <a:lnTo>
                    <a:pt x="940594" y="389194"/>
                  </a:lnTo>
                  <a:lnTo>
                    <a:pt x="0" y="389194"/>
                  </a:lnTo>
                  <a:lnTo>
                    <a:pt x="0" y="36769"/>
                  </a:lnTo>
                  <a:lnTo>
                    <a:pt x="556977"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Dubai</a:t>
              </a:r>
            </a:p>
          </p:txBody>
        </p:sp>
        <p:sp>
          <p:nvSpPr>
            <p:cNvPr id="13" name="Freeform: Shape 144">
              <a:extLst>
                <a:ext uri="{FF2B5EF4-FFF2-40B4-BE49-F238E27FC236}">
                  <a16:creationId xmlns:a16="http://schemas.microsoft.com/office/drawing/2014/main" id="{E5E13A34-E19C-DBE1-101A-D310E5B084D2}"/>
                </a:ext>
              </a:extLst>
            </p:cNvPr>
            <p:cNvSpPr/>
            <p:nvPr/>
          </p:nvSpPr>
          <p:spPr>
            <a:xfrm>
              <a:off x="3579280" y="5050025"/>
              <a:ext cx="1205371" cy="452683"/>
            </a:xfrm>
            <a:custGeom>
              <a:avLst/>
              <a:gdLst>
                <a:gd name="connsiteX0" fmla="*/ 311970 w 1056916"/>
                <a:gd name="connsiteY0" fmla="*/ 0 h 396930"/>
                <a:gd name="connsiteX1" fmla="*/ 430459 w 1056916"/>
                <a:gd name="connsiteY1" fmla="*/ 44505 h 396930"/>
                <a:gd name="connsiteX2" fmla="*/ 1056916 w 1056916"/>
                <a:gd name="connsiteY2" fmla="*/ 44505 h 396930"/>
                <a:gd name="connsiteX3" fmla="*/ 1056916 w 1056916"/>
                <a:gd name="connsiteY3" fmla="*/ 396930 h 396930"/>
                <a:gd name="connsiteX4" fmla="*/ 0 w 1056916"/>
                <a:gd name="connsiteY4" fmla="*/ 396930 h 396930"/>
                <a:gd name="connsiteX5" fmla="*/ 0 w 1056916"/>
                <a:gd name="connsiteY5" fmla="*/ 44505 h 396930"/>
                <a:gd name="connsiteX6" fmla="*/ 193481 w 105691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916" h="396930">
                  <a:moveTo>
                    <a:pt x="311970" y="0"/>
                  </a:moveTo>
                  <a:lnTo>
                    <a:pt x="430459" y="44505"/>
                  </a:lnTo>
                  <a:lnTo>
                    <a:pt x="1056916" y="44505"/>
                  </a:lnTo>
                  <a:lnTo>
                    <a:pt x="1056916" y="396930"/>
                  </a:lnTo>
                  <a:lnTo>
                    <a:pt x="0" y="396930"/>
                  </a:lnTo>
                  <a:lnTo>
                    <a:pt x="0" y="44505"/>
                  </a:lnTo>
                  <a:lnTo>
                    <a:pt x="193481"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ao Paolo</a:t>
              </a:r>
            </a:p>
          </p:txBody>
        </p:sp>
        <p:sp>
          <p:nvSpPr>
            <p:cNvPr id="14" name="Freeform: Shape 145">
              <a:extLst>
                <a:ext uri="{FF2B5EF4-FFF2-40B4-BE49-F238E27FC236}">
                  <a16:creationId xmlns:a16="http://schemas.microsoft.com/office/drawing/2014/main" id="{7720C6D5-9580-723F-CCAD-87506B680235}"/>
                </a:ext>
              </a:extLst>
            </p:cNvPr>
            <p:cNvSpPr/>
            <p:nvPr/>
          </p:nvSpPr>
          <p:spPr>
            <a:xfrm>
              <a:off x="1407396" y="3109214"/>
              <a:ext cx="1140194" cy="452683"/>
            </a:xfrm>
            <a:custGeom>
              <a:avLst/>
              <a:gdLst>
                <a:gd name="connsiteX0" fmla="*/ 311970 w 999766"/>
                <a:gd name="connsiteY0" fmla="*/ 0 h 396930"/>
                <a:gd name="connsiteX1" fmla="*/ 430459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193480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311970" y="0"/>
                  </a:moveTo>
                  <a:lnTo>
                    <a:pt x="430459" y="44505"/>
                  </a:lnTo>
                  <a:lnTo>
                    <a:pt x="999766" y="44505"/>
                  </a:lnTo>
                  <a:lnTo>
                    <a:pt x="999766" y="396930"/>
                  </a:lnTo>
                  <a:lnTo>
                    <a:pt x="0" y="396930"/>
                  </a:lnTo>
                  <a:lnTo>
                    <a:pt x="0" y="44505"/>
                  </a:lnTo>
                  <a:lnTo>
                    <a:pt x="193480"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Houston</a:t>
              </a:r>
            </a:p>
          </p:txBody>
        </p:sp>
        <p:sp>
          <p:nvSpPr>
            <p:cNvPr id="15" name="Freeform: Shape 146">
              <a:extLst>
                <a:ext uri="{FF2B5EF4-FFF2-40B4-BE49-F238E27FC236}">
                  <a16:creationId xmlns:a16="http://schemas.microsoft.com/office/drawing/2014/main" id="{BE3D6BAE-5A1B-EA4C-BEE2-0DC928BE538B}"/>
                </a:ext>
              </a:extLst>
            </p:cNvPr>
            <p:cNvSpPr/>
            <p:nvPr/>
          </p:nvSpPr>
          <p:spPr>
            <a:xfrm>
              <a:off x="2772472" y="2711080"/>
              <a:ext cx="1140194" cy="452683"/>
            </a:xfrm>
            <a:custGeom>
              <a:avLst/>
              <a:gdLst>
                <a:gd name="connsiteX0" fmla="*/ 311970 w 999766"/>
                <a:gd name="connsiteY0" fmla="*/ 0 h 396930"/>
                <a:gd name="connsiteX1" fmla="*/ 430459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193480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311970" y="0"/>
                  </a:moveTo>
                  <a:lnTo>
                    <a:pt x="430459" y="44505"/>
                  </a:lnTo>
                  <a:lnTo>
                    <a:pt x="999766" y="44505"/>
                  </a:lnTo>
                  <a:lnTo>
                    <a:pt x="999766" y="396930"/>
                  </a:lnTo>
                  <a:lnTo>
                    <a:pt x="0" y="396930"/>
                  </a:lnTo>
                  <a:lnTo>
                    <a:pt x="0" y="44505"/>
                  </a:lnTo>
                  <a:lnTo>
                    <a:pt x="193480"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a:latin typeface="Arial"/>
                  <a:cs typeface="Arial"/>
                </a:rPr>
                <a:t>D.C.</a:t>
              </a:r>
              <a:endParaRPr lang="en-US" sz="1400" b="1" i="0">
                <a:latin typeface="Arial"/>
                <a:cs typeface="Arial"/>
              </a:endParaRPr>
            </a:p>
          </p:txBody>
        </p:sp>
        <p:sp>
          <p:nvSpPr>
            <p:cNvPr id="16" name="Freeform: Shape 147">
              <a:extLst>
                <a:ext uri="{FF2B5EF4-FFF2-40B4-BE49-F238E27FC236}">
                  <a16:creationId xmlns:a16="http://schemas.microsoft.com/office/drawing/2014/main" id="{6AE8937D-2422-8998-B1E4-DB80CA2A0CE9}"/>
                </a:ext>
              </a:extLst>
            </p:cNvPr>
            <p:cNvSpPr/>
            <p:nvPr/>
          </p:nvSpPr>
          <p:spPr>
            <a:xfrm>
              <a:off x="215937" y="2910017"/>
              <a:ext cx="1140194" cy="452683"/>
            </a:xfrm>
            <a:custGeom>
              <a:avLst/>
              <a:gdLst>
                <a:gd name="connsiteX0" fmla="*/ 743756 w 999766"/>
                <a:gd name="connsiteY0" fmla="*/ 0 h 396930"/>
                <a:gd name="connsiteX1" fmla="*/ 862245 w 999766"/>
                <a:gd name="connsiteY1" fmla="*/ 44505 h 396930"/>
                <a:gd name="connsiteX2" fmla="*/ 999766 w 999766"/>
                <a:gd name="connsiteY2" fmla="*/ 44505 h 396930"/>
                <a:gd name="connsiteX3" fmla="*/ 999766 w 999766"/>
                <a:gd name="connsiteY3" fmla="*/ 396930 h 396930"/>
                <a:gd name="connsiteX4" fmla="*/ 0 w 999766"/>
                <a:gd name="connsiteY4" fmla="*/ 396930 h 396930"/>
                <a:gd name="connsiteX5" fmla="*/ 0 w 999766"/>
                <a:gd name="connsiteY5" fmla="*/ 44505 h 396930"/>
                <a:gd name="connsiteX6" fmla="*/ 625266 w 999766"/>
                <a:gd name="connsiteY6" fmla="*/ 44505 h 39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396930">
                  <a:moveTo>
                    <a:pt x="743756" y="0"/>
                  </a:moveTo>
                  <a:lnTo>
                    <a:pt x="862245" y="44505"/>
                  </a:lnTo>
                  <a:lnTo>
                    <a:pt x="999766" y="44505"/>
                  </a:lnTo>
                  <a:lnTo>
                    <a:pt x="999766" y="396930"/>
                  </a:lnTo>
                  <a:lnTo>
                    <a:pt x="0" y="396930"/>
                  </a:lnTo>
                  <a:lnTo>
                    <a:pt x="0" y="44505"/>
                  </a:lnTo>
                  <a:lnTo>
                    <a:pt x="625266" y="4450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an Jose</a:t>
              </a:r>
            </a:p>
          </p:txBody>
        </p:sp>
        <p:sp>
          <p:nvSpPr>
            <p:cNvPr id="17" name="Freeform: Shape 148">
              <a:extLst>
                <a:ext uri="{FF2B5EF4-FFF2-40B4-BE49-F238E27FC236}">
                  <a16:creationId xmlns:a16="http://schemas.microsoft.com/office/drawing/2014/main" id="{DF45995A-A6EC-ABA8-4FE3-E4454C2D582E}"/>
                </a:ext>
              </a:extLst>
            </p:cNvPr>
            <p:cNvSpPr/>
            <p:nvPr/>
          </p:nvSpPr>
          <p:spPr>
            <a:xfrm>
              <a:off x="1234126" y="2483332"/>
              <a:ext cx="1140194" cy="457431"/>
            </a:xfrm>
            <a:custGeom>
              <a:avLst/>
              <a:gdLst>
                <a:gd name="connsiteX0" fmla="*/ 0 w 999766"/>
                <a:gd name="connsiteY0" fmla="*/ 0 h 401093"/>
                <a:gd name="connsiteX1" fmla="*/ 999766 w 999766"/>
                <a:gd name="connsiteY1" fmla="*/ 0 h 401093"/>
                <a:gd name="connsiteX2" fmla="*/ 999766 w 999766"/>
                <a:gd name="connsiteY2" fmla="*/ 352425 h 401093"/>
                <a:gd name="connsiteX3" fmla="*/ 811838 w 999766"/>
                <a:gd name="connsiteY3" fmla="*/ 352425 h 401093"/>
                <a:gd name="connsiteX4" fmla="*/ 682265 w 999766"/>
                <a:gd name="connsiteY4" fmla="*/ 401093 h 401093"/>
                <a:gd name="connsiteX5" fmla="*/ 552693 w 999766"/>
                <a:gd name="connsiteY5" fmla="*/ 352425 h 401093"/>
                <a:gd name="connsiteX6" fmla="*/ 0 w 999766"/>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766" h="401093">
                  <a:moveTo>
                    <a:pt x="0" y="0"/>
                  </a:moveTo>
                  <a:lnTo>
                    <a:pt x="999766" y="0"/>
                  </a:lnTo>
                  <a:lnTo>
                    <a:pt x="999766" y="352425"/>
                  </a:lnTo>
                  <a:lnTo>
                    <a:pt x="811838" y="352425"/>
                  </a:lnTo>
                  <a:lnTo>
                    <a:pt x="682265" y="401093"/>
                  </a:lnTo>
                  <a:lnTo>
                    <a:pt x="552693"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Austin</a:t>
              </a:r>
            </a:p>
          </p:txBody>
        </p:sp>
        <p:sp>
          <p:nvSpPr>
            <p:cNvPr id="18" name="Freeform: Shape 149">
              <a:extLst>
                <a:ext uri="{FF2B5EF4-FFF2-40B4-BE49-F238E27FC236}">
                  <a16:creationId xmlns:a16="http://schemas.microsoft.com/office/drawing/2014/main" id="{DB16B388-B1A2-741C-0783-5D2B48AD59C5}"/>
                </a:ext>
              </a:extLst>
            </p:cNvPr>
            <p:cNvSpPr/>
            <p:nvPr/>
          </p:nvSpPr>
          <p:spPr>
            <a:xfrm>
              <a:off x="590617" y="1802790"/>
              <a:ext cx="967044" cy="460146"/>
            </a:xfrm>
            <a:custGeom>
              <a:avLst/>
              <a:gdLst>
                <a:gd name="connsiteX0" fmla="*/ 0 w 847942"/>
                <a:gd name="connsiteY0" fmla="*/ 0 h 403474"/>
                <a:gd name="connsiteX1" fmla="*/ 847942 w 847942"/>
                <a:gd name="connsiteY1" fmla="*/ 0 h 403474"/>
                <a:gd name="connsiteX2" fmla="*/ 847942 w 847942"/>
                <a:gd name="connsiteY2" fmla="*/ 352425 h 403474"/>
                <a:gd name="connsiteX3" fmla="*/ 718504 w 847942"/>
                <a:gd name="connsiteY3" fmla="*/ 352425 h 403474"/>
                <a:gd name="connsiteX4" fmla="*/ 713666 w 847942"/>
                <a:gd name="connsiteY4" fmla="*/ 354272 h 403474"/>
                <a:gd name="connsiteX5" fmla="*/ 716947 w 847942"/>
                <a:gd name="connsiteY5" fmla="*/ 354272 h 403474"/>
                <a:gd name="connsiteX6" fmla="*/ 585952 w 847942"/>
                <a:gd name="connsiteY6" fmla="*/ 403474 h 403474"/>
                <a:gd name="connsiteX7" fmla="*/ 585377 w 847942"/>
                <a:gd name="connsiteY7" fmla="*/ 403258 h 403474"/>
                <a:gd name="connsiteX8" fmla="*/ 584813 w 847942"/>
                <a:gd name="connsiteY8" fmla="*/ 403473 h 403474"/>
                <a:gd name="connsiteX9" fmla="*/ 516329 w 847942"/>
                <a:gd name="connsiteY9" fmla="*/ 377323 h 403474"/>
                <a:gd name="connsiteX10" fmla="*/ 454958 w 847942"/>
                <a:gd name="connsiteY10" fmla="*/ 354272 h 403474"/>
                <a:gd name="connsiteX11" fmla="*/ 455960 w 847942"/>
                <a:gd name="connsiteY11" fmla="*/ 354272 h 403474"/>
                <a:gd name="connsiteX12" fmla="*/ 451123 w 847942"/>
                <a:gd name="connsiteY12" fmla="*/ 352425 h 403474"/>
                <a:gd name="connsiteX13" fmla="*/ 0 w 847942"/>
                <a:gd name="connsiteY13" fmla="*/ 352425 h 4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7942" h="403474">
                  <a:moveTo>
                    <a:pt x="0" y="0"/>
                  </a:moveTo>
                  <a:lnTo>
                    <a:pt x="847942" y="0"/>
                  </a:lnTo>
                  <a:lnTo>
                    <a:pt x="847942" y="352425"/>
                  </a:lnTo>
                  <a:lnTo>
                    <a:pt x="718504" y="352425"/>
                  </a:lnTo>
                  <a:lnTo>
                    <a:pt x="713666" y="354272"/>
                  </a:lnTo>
                  <a:lnTo>
                    <a:pt x="716947" y="354272"/>
                  </a:lnTo>
                  <a:lnTo>
                    <a:pt x="585952" y="403474"/>
                  </a:lnTo>
                  <a:lnTo>
                    <a:pt x="585377" y="403258"/>
                  </a:lnTo>
                  <a:lnTo>
                    <a:pt x="584813" y="403473"/>
                  </a:lnTo>
                  <a:lnTo>
                    <a:pt x="516329" y="377323"/>
                  </a:lnTo>
                  <a:lnTo>
                    <a:pt x="454958" y="354272"/>
                  </a:lnTo>
                  <a:lnTo>
                    <a:pt x="455960" y="354272"/>
                  </a:lnTo>
                  <a:lnTo>
                    <a:pt x="451123"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ellevue</a:t>
              </a:r>
            </a:p>
          </p:txBody>
        </p:sp>
        <p:sp>
          <p:nvSpPr>
            <p:cNvPr id="19" name="Freeform: Shape 150">
              <a:extLst>
                <a:ext uri="{FF2B5EF4-FFF2-40B4-BE49-F238E27FC236}">
                  <a16:creationId xmlns:a16="http://schemas.microsoft.com/office/drawing/2014/main" id="{4AA47D83-3E62-9B7B-A486-BA7E62345387}"/>
                </a:ext>
              </a:extLst>
            </p:cNvPr>
            <p:cNvSpPr/>
            <p:nvPr/>
          </p:nvSpPr>
          <p:spPr>
            <a:xfrm>
              <a:off x="2834342" y="2150546"/>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NYC HQ</a:t>
              </a:r>
            </a:p>
          </p:txBody>
        </p:sp>
        <p:sp>
          <p:nvSpPr>
            <p:cNvPr id="20" name="Freeform: Shape 151">
              <a:extLst>
                <a:ext uri="{FF2B5EF4-FFF2-40B4-BE49-F238E27FC236}">
                  <a16:creationId xmlns:a16="http://schemas.microsoft.com/office/drawing/2014/main" id="{B6726187-9D3E-E183-21FB-6DAFC02C2D34}"/>
                </a:ext>
              </a:extLst>
            </p:cNvPr>
            <p:cNvSpPr/>
            <p:nvPr/>
          </p:nvSpPr>
          <p:spPr>
            <a:xfrm>
              <a:off x="2834341" y="1673762"/>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Boston</a:t>
              </a:r>
            </a:p>
          </p:txBody>
        </p:sp>
        <p:sp>
          <p:nvSpPr>
            <p:cNvPr id="21" name="Freeform: Shape 152">
              <a:extLst>
                <a:ext uri="{FF2B5EF4-FFF2-40B4-BE49-F238E27FC236}">
                  <a16:creationId xmlns:a16="http://schemas.microsoft.com/office/drawing/2014/main" id="{C8F09F1A-2543-1A8D-6070-196549D5AAC8}"/>
                </a:ext>
              </a:extLst>
            </p:cNvPr>
            <p:cNvSpPr/>
            <p:nvPr/>
          </p:nvSpPr>
          <p:spPr>
            <a:xfrm>
              <a:off x="2227345" y="1196979"/>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39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39"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Toronto</a:t>
              </a:r>
            </a:p>
          </p:txBody>
        </p:sp>
        <p:sp>
          <p:nvSpPr>
            <p:cNvPr id="22" name="Freeform: Shape 153">
              <a:extLst>
                <a:ext uri="{FF2B5EF4-FFF2-40B4-BE49-F238E27FC236}">
                  <a16:creationId xmlns:a16="http://schemas.microsoft.com/office/drawing/2014/main" id="{E553E7AC-AA4D-466D-12FC-CAF5195CE293}"/>
                </a:ext>
              </a:extLst>
            </p:cNvPr>
            <p:cNvSpPr/>
            <p:nvPr/>
          </p:nvSpPr>
          <p:spPr>
            <a:xfrm>
              <a:off x="5609860" y="1247992"/>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London</a:t>
              </a:r>
            </a:p>
          </p:txBody>
        </p:sp>
        <p:sp>
          <p:nvSpPr>
            <p:cNvPr id="23" name="Freeform: Shape 154">
              <a:extLst>
                <a:ext uri="{FF2B5EF4-FFF2-40B4-BE49-F238E27FC236}">
                  <a16:creationId xmlns:a16="http://schemas.microsoft.com/office/drawing/2014/main" id="{9327DD67-7426-8881-DE43-CBDA32CFA493}"/>
                </a:ext>
              </a:extLst>
            </p:cNvPr>
            <p:cNvSpPr/>
            <p:nvPr/>
          </p:nvSpPr>
          <p:spPr>
            <a:xfrm>
              <a:off x="4870277" y="1890049"/>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864196 w 1028680"/>
                <a:gd name="connsiteY3" fmla="*/ 352425 h 401093"/>
                <a:gd name="connsiteX4" fmla="*/ 734622 w 1028680"/>
                <a:gd name="connsiteY4" fmla="*/ 401093 h 401093"/>
                <a:gd name="connsiteX5" fmla="*/ 605050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864196" y="352425"/>
                  </a:lnTo>
                  <a:lnTo>
                    <a:pt x="734622" y="401093"/>
                  </a:lnTo>
                  <a:lnTo>
                    <a:pt x="605050"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Amsterdam</a:t>
              </a:r>
            </a:p>
          </p:txBody>
        </p:sp>
        <p:sp>
          <p:nvSpPr>
            <p:cNvPr id="24" name="Freeform: Shape 155">
              <a:extLst>
                <a:ext uri="{FF2B5EF4-FFF2-40B4-BE49-F238E27FC236}">
                  <a16:creationId xmlns:a16="http://schemas.microsoft.com/office/drawing/2014/main" id="{7924B2BB-8084-765D-1BAD-2A3559C319E1}"/>
                </a:ext>
              </a:extLst>
            </p:cNvPr>
            <p:cNvSpPr/>
            <p:nvPr/>
          </p:nvSpPr>
          <p:spPr>
            <a:xfrm>
              <a:off x="6140412" y="2067977"/>
              <a:ext cx="1173170" cy="457431"/>
            </a:xfrm>
            <a:custGeom>
              <a:avLst/>
              <a:gdLst>
                <a:gd name="connsiteX0" fmla="*/ 0 w 1028680"/>
                <a:gd name="connsiteY0" fmla="*/ 0 h 401093"/>
                <a:gd name="connsiteX1" fmla="*/ 1028680 w 1028680"/>
                <a:gd name="connsiteY1" fmla="*/ 0 h 401093"/>
                <a:gd name="connsiteX2" fmla="*/ 1028680 w 1028680"/>
                <a:gd name="connsiteY2" fmla="*/ 352425 h 401093"/>
                <a:gd name="connsiteX3" fmla="*/ 414140 w 1028680"/>
                <a:gd name="connsiteY3" fmla="*/ 352425 h 401093"/>
                <a:gd name="connsiteX4" fmla="*/ 284566 w 1028680"/>
                <a:gd name="connsiteY4" fmla="*/ 401093 h 401093"/>
                <a:gd name="connsiteX5" fmla="*/ 154994 w 1028680"/>
                <a:gd name="connsiteY5" fmla="*/ 352425 h 401093"/>
                <a:gd name="connsiteX6" fmla="*/ 0 w 1028680"/>
                <a:gd name="connsiteY6" fmla="*/ 352425 h 4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80" h="401093">
                  <a:moveTo>
                    <a:pt x="0" y="0"/>
                  </a:moveTo>
                  <a:lnTo>
                    <a:pt x="1028680" y="0"/>
                  </a:lnTo>
                  <a:lnTo>
                    <a:pt x="1028680" y="352425"/>
                  </a:lnTo>
                  <a:lnTo>
                    <a:pt x="414140" y="352425"/>
                  </a:lnTo>
                  <a:lnTo>
                    <a:pt x="284566" y="401093"/>
                  </a:lnTo>
                  <a:lnTo>
                    <a:pt x="154994" y="352425"/>
                  </a:lnTo>
                  <a:lnTo>
                    <a:pt x="0" y="35242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45720" rtlCol="0" anchor="ctr" anchorCtr="0"/>
            <a:lstStyle/>
            <a:p>
              <a:pPr algn="ctr"/>
              <a:r>
                <a:rPr lang="en-US" sz="1400" b="1" i="0">
                  <a:latin typeface="Arial"/>
                  <a:cs typeface="Arial"/>
                </a:rPr>
                <a:t>Munich</a:t>
              </a:r>
            </a:p>
          </p:txBody>
        </p:sp>
        <p:sp>
          <p:nvSpPr>
            <p:cNvPr id="25" name="Freeform: Shape 156">
              <a:extLst>
                <a:ext uri="{FF2B5EF4-FFF2-40B4-BE49-F238E27FC236}">
                  <a16:creationId xmlns:a16="http://schemas.microsoft.com/office/drawing/2014/main" id="{22CC0A87-9BED-7674-38D9-EE22FC5B0E70}"/>
                </a:ext>
              </a:extLst>
            </p:cNvPr>
            <p:cNvSpPr/>
            <p:nvPr/>
          </p:nvSpPr>
          <p:spPr>
            <a:xfrm>
              <a:off x="8900312" y="3464082"/>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Hong Kong</a:t>
              </a:r>
            </a:p>
          </p:txBody>
        </p:sp>
        <p:sp>
          <p:nvSpPr>
            <p:cNvPr id="26" name="Freeform: Shape 157">
              <a:extLst>
                <a:ext uri="{FF2B5EF4-FFF2-40B4-BE49-F238E27FC236}">
                  <a16:creationId xmlns:a16="http://schemas.microsoft.com/office/drawing/2014/main" id="{A51EB4B7-9A27-4310-BF41-989C501877E7}"/>
                </a:ext>
              </a:extLst>
            </p:cNvPr>
            <p:cNvSpPr/>
            <p:nvPr/>
          </p:nvSpPr>
          <p:spPr>
            <a:xfrm>
              <a:off x="10078835" y="2919963"/>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Tokyo</a:t>
              </a:r>
            </a:p>
          </p:txBody>
        </p:sp>
        <p:sp>
          <p:nvSpPr>
            <p:cNvPr id="27" name="Freeform: Shape 158">
              <a:extLst>
                <a:ext uri="{FF2B5EF4-FFF2-40B4-BE49-F238E27FC236}">
                  <a16:creationId xmlns:a16="http://schemas.microsoft.com/office/drawing/2014/main" id="{8407C616-140C-DFC6-ACEB-CF0718B42FE0}"/>
                </a:ext>
              </a:extLst>
            </p:cNvPr>
            <p:cNvSpPr/>
            <p:nvPr/>
          </p:nvSpPr>
          <p:spPr>
            <a:xfrm>
              <a:off x="9775986" y="4047365"/>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eoul</a:t>
              </a:r>
            </a:p>
          </p:txBody>
        </p:sp>
        <p:sp>
          <p:nvSpPr>
            <p:cNvPr id="28" name="Freeform: Shape 159">
              <a:extLst>
                <a:ext uri="{FF2B5EF4-FFF2-40B4-BE49-F238E27FC236}">
                  <a16:creationId xmlns:a16="http://schemas.microsoft.com/office/drawing/2014/main" id="{87F88C26-CC8F-10E0-50E4-24A7A087FAC1}"/>
                </a:ext>
              </a:extLst>
            </p:cNvPr>
            <p:cNvSpPr/>
            <p:nvPr/>
          </p:nvSpPr>
          <p:spPr>
            <a:xfrm>
              <a:off x="8491159" y="4249198"/>
              <a:ext cx="1088861" cy="443861"/>
            </a:xfrm>
            <a:custGeom>
              <a:avLst/>
              <a:gdLst>
                <a:gd name="connsiteX0" fmla="*/ 698744 w 954754"/>
                <a:gd name="connsiteY0" fmla="*/ 0 h 389194"/>
                <a:gd name="connsiteX1" fmla="*/ 796637 w 954754"/>
                <a:gd name="connsiteY1" fmla="*/ 36769 h 389194"/>
                <a:gd name="connsiteX2" fmla="*/ 954754 w 954754"/>
                <a:gd name="connsiteY2" fmla="*/ 36769 h 389194"/>
                <a:gd name="connsiteX3" fmla="*/ 954754 w 954754"/>
                <a:gd name="connsiteY3" fmla="*/ 389194 h 389194"/>
                <a:gd name="connsiteX4" fmla="*/ 0 w 954754"/>
                <a:gd name="connsiteY4" fmla="*/ 389194 h 389194"/>
                <a:gd name="connsiteX5" fmla="*/ 0 w 954754"/>
                <a:gd name="connsiteY5" fmla="*/ 36769 h 389194"/>
                <a:gd name="connsiteX6" fmla="*/ 600851 w 9547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754" h="389194">
                  <a:moveTo>
                    <a:pt x="698744" y="0"/>
                  </a:moveTo>
                  <a:lnTo>
                    <a:pt x="796637" y="36769"/>
                  </a:lnTo>
                  <a:lnTo>
                    <a:pt x="954754" y="36769"/>
                  </a:lnTo>
                  <a:lnTo>
                    <a:pt x="954754" y="389194"/>
                  </a:lnTo>
                  <a:lnTo>
                    <a:pt x="0" y="389194"/>
                  </a:lnTo>
                  <a:lnTo>
                    <a:pt x="0" y="36769"/>
                  </a:lnTo>
                  <a:lnTo>
                    <a:pt x="600851"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ingapore</a:t>
              </a:r>
            </a:p>
          </p:txBody>
        </p:sp>
        <p:sp>
          <p:nvSpPr>
            <p:cNvPr id="29" name="Freeform: Shape 160">
              <a:extLst>
                <a:ext uri="{FF2B5EF4-FFF2-40B4-BE49-F238E27FC236}">
                  <a16:creationId xmlns:a16="http://schemas.microsoft.com/office/drawing/2014/main" id="{488C728E-3FBE-BDFF-D129-B9E4E756F26F}"/>
                </a:ext>
              </a:extLst>
            </p:cNvPr>
            <p:cNvSpPr/>
            <p:nvPr/>
          </p:nvSpPr>
          <p:spPr>
            <a:xfrm>
              <a:off x="10627492" y="5755051"/>
              <a:ext cx="1175194" cy="443861"/>
            </a:xfrm>
            <a:custGeom>
              <a:avLst/>
              <a:gdLst>
                <a:gd name="connsiteX0" fmla="*/ 290539 w 1030454"/>
                <a:gd name="connsiteY0" fmla="*/ 0 h 389194"/>
                <a:gd name="connsiteX1" fmla="*/ 388432 w 1030454"/>
                <a:gd name="connsiteY1" fmla="*/ 36769 h 389194"/>
                <a:gd name="connsiteX2" fmla="*/ 1030454 w 1030454"/>
                <a:gd name="connsiteY2" fmla="*/ 36769 h 389194"/>
                <a:gd name="connsiteX3" fmla="*/ 1030454 w 1030454"/>
                <a:gd name="connsiteY3" fmla="*/ 389194 h 389194"/>
                <a:gd name="connsiteX4" fmla="*/ 0 w 1030454"/>
                <a:gd name="connsiteY4" fmla="*/ 389194 h 389194"/>
                <a:gd name="connsiteX5" fmla="*/ 0 w 1030454"/>
                <a:gd name="connsiteY5" fmla="*/ 36769 h 389194"/>
                <a:gd name="connsiteX6" fmla="*/ 192646 w 1030454"/>
                <a:gd name="connsiteY6" fmla="*/ 36769 h 3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454" h="389194">
                  <a:moveTo>
                    <a:pt x="290539" y="0"/>
                  </a:moveTo>
                  <a:lnTo>
                    <a:pt x="388432" y="36769"/>
                  </a:lnTo>
                  <a:lnTo>
                    <a:pt x="1030454" y="36769"/>
                  </a:lnTo>
                  <a:lnTo>
                    <a:pt x="1030454" y="389194"/>
                  </a:lnTo>
                  <a:lnTo>
                    <a:pt x="0" y="389194"/>
                  </a:lnTo>
                  <a:lnTo>
                    <a:pt x="0" y="36769"/>
                  </a:lnTo>
                  <a:lnTo>
                    <a:pt x="192646" y="36769"/>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45720" rIns="0" bIns="0" rtlCol="0" anchor="ctr" anchorCtr="0"/>
            <a:lstStyle/>
            <a:p>
              <a:pPr algn="ctr"/>
              <a:r>
                <a:rPr lang="en-US" sz="1400" b="1" i="0">
                  <a:latin typeface="Arial"/>
                  <a:cs typeface="Arial"/>
                </a:rPr>
                <a:t>Sydney</a:t>
              </a:r>
            </a:p>
          </p:txBody>
        </p:sp>
      </p:grpSp>
      <p:pic>
        <p:nvPicPr>
          <p:cNvPr id="3" name="Picture 2" descr="A picture containing text, clipart&#10;&#10;Description automatically generated">
            <a:extLst>
              <a:ext uri="{FF2B5EF4-FFF2-40B4-BE49-F238E27FC236}">
                <a16:creationId xmlns:a16="http://schemas.microsoft.com/office/drawing/2014/main" id="{A98CB114-CE9D-A3B9-5B11-84C37CF31DFD}"/>
              </a:ext>
            </a:extLst>
          </p:cNvPr>
          <p:cNvPicPr>
            <a:picLocks noChangeAspect="1"/>
          </p:cNvPicPr>
          <p:nvPr/>
        </p:nvPicPr>
        <p:blipFill>
          <a:blip r:embed="rId5"/>
          <a:stretch>
            <a:fillRect/>
          </a:stretch>
        </p:blipFill>
        <p:spPr>
          <a:xfrm>
            <a:off x="10650870" y="605391"/>
            <a:ext cx="683586" cy="683143"/>
          </a:xfrm>
          <a:prstGeom prst="rect">
            <a:avLst/>
          </a:prstGeom>
        </p:spPr>
      </p:pic>
    </p:spTree>
    <p:extLst>
      <p:ext uri="{BB962C8B-B14F-4D97-AF65-F5344CB8AC3E}">
        <p14:creationId xmlns:p14="http://schemas.microsoft.com/office/powerpoint/2010/main" val="1006531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DB28DB6-65F9-92CE-B272-0043170B9E19}"/>
              </a:ext>
            </a:extLst>
          </p:cNvPr>
          <p:cNvSpPr>
            <a:spLocks noGrp="1"/>
          </p:cNvSpPr>
          <p:nvPr>
            <p:ph type="title"/>
          </p:nvPr>
        </p:nvSpPr>
        <p:spPr>
          <a:xfrm>
            <a:off x="381001" y="357721"/>
            <a:ext cx="8009494" cy="690029"/>
          </a:xfrm>
        </p:spPr>
        <p:txBody>
          <a:bodyPr/>
          <a:lstStyle/>
          <a:p>
            <a:r>
              <a:rPr lang="en-US" sz="2800" b="1">
                <a:solidFill>
                  <a:schemeClr val="accent1"/>
                </a:solidFill>
              </a:rPr>
              <a:t>Users: </a:t>
            </a:r>
            <a:br>
              <a:rPr lang="en-US" sz="2800" b="1">
                <a:solidFill>
                  <a:schemeClr val="accent1"/>
                </a:solidFill>
              </a:rPr>
            </a:br>
            <a:r>
              <a:rPr lang="en-US" sz="2800" b="1"/>
              <a:t>The UiPath Platform is </a:t>
            </a:r>
            <a:r>
              <a:rPr lang="en-US" sz="2800" b="1">
                <a:solidFill>
                  <a:schemeClr val="accent1"/>
                </a:solidFill>
              </a:rPr>
              <a:t>top-rated</a:t>
            </a:r>
          </a:p>
        </p:txBody>
      </p:sp>
      <p:sp>
        <p:nvSpPr>
          <p:cNvPr id="5" name="Rectangle 4">
            <a:extLst>
              <a:ext uri="{FF2B5EF4-FFF2-40B4-BE49-F238E27FC236}">
                <a16:creationId xmlns:a16="http://schemas.microsoft.com/office/drawing/2014/main" id="{A49FDC5B-5FAD-1838-533E-765E2053B9AF}"/>
              </a:ext>
            </a:extLst>
          </p:cNvPr>
          <p:cNvSpPr/>
          <p:nvPr/>
        </p:nvSpPr>
        <p:spPr>
          <a:xfrm>
            <a:off x="160017"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G2</a:t>
            </a:r>
          </a:p>
        </p:txBody>
      </p:sp>
      <p:sp>
        <p:nvSpPr>
          <p:cNvPr id="6" name="Rectangle 5">
            <a:extLst>
              <a:ext uri="{FF2B5EF4-FFF2-40B4-BE49-F238E27FC236}">
                <a16:creationId xmlns:a16="http://schemas.microsoft.com/office/drawing/2014/main" id="{9801BAAC-7F16-0314-3B6A-9FD43430143D}"/>
              </a:ext>
            </a:extLst>
          </p:cNvPr>
          <p:cNvSpPr/>
          <p:nvPr/>
        </p:nvSpPr>
        <p:spPr>
          <a:xfrm>
            <a:off x="160017" y="4502205"/>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a:t>
            </a:r>
            <a:r>
              <a:rPr lang="en-US" sz="1200" b="1">
                <a:solidFill>
                  <a:schemeClr val="tx1"/>
                </a:solidFill>
                <a:latin typeface="Arial"/>
                <a:cs typeface="Arial"/>
              </a:rPr>
              <a:t> </a:t>
            </a:r>
            <a:r>
              <a:rPr lang="en-US" sz="1200">
                <a:solidFill>
                  <a:schemeClr val="tx1"/>
                </a:solidFill>
                <a:latin typeface="Arial"/>
                <a:cs typeface="Arial"/>
              </a:rPr>
              <a:t>RPA:</a:t>
            </a:r>
          </a:p>
        </p:txBody>
      </p:sp>
      <p:sp>
        <p:nvSpPr>
          <p:cNvPr id="7" name="Rectangle 6">
            <a:extLst>
              <a:ext uri="{FF2B5EF4-FFF2-40B4-BE49-F238E27FC236}">
                <a16:creationId xmlns:a16="http://schemas.microsoft.com/office/drawing/2014/main" id="{AA69D8DA-FF63-7883-4D7F-64FEEE682840}"/>
              </a:ext>
            </a:extLst>
          </p:cNvPr>
          <p:cNvSpPr/>
          <p:nvPr/>
        </p:nvSpPr>
        <p:spPr>
          <a:xfrm>
            <a:off x="160017" y="4194725"/>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latin typeface="Arial"/>
                <a:cs typeface="Arial"/>
              </a:rPr>
              <a:t>Aggregate rating 2022</a:t>
            </a:r>
          </a:p>
        </p:txBody>
      </p:sp>
      <p:cxnSp>
        <p:nvCxnSpPr>
          <p:cNvPr id="8" name="Straight Connector 7">
            <a:extLst>
              <a:ext uri="{FF2B5EF4-FFF2-40B4-BE49-F238E27FC236}">
                <a16:creationId xmlns:a16="http://schemas.microsoft.com/office/drawing/2014/main" id="{BCEC4626-62F4-134A-4A8D-19DFD742EB6A}"/>
              </a:ext>
            </a:extLst>
          </p:cNvPr>
          <p:cNvCxnSpPr>
            <a:cxnSpLocks/>
          </p:cNvCxnSpPr>
          <p:nvPr/>
        </p:nvCxnSpPr>
        <p:spPr>
          <a:xfrm>
            <a:off x="159866"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F5FA37BA-B3BF-0638-DD99-09E93DE6BE65}"/>
              </a:ext>
            </a:extLst>
          </p:cNvPr>
          <p:cNvPicPr/>
          <p:nvPr/>
        </p:nvPicPr>
        <p:blipFill rotWithShape="1">
          <a:blip r:embed="rId2"/>
          <a:srcRect l="74272" t="34981" r="8048" b="56122"/>
          <a:stretch/>
        </p:blipFill>
        <p:spPr>
          <a:xfrm>
            <a:off x="9731176" y="1885565"/>
            <a:ext cx="1987198" cy="562545"/>
          </a:xfrm>
          <a:prstGeom prst="rect">
            <a:avLst/>
          </a:prstGeom>
        </p:spPr>
      </p:pic>
      <p:sp>
        <p:nvSpPr>
          <p:cNvPr id="10" name="Rectangle 9">
            <a:extLst>
              <a:ext uri="{FF2B5EF4-FFF2-40B4-BE49-F238E27FC236}">
                <a16:creationId xmlns:a16="http://schemas.microsoft.com/office/drawing/2014/main" id="{36113579-218F-FD27-ACD7-028217369CC5}"/>
              </a:ext>
            </a:extLst>
          </p:cNvPr>
          <p:cNvSpPr/>
          <p:nvPr/>
        </p:nvSpPr>
        <p:spPr>
          <a:xfrm>
            <a:off x="9731327"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err="1">
                <a:solidFill>
                  <a:schemeClr val="tx1"/>
                </a:solidFill>
                <a:latin typeface="Arial"/>
                <a:cs typeface="Arial"/>
              </a:rPr>
              <a:t>SoftwareReviews</a:t>
            </a:r>
            <a:endParaRPr lang="en-US" sz="1600" b="1">
              <a:solidFill>
                <a:schemeClr val="tx1"/>
              </a:solidFill>
              <a:latin typeface="Arial"/>
              <a:cs typeface="Arial"/>
            </a:endParaRPr>
          </a:p>
        </p:txBody>
      </p:sp>
      <p:cxnSp>
        <p:nvCxnSpPr>
          <p:cNvPr id="11" name="Straight Connector 10">
            <a:extLst>
              <a:ext uri="{FF2B5EF4-FFF2-40B4-BE49-F238E27FC236}">
                <a16:creationId xmlns:a16="http://schemas.microsoft.com/office/drawing/2014/main" id="{4C4C4B0B-2B91-38EF-82CB-D3FE948891EE}"/>
              </a:ext>
            </a:extLst>
          </p:cNvPr>
          <p:cNvCxnSpPr>
            <a:cxnSpLocks/>
          </p:cNvCxnSpPr>
          <p:nvPr/>
        </p:nvCxnSpPr>
        <p:spPr>
          <a:xfrm>
            <a:off x="9490607"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A0D9EC6B-8758-FE4E-F028-C2CC1F8F5B86}"/>
              </a:ext>
            </a:extLst>
          </p:cNvPr>
          <p:cNvSpPr/>
          <p:nvPr/>
        </p:nvSpPr>
        <p:spPr>
          <a:xfrm>
            <a:off x="9731327" y="4663463"/>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050" b="1">
                <a:solidFill>
                  <a:schemeClr val="tx1"/>
                </a:solidFill>
                <a:latin typeface="Arial"/>
                <a:cs typeface="Arial"/>
              </a:rPr>
              <a:t>Winner 2021 Emotional Footprint Award</a:t>
            </a:r>
          </a:p>
        </p:txBody>
      </p:sp>
      <p:sp>
        <p:nvSpPr>
          <p:cNvPr id="13" name="Rectangle 12">
            <a:extLst>
              <a:ext uri="{FF2B5EF4-FFF2-40B4-BE49-F238E27FC236}">
                <a16:creationId xmlns:a16="http://schemas.microsoft.com/office/drawing/2014/main" id="{8892D6BA-B4BE-E8CC-E63E-1A607FD4EFB1}"/>
              </a:ext>
            </a:extLst>
          </p:cNvPr>
          <p:cNvSpPr/>
          <p:nvPr/>
        </p:nvSpPr>
        <p:spPr>
          <a:xfrm>
            <a:off x="9731327" y="5319162"/>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050" b="1">
                <a:solidFill>
                  <a:schemeClr val="tx1"/>
                </a:solidFill>
                <a:latin typeface="Arial"/>
                <a:cs typeface="Arial"/>
              </a:rPr>
              <a:t>#</a:t>
            </a:r>
            <a:r>
              <a:rPr lang="en-US" sz="1100" b="1">
                <a:solidFill>
                  <a:schemeClr val="tx1"/>
                </a:solidFill>
                <a:latin typeface="Arial"/>
                <a:cs typeface="Arial"/>
              </a:rPr>
              <a:t>1 Value for Price </a:t>
            </a:r>
            <a:br>
              <a:rPr lang="en-US" sz="1100" b="1">
                <a:solidFill>
                  <a:schemeClr val="tx1"/>
                </a:solidFill>
                <a:latin typeface="Arial"/>
                <a:cs typeface="Arial"/>
              </a:rPr>
            </a:br>
            <a:r>
              <a:rPr lang="en-US" sz="1100" b="1">
                <a:solidFill>
                  <a:schemeClr val="tx1"/>
                </a:solidFill>
                <a:latin typeface="Arial"/>
                <a:cs typeface="Arial"/>
              </a:rPr>
              <a:t>(in RPA category)</a:t>
            </a:r>
            <a:endParaRPr lang="en-US" sz="1050" b="1">
              <a:solidFill>
                <a:schemeClr val="tx1"/>
              </a:solidFill>
              <a:latin typeface="Arial"/>
              <a:cs typeface="Arial"/>
            </a:endParaRPr>
          </a:p>
        </p:txBody>
      </p:sp>
      <p:cxnSp>
        <p:nvCxnSpPr>
          <p:cNvPr id="14" name="Straight Connector 13">
            <a:extLst>
              <a:ext uri="{FF2B5EF4-FFF2-40B4-BE49-F238E27FC236}">
                <a16:creationId xmlns:a16="http://schemas.microsoft.com/office/drawing/2014/main" id="{C3B831F2-F09D-E961-AC31-ECD6C2C59CED}"/>
              </a:ext>
            </a:extLst>
          </p:cNvPr>
          <p:cNvCxnSpPr>
            <a:cxnSpLocks/>
          </p:cNvCxnSpPr>
          <p:nvPr/>
        </p:nvCxnSpPr>
        <p:spPr>
          <a:xfrm>
            <a:off x="9731176"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22CA3464-E2CE-85BC-6F21-38C2C26973A3}"/>
              </a:ext>
            </a:extLst>
          </p:cNvPr>
          <p:cNvCxnSpPr>
            <a:cxnSpLocks/>
          </p:cNvCxnSpPr>
          <p:nvPr/>
        </p:nvCxnSpPr>
        <p:spPr>
          <a:xfrm>
            <a:off x="10577083" y="5200120"/>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AE155F9E-1DDC-97D4-0B14-89BF977B6805}"/>
              </a:ext>
            </a:extLst>
          </p:cNvPr>
          <p:cNvPicPr/>
          <p:nvPr/>
        </p:nvPicPr>
        <p:blipFill rotWithShape="1">
          <a:blip r:embed="rId2"/>
          <a:srcRect l="25585" t="28073" r="63758" b="49213"/>
          <a:stretch/>
        </p:blipFill>
        <p:spPr>
          <a:xfrm>
            <a:off x="3054173" y="1512507"/>
            <a:ext cx="1091498" cy="1308662"/>
          </a:xfrm>
          <a:prstGeom prst="rect">
            <a:avLst/>
          </a:prstGeom>
        </p:spPr>
      </p:pic>
      <p:sp>
        <p:nvSpPr>
          <p:cNvPr id="17" name="Rectangle 16">
            <a:extLst>
              <a:ext uri="{FF2B5EF4-FFF2-40B4-BE49-F238E27FC236}">
                <a16:creationId xmlns:a16="http://schemas.microsoft.com/office/drawing/2014/main" id="{BEE7D9C3-97B2-ABD5-FB9D-CF461DCAAB28}"/>
              </a:ext>
            </a:extLst>
          </p:cNvPr>
          <p:cNvSpPr/>
          <p:nvPr/>
        </p:nvSpPr>
        <p:spPr>
          <a:xfrm>
            <a:off x="2606474"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Gartner Peer Insights</a:t>
            </a:r>
          </a:p>
        </p:txBody>
      </p:sp>
      <p:cxnSp>
        <p:nvCxnSpPr>
          <p:cNvPr id="18" name="Straight Connector 17">
            <a:extLst>
              <a:ext uri="{FF2B5EF4-FFF2-40B4-BE49-F238E27FC236}">
                <a16:creationId xmlns:a16="http://schemas.microsoft.com/office/drawing/2014/main" id="{C1CE9091-96B0-0C26-3287-D26789BF0773}"/>
              </a:ext>
            </a:extLst>
          </p:cNvPr>
          <p:cNvCxnSpPr>
            <a:cxnSpLocks/>
          </p:cNvCxnSpPr>
          <p:nvPr/>
        </p:nvCxnSpPr>
        <p:spPr>
          <a:xfrm>
            <a:off x="2418995"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4034B682-A25F-FC35-1305-14D2A7F741A9}"/>
              </a:ext>
            </a:extLst>
          </p:cNvPr>
          <p:cNvSpPr/>
          <p:nvPr/>
        </p:nvSpPr>
        <p:spPr>
          <a:xfrm>
            <a:off x="2936700"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Aggregate rating since inception</a:t>
            </a:r>
          </a:p>
        </p:txBody>
      </p:sp>
      <p:pic>
        <p:nvPicPr>
          <p:cNvPr id="20" name="Picture 19">
            <a:extLst>
              <a:ext uri="{FF2B5EF4-FFF2-40B4-BE49-F238E27FC236}">
                <a16:creationId xmlns:a16="http://schemas.microsoft.com/office/drawing/2014/main" id="{3A1E6503-621C-BD6E-1F23-282760F05103}"/>
              </a:ext>
            </a:extLst>
          </p:cNvPr>
          <p:cNvPicPr/>
          <p:nvPr/>
        </p:nvPicPr>
        <p:blipFill rotWithShape="1">
          <a:blip r:embed="rId2"/>
          <a:srcRect l="26867" t="73027" r="65065" b="15728"/>
          <a:stretch/>
        </p:blipFill>
        <p:spPr>
          <a:xfrm>
            <a:off x="3289794" y="4942646"/>
            <a:ext cx="620256" cy="486317"/>
          </a:xfrm>
          <a:prstGeom prst="rect">
            <a:avLst/>
          </a:prstGeom>
        </p:spPr>
      </p:pic>
      <p:sp>
        <p:nvSpPr>
          <p:cNvPr id="21" name="Rectangle 20">
            <a:extLst>
              <a:ext uri="{FF2B5EF4-FFF2-40B4-BE49-F238E27FC236}">
                <a16:creationId xmlns:a16="http://schemas.microsoft.com/office/drawing/2014/main" id="{7D92D2AE-55D9-9016-7A36-91D222445A24}"/>
              </a:ext>
            </a:extLst>
          </p:cNvPr>
          <p:cNvSpPr/>
          <p:nvPr/>
        </p:nvSpPr>
        <p:spPr>
          <a:xfrm>
            <a:off x="2606474" y="5487328"/>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latin typeface="Arial"/>
                <a:cs typeface="Arial"/>
              </a:rPr>
              <a:t>Customers’ Choice </a:t>
            </a:r>
            <a:br>
              <a:rPr lang="en-US" sz="1400" b="1">
                <a:solidFill>
                  <a:schemeClr val="tx1"/>
                </a:solidFill>
                <a:latin typeface="Arial"/>
                <a:cs typeface="Arial"/>
              </a:rPr>
            </a:br>
            <a:r>
              <a:rPr lang="en-US" sz="1400" b="1">
                <a:solidFill>
                  <a:schemeClr val="tx1"/>
                </a:solidFill>
                <a:latin typeface="Arial"/>
                <a:cs typeface="Arial"/>
              </a:rPr>
              <a:t>Winner, 2021</a:t>
            </a:r>
          </a:p>
        </p:txBody>
      </p:sp>
      <p:cxnSp>
        <p:nvCxnSpPr>
          <p:cNvPr id="22" name="Straight Connector 21">
            <a:extLst>
              <a:ext uri="{FF2B5EF4-FFF2-40B4-BE49-F238E27FC236}">
                <a16:creationId xmlns:a16="http://schemas.microsoft.com/office/drawing/2014/main" id="{41358CEB-BD1D-FF03-7A3E-5EAFB4DE1FB8}"/>
              </a:ext>
            </a:extLst>
          </p:cNvPr>
          <p:cNvCxnSpPr>
            <a:cxnSpLocks/>
          </p:cNvCxnSpPr>
          <p:nvPr/>
        </p:nvCxnSpPr>
        <p:spPr>
          <a:xfrm>
            <a:off x="2594547"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77E1D9B-E3BE-304F-7B43-C8C9D83F5C22}"/>
              </a:ext>
            </a:extLst>
          </p:cNvPr>
          <p:cNvCxnSpPr>
            <a:cxnSpLocks/>
          </p:cNvCxnSpPr>
          <p:nvPr/>
        </p:nvCxnSpPr>
        <p:spPr>
          <a:xfrm>
            <a:off x="3452230" y="4742922"/>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524CDA95-776B-BA8A-1025-5B496730F417}"/>
              </a:ext>
            </a:extLst>
          </p:cNvPr>
          <p:cNvSpPr/>
          <p:nvPr/>
        </p:nvSpPr>
        <p:spPr>
          <a:xfrm>
            <a:off x="2606474"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4.5 out of 5</a:t>
            </a:r>
          </a:p>
        </p:txBody>
      </p:sp>
      <p:sp>
        <p:nvSpPr>
          <p:cNvPr id="25" name="Rectangle 24">
            <a:extLst>
              <a:ext uri="{FF2B5EF4-FFF2-40B4-BE49-F238E27FC236}">
                <a16:creationId xmlns:a16="http://schemas.microsoft.com/office/drawing/2014/main" id="{09BFFB44-96A5-D633-6620-BF219400EC4E}"/>
              </a:ext>
            </a:extLst>
          </p:cNvPr>
          <p:cNvSpPr/>
          <p:nvPr/>
        </p:nvSpPr>
        <p:spPr>
          <a:xfrm>
            <a:off x="4976771"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Peer Spot</a:t>
            </a:r>
          </a:p>
        </p:txBody>
      </p:sp>
      <p:cxnSp>
        <p:nvCxnSpPr>
          <p:cNvPr id="26" name="Straight Connector 25">
            <a:extLst>
              <a:ext uri="{FF2B5EF4-FFF2-40B4-BE49-F238E27FC236}">
                <a16:creationId xmlns:a16="http://schemas.microsoft.com/office/drawing/2014/main" id="{F3678301-0001-8DF9-4F63-E16244B1A2E9}"/>
              </a:ext>
            </a:extLst>
          </p:cNvPr>
          <p:cNvCxnSpPr>
            <a:cxnSpLocks/>
          </p:cNvCxnSpPr>
          <p:nvPr/>
        </p:nvCxnSpPr>
        <p:spPr>
          <a:xfrm>
            <a:off x="4776199"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B6FE613-ADAD-E21B-F49E-26A7D6E11FAA}"/>
              </a:ext>
            </a:extLst>
          </p:cNvPr>
          <p:cNvCxnSpPr>
            <a:cxnSpLocks/>
          </p:cNvCxnSpPr>
          <p:nvPr/>
        </p:nvCxnSpPr>
        <p:spPr>
          <a:xfrm>
            <a:off x="4976620"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8BE9D146-BB0A-E480-EED5-CA0EA72C9F0D}"/>
              </a:ext>
            </a:extLst>
          </p:cNvPr>
          <p:cNvCxnSpPr>
            <a:cxnSpLocks/>
          </p:cNvCxnSpPr>
          <p:nvPr/>
        </p:nvCxnSpPr>
        <p:spPr>
          <a:xfrm>
            <a:off x="1005773" y="4514323"/>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BF3838D1-C308-0547-8AF1-0A42CAD6839E}"/>
              </a:ext>
            </a:extLst>
          </p:cNvPr>
          <p:cNvSpPr/>
          <p:nvPr/>
        </p:nvSpPr>
        <p:spPr>
          <a:xfrm>
            <a:off x="4976771"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Peer Spot Award</a:t>
            </a:r>
          </a:p>
        </p:txBody>
      </p:sp>
      <p:sp>
        <p:nvSpPr>
          <p:cNvPr id="30" name="Rectangle 29">
            <a:extLst>
              <a:ext uri="{FF2B5EF4-FFF2-40B4-BE49-F238E27FC236}">
                <a16:creationId xmlns:a16="http://schemas.microsoft.com/office/drawing/2014/main" id="{8B81FC0D-6CEC-32F0-9B4D-98A4802518E6}"/>
              </a:ext>
            </a:extLst>
          </p:cNvPr>
          <p:cNvSpPr/>
          <p:nvPr/>
        </p:nvSpPr>
        <p:spPr>
          <a:xfrm>
            <a:off x="5306997"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sp>
        <p:nvSpPr>
          <p:cNvPr id="31" name="Rectangle 30">
            <a:extLst>
              <a:ext uri="{FF2B5EF4-FFF2-40B4-BE49-F238E27FC236}">
                <a16:creationId xmlns:a16="http://schemas.microsoft.com/office/drawing/2014/main" id="{B7906BF6-E67D-BFC1-CE94-A0479AB71F5B}"/>
              </a:ext>
            </a:extLst>
          </p:cNvPr>
          <p:cNvSpPr/>
          <p:nvPr/>
        </p:nvSpPr>
        <p:spPr>
          <a:xfrm>
            <a:off x="7330751" y="3020893"/>
            <a:ext cx="1986896" cy="5334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600" b="1">
                <a:solidFill>
                  <a:schemeClr val="tx1"/>
                </a:solidFill>
                <a:latin typeface="Arial"/>
                <a:cs typeface="Arial"/>
              </a:rPr>
              <a:t>Trust Radius</a:t>
            </a:r>
          </a:p>
        </p:txBody>
      </p:sp>
      <p:cxnSp>
        <p:nvCxnSpPr>
          <p:cNvPr id="32" name="Straight Connector 31">
            <a:extLst>
              <a:ext uri="{FF2B5EF4-FFF2-40B4-BE49-F238E27FC236}">
                <a16:creationId xmlns:a16="http://schemas.microsoft.com/office/drawing/2014/main" id="{2D4D6065-EE32-D067-79BA-8512FD8849DD}"/>
              </a:ext>
            </a:extLst>
          </p:cNvPr>
          <p:cNvCxnSpPr>
            <a:cxnSpLocks/>
          </p:cNvCxnSpPr>
          <p:nvPr/>
        </p:nvCxnSpPr>
        <p:spPr>
          <a:xfrm>
            <a:off x="7133403" y="1512506"/>
            <a:ext cx="0" cy="4220587"/>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2F6205E8-2B15-13F6-0A3E-D1ACF8A90F64}"/>
              </a:ext>
            </a:extLst>
          </p:cNvPr>
          <p:cNvSpPr/>
          <p:nvPr/>
        </p:nvSpPr>
        <p:spPr>
          <a:xfrm>
            <a:off x="7133403" y="5626017"/>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endParaRPr lang="en-US" sz="1200">
              <a:solidFill>
                <a:schemeClr val="tx1"/>
              </a:solidFill>
              <a:latin typeface="Arial"/>
              <a:cs typeface="Arial"/>
            </a:endParaRPr>
          </a:p>
        </p:txBody>
      </p:sp>
      <p:cxnSp>
        <p:nvCxnSpPr>
          <p:cNvPr id="34" name="Straight Connector 33">
            <a:extLst>
              <a:ext uri="{FF2B5EF4-FFF2-40B4-BE49-F238E27FC236}">
                <a16:creationId xmlns:a16="http://schemas.microsoft.com/office/drawing/2014/main" id="{3705AF88-A8F2-C9A0-B435-A83CAF875B04}"/>
              </a:ext>
            </a:extLst>
          </p:cNvPr>
          <p:cNvCxnSpPr>
            <a:cxnSpLocks/>
          </p:cNvCxnSpPr>
          <p:nvPr/>
        </p:nvCxnSpPr>
        <p:spPr>
          <a:xfrm>
            <a:off x="7330600" y="3740893"/>
            <a:ext cx="1987199"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B377FA47-06BE-9910-7AE4-421AFF9A94EB}"/>
              </a:ext>
            </a:extLst>
          </p:cNvPr>
          <p:cNvCxnSpPr>
            <a:cxnSpLocks/>
          </p:cNvCxnSpPr>
          <p:nvPr/>
        </p:nvCxnSpPr>
        <p:spPr>
          <a:xfrm>
            <a:off x="10577083" y="4500876"/>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E75C38DF-D93C-1BDB-AF92-F3556216F28C}"/>
              </a:ext>
            </a:extLst>
          </p:cNvPr>
          <p:cNvSpPr/>
          <p:nvPr/>
        </p:nvSpPr>
        <p:spPr>
          <a:xfrm>
            <a:off x="6874814" y="3844366"/>
            <a:ext cx="2898771"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Top-Rated RPA Software</a:t>
            </a:r>
            <a:endParaRPr lang="en-US" sz="1400">
              <a:solidFill>
                <a:schemeClr val="tx1"/>
              </a:solidFill>
              <a:cs typeface="Arial"/>
            </a:endParaRPr>
          </a:p>
        </p:txBody>
      </p:sp>
      <p:sp>
        <p:nvSpPr>
          <p:cNvPr id="37" name="Rectangle 36">
            <a:extLst>
              <a:ext uri="{FF2B5EF4-FFF2-40B4-BE49-F238E27FC236}">
                <a16:creationId xmlns:a16="http://schemas.microsoft.com/office/drawing/2014/main" id="{C067BC44-9727-D31A-F02C-15F3DDADFBFC}"/>
              </a:ext>
            </a:extLst>
          </p:cNvPr>
          <p:cNvSpPr/>
          <p:nvPr/>
        </p:nvSpPr>
        <p:spPr>
          <a:xfrm>
            <a:off x="7660977"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sp>
        <p:nvSpPr>
          <p:cNvPr id="38" name="Rectangle 37">
            <a:extLst>
              <a:ext uri="{FF2B5EF4-FFF2-40B4-BE49-F238E27FC236}">
                <a16:creationId xmlns:a16="http://schemas.microsoft.com/office/drawing/2014/main" id="{9F64DDAB-EBC8-19BC-4F91-7BBB5577C916}"/>
              </a:ext>
            </a:extLst>
          </p:cNvPr>
          <p:cNvSpPr/>
          <p:nvPr/>
        </p:nvSpPr>
        <p:spPr>
          <a:xfrm>
            <a:off x="160017" y="5734648"/>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 Low-Code</a:t>
            </a:r>
          </a:p>
        </p:txBody>
      </p:sp>
      <p:sp>
        <p:nvSpPr>
          <p:cNvPr id="39" name="Rectangle 38">
            <a:extLst>
              <a:ext uri="{FF2B5EF4-FFF2-40B4-BE49-F238E27FC236}">
                <a16:creationId xmlns:a16="http://schemas.microsoft.com/office/drawing/2014/main" id="{29623892-8EE7-3633-C226-63819628B574}"/>
              </a:ext>
            </a:extLst>
          </p:cNvPr>
          <p:cNvSpPr/>
          <p:nvPr/>
        </p:nvSpPr>
        <p:spPr>
          <a:xfrm>
            <a:off x="160017" y="6133087"/>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200" b="1">
                <a:solidFill>
                  <a:schemeClr val="tx1"/>
                </a:solidFill>
                <a:latin typeface="Arial"/>
                <a:cs typeface="Arial"/>
              </a:rPr>
              <a:t>Leader </a:t>
            </a:r>
            <a:r>
              <a:rPr lang="en-US" sz="1200">
                <a:solidFill>
                  <a:schemeClr val="tx1"/>
                </a:solidFill>
                <a:latin typeface="Arial"/>
                <a:cs typeface="Arial"/>
              </a:rPr>
              <a:t>in Test Automation</a:t>
            </a:r>
          </a:p>
        </p:txBody>
      </p:sp>
      <p:sp>
        <p:nvSpPr>
          <p:cNvPr id="40" name="Rectangle 39">
            <a:extLst>
              <a:ext uri="{FF2B5EF4-FFF2-40B4-BE49-F238E27FC236}">
                <a16:creationId xmlns:a16="http://schemas.microsoft.com/office/drawing/2014/main" id="{0FA721CA-7611-461B-5079-55A255E2BB45}"/>
              </a:ext>
            </a:extLst>
          </p:cNvPr>
          <p:cNvSpPr/>
          <p:nvPr/>
        </p:nvSpPr>
        <p:spPr>
          <a:xfrm>
            <a:off x="160017" y="3844366"/>
            <a:ext cx="1986896"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4.6 out of 5</a:t>
            </a:r>
          </a:p>
        </p:txBody>
      </p:sp>
      <p:pic>
        <p:nvPicPr>
          <p:cNvPr id="41" name="Picture 40">
            <a:extLst>
              <a:ext uri="{FF2B5EF4-FFF2-40B4-BE49-F238E27FC236}">
                <a16:creationId xmlns:a16="http://schemas.microsoft.com/office/drawing/2014/main" id="{F15DBC5C-B3E7-A2B9-2071-05039B3556C0}"/>
              </a:ext>
            </a:extLst>
          </p:cNvPr>
          <p:cNvPicPr>
            <a:picLocks noChangeAspect="1"/>
          </p:cNvPicPr>
          <p:nvPr/>
        </p:nvPicPr>
        <p:blipFill>
          <a:blip r:embed="rId3"/>
          <a:stretch>
            <a:fillRect/>
          </a:stretch>
        </p:blipFill>
        <p:spPr>
          <a:xfrm>
            <a:off x="1659049" y="4912035"/>
            <a:ext cx="530792" cy="690030"/>
          </a:xfrm>
          <a:prstGeom prst="rect">
            <a:avLst/>
          </a:prstGeom>
        </p:spPr>
      </p:pic>
      <p:pic>
        <p:nvPicPr>
          <p:cNvPr id="42" name="Picture 41">
            <a:extLst>
              <a:ext uri="{FF2B5EF4-FFF2-40B4-BE49-F238E27FC236}">
                <a16:creationId xmlns:a16="http://schemas.microsoft.com/office/drawing/2014/main" id="{B1991DB0-4CE1-A494-5912-C80DFF9F705F}"/>
              </a:ext>
            </a:extLst>
          </p:cNvPr>
          <p:cNvPicPr>
            <a:picLocks noChangeAspect="1"/>
          </p:cNvPicPr>
          <p:nvPr/>
        </p:nvPicPr>
        <p:blipFill>
          <a:blip r:embed="rId4"/>
          <a:stretch>
            <a:fillRect/>
          </a:stretch>
        </p:blipFill>
        <p:spPr>
          <a:xfrm>
            <a:off x="889582" y="4912832"/>
            <a:ext cx="530792" cy="690030"/>
          </a:xfrm>
          <a:prstGeom prst="rect">
            <a:avLst/>
          </a:prstGeom>
        </p:spPr>
      </p:pic>
      <p:pic>
        <p:nvPicPr>
          <p:cNvPr id="43" name="Picture 42">
            <a:extLst>
              <a:ext uri="{FF2B5EF4-FFF2-40B4-BE49-F238E27FC236}">
                <a16:creationId xmlns:a16="http://schemas.microsoft.com/office/drawing/2014/main" id="{0ECE4801-6739-3EFA-E6FA-DA3E4AEE2A3B}"/>
              </a:ext>
            </a:extLst>
          </p:cNvPr>
          <p:cNvPicPr>
            <a:picLocks noChangeAspect="1"/>
          </p:cNvPicPr>
          <p:nvPr/>
        </p:nvPicPr>
        <p:blipFill>
          <a:blip r:embed="rId5"/>
          <a:stretch>
            <a:fillRect/>
          </a:stretch>
        </p:blipFill>
        <p:spPr>
          <a:xfrm>
            <a:off x="120115" y="4912035"/>
            <a:ext cx="530792" cy="690030"/>
          </a:xfrm>
          <a:prstGeom prst="rect">
            <a:avLst/>
          </a:prstGeom>
        </p:spPr>
      </p:pic>
      <p:pic>
        <p:nvPicPr>
          <p:cNvPr id="44" name="Picture 43">
            <a:extLst>
              <a:ext uri="{FF2B5EF4-FFF2-40B4-BE49-F238E27FC236}">
                <a16:creationId xmlns:a16="http://schemas.microsoft.com/office/drawing/2014/main" id="{0181B996-9503-17FB-59A5-E7C1A32FA0FC}"/>
              </a:ext>
            </a:extLst>
          </p:cNvPr>
          <p:cNvPicPr>
            <a:picLocks noChangeAspect="1"/>
          </p:cNvPicPr>
          <p:nvPr/>
        </p:nvPicPr>
        <p:blipFill>
          <a:blip r:embed="rId6"/>
          <a:stretch>
            <a:fillRect/>
          </a:stretch>
        </p:blipFill>
        <p:spPr>
          <a:xfrm>
            <a:off x="5025269" y="1857058"/>
            <a:ext cx="1889900" cy="565117"/>
          </a:xfrm>
          <a:prstGeom prst="rect">
            <a:avLst/>
          </a:prstGeom>
        </p:spPr>
      </p:pic>
      <p:pic>
        <p:nvPicPr>
          <p:cNvPr id="45" name="Picture 44">
            <a:extLst>
              <a:ext uri="{FF2B5EF4-FFF2-40B4-BE49-F238E27FC236}">
                <a16:creationId xmlns:a16="http://schemas.microsoft.com/office/drawing/2014/main" id="{B9A78551-5E6B-4F9C-C681-24BBF725D6DF}"/>
              </a:ext>
            </a:extLst>
          </p:cNvPr>
          <p:cNvPicPr>
            <a:picLocks noChangeAspect="1"/>
          </p:cNvPicPr>
          <p:nvPr/>
        </p:nvPicPr>
        <p:blipFill>
          <a:blip r:embed="rId7"/>
          <a:stretch>
            <a:fillRect/>
          </a:stretch>
        </p:blipFill>
        <p:spPr>
          <a:xfrm>
            <a:off x="7805973" y="1559332"/>
            <a:ext cx="1036452" cy="1202600"/>
          </a:xfrm>
          <a:prstGeom prst="rect">
            <a:avLst/>
          </a:prstGeom>
        </p:spPr>
      </p:pic>
      <p:pic>
        <p:nvPicPr>
          <p:cNvPr id="46" name="Imagine 7" descr="O imagine care conține text, carte de vizită, grafice vectoriale, semn&#10;&#10;Descriere generată automat">
            <a:extLst>
              <a:ext uri="{FF2B5EF4-FFF2-40B4-BE49-F238E27FC236}">
                <a16:creationId xmlns:a16="http://schemas.microsoft.com/office/drawing/2014/main" id="{A827F106-DE3A-6000-FDB2-8CD706A2831B}"/>
              </a:ext>
            </a:extLst>
          </p:cNvPr>
          <p:cNvPicPr>
            <a:picLocks noChangeAspect="1"/>
          </p:cNvPicPr>
          <p:nvPr/>
        </p:nvPicPr>
        <p:blipFill>
          <a:blip r:embed="rId8"/>
          <a:stretch>
            <a:fillRect/>
          </a:stretch>
        </p:blipFill>
        <p:spPr>
          <a:xfrm>
            <a:off x="613442" y="1511568"/>
            <a:ext cx="1080047" cy="1466765"/>
          </a:xfrm>
          <a:prstGeom prst="rect">
            <a:avLst/>
          </a:prstGeom>
        </p:spPr>
      </p:pic>
      <p:sp>
        <p:nvSpPr>
          <p:cNvPr id="47" name="Rectangle 46">
            <a:extLst>
              <a:ext uri="{FF2B5EF4-FFF2-40B4-BE49-F238E27FC236}">
                <a16:creationId xmlns:a16="http://schemas.microsoft.com/office/drawing/2014/main" id="{8337C2B9-6C77-ACE4-7967-673CE654A4E8}"/>
              </a:ext>
            </a:extLst>
          </p:cNvPr>
          <p:cNvSpPr/>
          <p:nvPr/>
        </p:nvSpPr>
        <p:spPr>
          <a:xfrm>
            <a:off x="9221602" y="3844366"/>
            <a:ext cx="2898771"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1200"/>
              </a:spcAft>
            </a:pPr>
            <a:r>
              <a:rPr lang="en-US" sz="1400" b="1">
                <a:solidFill>
                  <a:schemeClr val="tx1"/>
                </a:solidFill>
                <a:cs typeface="Arial"/>
              </a:rPr>
              <a:t>Top-Rated RPA Solution</a:t>
            </a:r>
            <a:endParaRPr lang="en-US" sz="1400">
              <a:solidFill>
                <a:schemeClr val="tx1"/>
              </a:solidFill>
              <a:cs typeface="Arial"/>
            </a:endParaRPr>
          </a:p>
        </p:txBody>
      </p:sp>
      <p:sp>
        <p:nvSpPr>
          <p:cNvPr id="48" name="Rectangle 47">
            <a:extLst>
              <a:ext uri="{FF2B5EF4-FFF2-40B4-BE49-F238E27FC236}">
                <a16:creationId xmlns:a16="http://schemas.microsoft.com/office/drawing/2014/main" id="{5A4EDE64-FC79-A705-C5B0-C36549EDA8A8}"/>
              </a:ext>
            </a:extLst>
          </p:cNvPr>
          <p:cNvSpPr/>
          <p:nvPr/>
        </p:nvSpPr>
        <p:spPr>
          <a:xfrm>
            <a:off x="10061553" y="4194725"/>
            <a:ext cx="1326444" cy="4007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spcAft>
                <a:spcPts val="1200"/>
              </a:spcAft>
            </a:pPr>
            <a:r>
              <a:rPr lang="en-US" sz="1200">
                <a:solidFill>
                  <a:schemeClr val="tx1"/>
                </a:solidFill>
                <a:cs typeface="Arial"/>
              </a:rPr>
              <a:t>2021</a:t>
            </a:r>
          </a:p>
        </p:txBody>
      </p:sp>
      <p:cxnSp>
        <p:nvCxnSpPr>
          <p:cNvPr id="49" name="Straight Connector 48">
            <a:extLst>
              <a:ext uri="{FF2B5EF4-FFF2-40B4-BE49-F238E27FC236}">
                <a16:creationId xmlns:a16="http://schemas.microsoft.com/office/drawing/2014/main" id="{AB519217-69D8-2C65-1730-0FF8DCB53867}"/>
              </a:ext>
            </a:extLst>
          </p:cNvPr>
          <p:cNvCxnSpPr>
            <a:cxnSpLocks/>
          </p:cNvCxnSpPr>
          <p:nvPr/>
        </p:nvCxnSpPr>
        <p:spPr>
          <a:xfrm>
            <a:off x="1005773" y="6161833"/>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CE5BB69-4CAF-4910-1AC5-51049E6BC1F9}"/>
              </a:ext>
            </a:extLst>
          </p:cNvPr>
          <p:cNvCxnSpPr>
            <a:cxnSpLocks/>
          </p:cNvCxnSpPr>
          <p:nvPr/>
        </p:nvCxnSpPr>
        <p:spPr>
          <a:xfrm>
            <a:off x="1005773" y="5706625"/>
            <a:ext cx="295385" cy="0"/>
          </a:xfrm>
          <a:prstGeom prst="line">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 descr="A picture containing text, clipart&#10;&#10;Description automatically generated">
            <a:extLst>
              <a:ext uri="{FF2B5EF4-FFF2-40B4-BE49-F238E27FC236}">
                <a16:creationId xmlns:a16="http://schemas.microsoft.com/office/drawing/2014/main" id="{6943F300-A406-66F2-E655-E3960F6D9A8A}"/>
              </a:ext>
            </a:extLst>
          </p:cNvPr>
          <p:cNvPicPr>
            <a:picLocks noChangeAspect="1"/>
          </p:cNvPicPr>
          <p:nvPr/>
        </p:nvPicPr>
        <p:blipFill>
          <a:blip r:embed="rId9"/>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672882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Google Shape;749;p13">
            <a:extLst>
              <a:ext uri="{FF2B5EF4-FFF2-40B4-BE49-F238E27FC236}">
                <a16:creationId xmlns:a16="http://schemas.microsoft.com/office/drawing/2014/main" id="{CA908D23-9725-32C8-1970-4E6740CF687A}"/>
              </a:ext>
            </a:extLst>
          </p:cNvPr>
          <p:cNvSpPr txBox="1">
            <a:spLocks noGrp="1" noChangeArrowheads="1"/>
          </p:cNvSpPr>
          <p:nvPr>
            <p:ph type="body" idx="1"/>
          </p:nvPr>
        </p:nvSpPr>
        <p:spPr>
          <a:xfrm>
            <a:off x="379413" y="1322388"/>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The UiPath Suite has three core components, which are are:</a:t>
            </a:r>
          </a:p>
        </p:txBody>
      </p:sp>
      <p:sp>
        <p:nvSpPr>
          <p:cNvPr id="39939" name="Google Shape;750;p13">
            <a:extLst>
              <a:ext uri="{FF2B5EF4-FFF2-40B4-BE49-F238E27FC236}">
                <a16:creationId xmlns:a16="http://schemas.microsoft.com/office/drawing/2014/main" id="{59DAC96D-2625-F3A4-8E28-17BA45F565F3}"/>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UiPath Platform</a:t>
            </a:r>
          </a:p>
        </p:txBody>
      </p:sp>
      <p:sp>
        <p:nvSpPr>
          <p:cNvPr id="751" name="Google Shape;751;p13">
            <a:extLst>
              <a:ext uri="{FF2B5EF4-FFF2-40B4-BE49-F238E27FC236}">
                <a16:creationId xmlns:a16="http://schemas.microsoft.com/office/drawing/2014/main" id="{D73D3EE7-C18B-E206-356C-7121C6E31E23}"/>
              </a:ext>
            </a:extLst>
          </p:cNvPr>
          <p:cNvSpPr>
            <a:spLocks noChangeArrowheads="1"/>
          </p:cNvSpPr>
          <p:nvPr/>
        </p:nvSpPr>
        <p:spPr bwMode="auto">
          <a:xfrm>
            <a:off x="8367713" y="4611688"/>
            <a:ext cx="2563812" cy="1211262"/>
          </a:xfrm>
          <a:prstGeom prst="roundRect">
            <a:avLst>
              <a:gd name="adj" fmla="val 16667"/>
            </a:avLst>
          </a:prstGeom>
          <a:noFill/>
          <a:ln w="19050">
            <a:solidFill>
              <a:srgbClr val="58595A"/>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Execute</a:t>
            </a:r>
            <a:r>
              <a:rPr lang="en-US" altLang="en-US" sz="1600"/>
              <a:t> workflows and instructions</a:t>
            </a:r>
            <a:endParaRPr lang="en-US" altLang="en-US" sz="1800"/>
          </a:p>
        </p:txBody>
      </p:sp>
      <p:sp>
        <p:nvSpPr>
          <p:cNvPr id="752" name="Google Shape;752;p13">
            <a:extLst>
              <a:ext uri="{FF2B5EF4-FFF2-40B4-BE49-F238E27FC236}">
                <a16:creationId xmlns:a16="http://schemas.microsoft.com/office/drawing/2014/main" id="{84BC0E71-0860-DFE6-7935-0BDF8E35C553}"/>
              </a:ext>
            </a:extLst>
          </p:cNvPr>
          <p:cNvSpPr>
            <a:spLocks noChangeArrowheads="1"/>
          </p:cNvSpPr>
          <p:nvPr/>
        </p:nvSpPr>
        <p:spPr bwMode="auto">
          <a:xfrm>
            <a:off x="4824413" y="4611688"/>
            <a:ext cx="2565400" cy="1211262"/>
          </a:xfrm>
          <a:prstGeom prst="roundRect">
            <a:avLst>
              <a:gd name="adj" fmla="val 16667"/>
            </a:avLst>
          </a:prstGeom>
          <a:noFill/>
          <a:ln w="19050">
            <a:solidFill>
              <a:srgbClr val="0067DF"/>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Control</a:t>
            </a:r>
            <a:r>
              <a:rPr lang="en-US" altLang="en-US" sz="1600"/>
              <a:t>, manage and monitor the robots</a:t>
            </a:r>
            <a:endParaRPr lang="en-US" altLang="en-US" sz="1800"/>
          </a:p>
        </p:txBody>
      </p:sp>
      <p:sp>
        <p:nvSpPr>
          <p:cNvPr id="753" name="Google Shape;753;p13">
            <a:extLst>
              <a:ext uri="{FF2B5EF4-FFF2-40B4-BE49-F238E27FC236}">
                <a16:creationId xmlns:a16="http://schemas.microsoft.com/office/drawing/2014/main" id="{856E9A22-0A19-8A72-02D4-F4E85E59CE7E}"/>
              </a:ext>
            </a:extLst>
          </p:cNvPr>
          <p:cNvSpPr>
            <a:spLocks noChangeArrowheads="1"/>
          </p:cNvSpPr>
          <p:nvPr/>
        </p:nvSpPr>
        <p:spPr bwMode="auto">
          <a:xfrm>
            <a:off x="1260475" y="4611688"/>
            <a:ext cx="2563813" cy="1211262"/>
          </a:xfrm>
          <a:prstGeom prst="roundRect">
            <a:avLst>
              <a:gd name="adj" fmla="val 16667"/>
            </a:avLst>
          </a:prstGeom>
          <a:noFill/>
          <a:ln w="19050">
            <a:solidFill>
              <a:srgbClr val="FA4616"/>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endParaRPr lang="en-US" altLang="en-US" sz="1600"/>
          </a:p>
          <a:p>
            <a:pPr algn="ctr" eaLnBrk="1" hangingPunct="1">
              <a:buSzPts val="1600"/>
            </a:pPr>
            <a:r>
              <a:rPr lang="en-US" altLang="en-US" sz="1600" b="1"/>
              <a:t>Design</a:t>
            </a:r>
            <a:r>
              <a:rPr lang="en-US" altLang="en-US" sz="1600"/>
              <a:t> automation workflows visually, with minimal use of code</a:t>
            </a:r>
            <a:endParaRPr lang="en-US" altLang="en-US" sz="1800"/>
          </a:p>
        </p:txBody>
      </p:sp>
      <p:grpSp>
        <p:nvGrpSpPr>
          <p:cNvPr id="754" name="Google Shape;754;p13">
            <a:extLst>
              <a:ext uri="{FF2B5EF4-FFF2-40B4-BE49-F238E27FC236}">
                <a16:creationId xmlns:a16="http://schemas.microsoft.com/office/drawing/2014/main" id="{2F77E755-120F-87C3-E96F-59C13B53DC76}"/>
              </a:ext>
            </a:extLst>
          </p:cNvPr>
          <p:cNvGrpSpPr>
            <a:grpSpLocks/>
          </p:cNvGrpSpPr>
          <p:nvPr/>
        </p:nvGrpSpPr>
        <p:grpSpPr bwMode="auto">
          <a:xfrm>
            <a:off x="3400425" y="3498850"/>
            <a:ext cx="1849438" cy="454025"/>
            <a:chOff x="3401124" y="3498646"/>
            <a:chExt cx="1849500" cy="454536"/>
          </a:xfrm>
        </p:grpSpPr>
        <p:cxnSp>
          <p:nvCxnSpPr>
            <p:cNvPr id="39962" name="Google Shape;755;p13">
              <a:extLst>
                <a:ext uri="{FF2B5EF4-FFF2-40B4-BE49-F238E27FC236}">
                  <a16:creationId xmlns:a16="http://schemas.microsoft.com/office/drawing/2014/main" id="{EAAFBCA4-83E2-2DC2-0D20-4C324274EE4B}"/>
                </a:ext>
              </a:extLst>
            </p:cNvPr>
            <p:cNvCxnSpPr>
              <a:cxnSpLocks noChangeShapeType="1"/>
              <a:stCxn id="39954" idx="3"/>
            </p:cNvCxnSpPr>
            <p:nvPr/>
          </p:nvCxnSpPr>
          <p:spPr bwMode="auto">
            <a:xfrm rot="10800000" flipH="1">
              <a:off x="3401124" y="3701899"/>
              <a:ext cx="1849500" cy="20700"/>
            </a:xfrm>
            <a:prstGeom prst="straightConnector1">
              <a:avLst/>
            </a:prstGeom>
            <a:noFill/>
            <a:ln w="31750">
              <a:solidFill>
                <a:srgbClr val="58595B"/>
              </a:solidFill>
              <a:miter lim="800000"/>
              <a:headEnd type="none" w="sm" len="sm"/>
              <a:tailEnd type="triangle" w="med" len="med"/>
            </a:ln>
            <a:extLst>
              <a:ext uri="{909E8E84-426E-40DD-AFC4-6F175D3DCCD1}">
                <a14:hiddenFill xmlns:a14="http://schemas.microsoft.com/office/drawing/2010/main">
                  <a:noFill/>
                </a14:hiddenFill>
              </a:ext>
            </a:extLst>
          </p:spPr>
        </p:cxnSp>
        <p:sp>
          <p:nvSpPr>
            <p:cNvPr id="39963" name="Google Shape;757;p13">
              <a:extLst>
                <a:ext uri="{FF2B5EF4-FFF2-40B4-BE49-F238E27FC236}">
                  <a16:creationId xmlns:a16="http://schemas.microsoft.com/office/drawing/2014/main" id="{78918B63-BEA4-5D02-F75C-F184D30CA440}"/>
                </a:ext>
              </a:extLst>
            </p:cNvPr>
            <p:cNvSpPr>
              <a:spLocks noChangeArrowheads="1"/>
            </p:cNvSpPr>
            <p:nvPr/>
          </p:nvSpPr>
          <p:spPr bwMode="auto">
            <a:xfrm>
              <a:off x="3671593" y="3498646"/>
              <a:ext cx="1218032" cy="45453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r>
                <a:rPr lang="en-US" altLang="en-US" sz="1600">
                  <a:solidFill>
                    <a:srgbClr val="FFFFFF"/>
                  </a:solidFill>
                </a:rPr>
                <a:t>Deploy</a:t>
              </a:r>
              <a:endParaRPr lang="en-US" altLang="en-US" sz="1800"/>
            </a:p>
          </p:txBody>
        </p:sp>
      </p:grpSp>
      <p:grpSp>
        <p:nvGrpSpPr>
          <p:cNvPr id="758" name="Google Shape;758;p13">
            <a:extLst>
              <a:ext uri="{FF2B5EF4-FFF2-40B4-BE49-F238E27FC236}">
                <a16:creationId xmlns:a16="http://schemas.microsoft.com/office/drawing/2014/main" id="{6A2B3F83-D0AF-541F-A7EC-132A9D74D771}"/>
              </a:ext>
            </a:extLst>
          </p:cNvPr>
          <p:cNvGrpSpPr>
            <a:grpSpLocks/>
          </p:cNvGrpSpPr>
          <p:nvPr/>
        </p:nvGrpSpPr>
        <p:grpSpPr bwMode="auto">
          <a:xfrm>
            <a:off x="6927850" y="3475038"/>
            <a:ext cx="1863725" cy="454025"/>
            <a:chOff x="6927328" y="3474262"/>
            <a:chExt cx="1863548" cy="454536"/>
          </a:xfrm>
        </p:grpSpPr>
        <p:cxnSp>
          <p:nvCxnSpPr>
            <p:cNvPr id="39960" name="Google Shape;759;p13">
              <a:extLst>
                <a:ext uri="{FF2B5EF4-FFF2-40B4-BE49-F238E27FC236}">
                  <a16:creationId xmlns:a16="http://schemas.microsoft.com/office/drawing/2014/main" id="{A6B38434-75FE-6974-6D7C-7141F38A390D}"/>
                </a:ext>
              </a:extLst>
            </p:cNvPr>
            <p:cNvCxnSpPr>
              <a:cxnSpLocks noChangeShapeType="1"/>
            </p:cNvCxnSpPr>
            <p:nvPr/>
          </p:nvCxnSpPr>
          <p:spPr bwMode="auto">
            <a:xfrm>
              <a:off x="6927328" y="3677448"/>
              <a:ext cx="1863548" cy="0"/>
            </a:xfrm>
            <a:prstGeom prst="straightConnector1">
              <a:avLst/>
            </a:prstGeom>
            <a:noFill/>
            <a:ln w="31750">
              <a:solidFill>
                <a:srgbClr val="58595B"/>
              </a:solidFill>
              <a:miter lim="800000"/>
              <a:headEnd type="none" w="sm" len="sm"/>
              <a:tailEnd type="triangle" w="med" len="med"/>
            </a:ln>
            <a:extLst>
              <a:ext uri="{909E8E84-426E-40DD-AFC4-6F175D3DCCD1}">
                <a14:hiddenFill xmlns:a14="http://schemas.microsoft.com/office/drawing/2010/main">
                  <a:noFill/>
                </a14:hiddenFill>
              </a:ext>
            </a:extLst>
          </p:spPr>
        </p:cxnSp>
        <p:sp>
          <p:nvSpPr>
            <p:cNvPr id="39961" name="Google Shape;760;p13">
              <a:extLst>
                <a:ext uri="{FF2B5EF4-FFF2-40B4-BE49-F238E27FC236}">
                  <a16:creationId xmlns:a16="http://schemas.microsoft.com/office/drawing/2014/main" id="{9CD6F6E1-4A8B-5ABC-5628-BA067549D6AD}"/>
                </a:ext>
              </a:extLst>
            </p:cNvPr>
            <p:cNvSpPr>
              <a:spLocks noChangeArrowheads="1"/>
            </p:cNvSpPr>
            <p:nvPr/>
          </p:nvSpPr>
          <p:spPr bwMode="auto">
            <a:xfrm>
              <a:off x="7234440" y="3474262"/>
              <a:ext cx="1218032" cy="45453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600"/>
              </a:pPr>
              <a:r>
                <a:rPr lang="en-US" altLang="en-US" sz="1600">
                  <a:solidFill>
                    <a:srgbClr val="FFFFFF"/>
                  </a:solidFill>
                </a:rPr>
                <a:t>Execute</a:t>
              </a:r>
              <a:endParaRPr lang="en-US" altLang="en-US" sz="1800"/>
            </a:p>
          </p:txBody>
        </p:sp>
      </p:grpSp>
      <p:grpSp>
        <p:nvGrpSpPr>
          <p:cNvPr id="761" name="Google Shape;761;p13">
            <a:extLst>
              <a:ext uri="{FF2B5EF4-FFF2-40B4-BE49-F238E27FC236}">
                <a16:creationId xmlns:a16="http://schemas.microsoft.com/office/drawing/2014/main" id="{076736ED-2A55-4287-C82B-B9BC5945D085}"/>
              </a:ext>
            </a:extLst>
          </p:cNvPr>
          <p:cNvGrpSpPr>
            <a:grpSpLocks/>
          </p:cNvGrpSpPr>
          <p:nvPr/>
        </p:nvGrpSpPr>
        <p:grpSpPr bwMode="auto">
          <a:xfrm>
            <a:off x="8791575" y="2606675"/>
            <a:ext cx="1716088" cy="2232025"/>
            <a:chOff x="8790876" y="2606820"/>
            <a:chExt cx="1717287" cy="2231555"/>
          </a:xfrm>
        </p:grpSpPr>
        <p:grpSp>
          <p:nvGrpSpPr>
            <p:cNvPr id="39956" name="Google Shape;762;p13">
              <a:extLst>
                <a:ext uri="{FF2B5EF4-FFF2-40B4-BE49-F238E27FC236}">
                  <a16:creationId xmlns:a16="http://schemas.microsoft.com/office/drawing/2014/main" id="{5A657E51-4BEA-8CF8-704D-807E6DFDDE8A}"/>
                </a:ext>
              </a:extLst>
            </p:cNvPr>
            <p:cNvGrpSpPr>
              <a:grpSpLocks/>
            </p:cNvGrpSpPr>
            <p:nvPr/>
          </p:nvGrpSpPr>
          <p:grpSpPr bwMode="auto">
            <a:xfrm>
              <a:off x="8790876" y="2606820"/>
              <a:ext cx="1717287" cy="2231555"/>
              <a:chOff x="7715535" y="2015816"/>
              <a:chExt cx="1717287" cy="2231555"/>
            </a:xfrm>
          </p:grpSpPr>
          <p:sp>
            <p:nvSpPr>
              <p:cNvPr id="39958" name="Google Shape;763;p13">
                <a:extLst>
                  <a:ext uri="{FF2B5EF4-FFF2-40B4-BE49-F238E27FC236}">
                    <a16:creationId xmlns:a16="http://schemas.microsoft.com/office/drawing/2014/main" id="{54F06D99-69AF-DC94-923D-32984DFB570D}"/>
                  </a:ext>
                </a:extLst>
              </p:cNvPr>
              <p:cNvSpPr>
                <a:spLocks noChangeArrowheads="1"/>
              </p:cNvSpPr>
              <p:nvPr/>
            </p:nvSpPr>
            <p:spPr bwMode="auto">
              <a:xfrm>
                <a:off x="7715535" y="2015816"/>
                <a:ext cx="1717287" cy="2231555"/>
              </a:xfrm>
              <a:prstGeom prst="roundRect">
                <a:avLst>
                  <a:gd name="adj" fmla="val 25042"/>
                </a:avLst>
              </a:prstGeom>
              <a:solidFill>
                <a:srgbClr val="58595A"/>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Robot</a:t>
                </a:r>
                <a:endParaRPr lang="en-US" altLang="en-US" sz="1800"/>
              </a:p>
            </p:txBody>
          </p:sp>
          <p:sp>
            <p:nvSpPr>
              <p:cNvPr id="39959" name="Google Shape;764;p13">
                <a:extLst>
                  <a:ext uri="{FF2B5EF4-FFF2-40B4-BE49-F238E27FC236}">
                    <a16:creationId xmlns:a16="http://schemas.microsoft.com/office/drawing/2014/main" id="{AFC8A964-5BA8-A52D-FEEE-116A24679E8D}"/>
                  </a:ext>
                </a:extLst>
              </p:cNvPr>
              <p:cNvSpPr>
                <a:spLocks noChangeArrowheads="1"/>
              </p:cNvSpPr>
              <p:nvPr/>
            </p:nvSpPr>
            <p:spPr bwMode="auto">
              <a:xfrm>
                <a:off x="7827793" y="2114899"/>
                <a:ext cx="1492773"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a:solidFill>
                    <a:srgbClr val="B9D9EB"/>
                  </a:solidFill>
                </a:endParaRPr>
              </a:p>
            </p:txBody>
          </p:sp>
        </p:grpSp>
        <p:pic>
          <p:nvPicPr>
            <p:cNvPr id="39957" name="Google Shape;765;p13">
              <a:extLst>
                <a:ext uri="{FF2B5EF4-FFF2-40B4-BE49-F238E27FC236}">
                  <a16:creationId xmlns:a16="http://schemas.microsoft.com/office/drawing/2014/main" id="{D6AE0D8F-B93B-7F36-671F-2BFF7991DDDC}"/>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3273" y="2874021"/>
              <a:ext cx="1110754" cy="11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66" name="Google Shape;766;p13">
            <a:extLst>
              <a:ext uri="{FF2B5EF4-FFF2-40B4-BE49-F238E27FC236}">
                <a16:creationId xmlns:a16="http://schemas.microsoft.com/office/drawing/2014/main" id="{696A393D-12E2-C4B8-DF80-95D271EC0A71}"/>
              </a:ext>
            </a:extLst>
          </p:cNvPr>
          <p:cNvGrpSpPr>
            <a:grpSpLocks/>
          </p:cNvGrpSpPr>
          <p:nvPr/>
        </p:nvGrpSpPr>
        <p:grpSpPr bwMode="auto">
          <a:xfrm>
            <a:off x="1684338" y="2606675"/>
            <a:ext cx="1716087" cy="2232025"/>
            <a:chOff x="1683837" y="2606822"/>
            <a:chExt cx="1717287" cy="2231555"/>
          </a:xfrm>
        </p:grpSpPr>
        <p:grpSp>
          <p:nvGrpSpPr>
            <p:cNvPr id="39952" name="Google Shape;767;p13">
              <a:extLst>
                <a:ext uri="{FF2B5EF4-FFF2-40B4-BE49-F238E27FC236}">
                  <a16:creationId xmlns:a16="http://schemas.microsoft.com/office/drawing/2014/main" id="{64EFA25D-0E90-D27A-9B48-140B65E78E86}"/>
                </a:ext>
              </a:extLst>
            </p:cNvPr>
            <p:cNvGrpSpPr>
              <a:grpSpLocks/>
            </p:cNvGrpSpPr>
            <p:nvPr/>
          </p:nvGrpSpPr>
          <p:grpSpPr bwMode="auto">
            <a:xfrm>
              <a:off x="1683837" y="2606822"/>
              <a:ext cx="1717287" cy="2231555"/>
              <a:chOff x="2419815" y="2015817"/>
              <a:chExt cx="1717287" cy="2231555"/>
            </a:xfrm>
          </p:grpSpPr>
          <p:sp>
            <p:nvSpPr>
              <p:cNvPr id="39954" name="Google Shape;756;p13">
                <a:extLst>
                  <a:ext uri="{FF2B5EF4-FFF2-40B4-BE49-F238E27FC236}">
                    <a16:creationId xmlns:a16="http://schemas.microsoft.com/office/drawing/2014/main" id="{E0A12A7E-51D0-11CE-7F12-584CB5936EA6}"/>
                  </a:ext>
                </a:extLst>
              </p:cNvPr>
              <p:cNvSpPr>
                <a:spLocks noChangeArrowheads="1"/>
              </p:cNvSpPr>
              <p:nvPr/>
            </p:nvSpPr>
            <p:spPr bwMode="auto">
              <a:xfrm>
                <a:off x="2419815" y="2015817"/>
                <a:ext cx="1717287" cy="2231555"/>
              </a:xfrm>
              <a:prstGeom prst="roundRect">
                <a:avLst>
                  <a:gd name="adj" fmla="val 25042"/>
                </a:avLst>
              </a:pr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Studio</a:t>
                </a:r>
                <a:endParaRPr lang="en-US" altLang="en-US" sz="1800"/>
              </a:p>
            </p:txBody>
          </p:sp>
          <p:sp>
            <p:nvSpPr>
              <p:cNvPr id="39955" name="Google Shape;768;p13">
                <a:extLst>
                  <a:ext uri="{FF2B5EF4-FFF2-40B4-BE49-F238E27FC236}">
                    <a16:creationId xmlns:a16="http://schemas.microsoft.com/office/drawing/2014/main" id="{7973908B-DD7A-9D3D-59DB-22C4153DB668}"/>
                  </a:ext>
                </a:extLst>
              </p:cNvPr>
              <p:cNvSpPr>
                <a:spLocks noChangeArrowheads="1"/>
              </p:cNvSpPr>
              <p:nvPr/>
            </p:nvSpPr>
            <p:spPr bwMode="auto">
              <a:xfrm>
                <a:off x="2531240" y="2114899"/>
                <a:ext cx="1494436"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b="1">
                  <a:solidFill>
                    <a:srgbClr val="0085CA"/>
                  </a:solidFill>
                </a:endParaRPr>
              </a:p>
            </p:txBody>
          </p:sp>
        </p:grpSp>
        <p:pic>
          <p:nvPicPr>
            <p:cNvPr id="39953" name="Google Shape;769;p13">
              <a:extLst>
                <a:ext uri="{FF2B5EF4-FFF2-40B4-BE49-F238E27FC236}">
                  <a16:creationId xmlns:a16="http://schemas.microsoft.com/office/drawing/2014/main" id="{83850C34-84F7-A107-54E2-51CCD89E689E}"/>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7598" y="2874021"/>
              <a:ext cx="1110753" cy="1110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0" name="Google Shape;770;p13">
            <a:extLst>
              <a:ext uri="{FF2B5EF4-FFF2-40B4-BE49-F238E27FC236}">
                <a16:creationId xmlns:a16="http://schemas.microsoft.com/office/drawing/2014/main" id="{DCD256D6-108F-87FA-A1AB-D7BFE41271BC}"/>
              </a:ext>
            </a:extLst>
          </p:cNvPr>
          <p:cNvGrpSpPr>
            <a:grpSpLocks/>
          </p:cNvGrpSpPr>
          <p:nvPr/>
        </p:nvGrpSpPr>
        <p:grpSpPr bwMode="auto">
          <a:xfrm>
            <a:off x="5159375" y="2606675"/>
            <a:ext cx="1893888" cy="2232025"/>
            <a:chOff x="5237357" y="2606821"/>
            <a:chExt cx="1717287" cy="2231555"/>
          </a:xfrm>
        </p:grpSpPr>
        <p:grpSp>
          <p:nvGrpSpPr>
            <p:cNvPr id="39948" name="Google Shape;771;p13">
              <a:extLst>
                <a:ext uri="{FF2B5EF4-FFF2-40B4-BE49-F238E27FC236}">
                  <a16:creationId xmlns:a16="http://schemas.microsoft.com/office/drawing/2014/main" id="{FE46B3FE-9389-2936-9AB0-805AC5B1B648}"/>
                </a:ext>
              </a:extLst>
            </p:cNvPr>
            <p:cNvGrpSpPr>
              <a:grpSpLocks/>
            </p:cNvGrpSpPr>
            <p:nvPr/>
          </p:nvGrpSpPr>
          <p:grpSpPr bwMode="auto">
            <a:xfrm>
              <a:off x="5237357" y="2606821"/>
              <a:ext cx="1717287" cy="2231555"/>
              <a:chOff x="5065779" y="2015816"/>
              <a:chExt cx="1717287" cy="2231555"/>
            </a:xfrm>
          </p:grpSpPr>
          <p:sp>
            <p:nvSpPr>
              <p:cNvPr id="39950" name="Google Shape;772;p13">
                <a:extLst>
                  <a:ext uri="{FF2B5EF4-FFF2-40B4-BE49-F238E27FC236}">
                    <a16:creationId xmlns:a16="http://schemas.microsoft.com/office/drawing/2014/main" id="{F07F6EA3-8B8F-860E-A4F5-1EAAE4AC1557}"/>
                  </a:ext>
                </a:extLst>
              </p:cNvPr>
              <p:cNvSpPr>
                <a:spLocks noChangeArrowheads="1"/>
              </p:cNvSpPr>
              <p:nvPr/>
            </p:nvSpPr>
            <p:spPr bwMode="auto">
              <a:xfrm>
                <a:off x="5065779" y="2015816"/>
                <a:ext cx="1717287" cy="2231555"/>
              </a:xfrm>
              <a:prstGeom prst="roundRect">
                <a:avLst>
                  <a:gd name="adj" fmla="val 25042"/>
                </a:avLst>
              </a:pr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FFFFFF"/>
                  </a:buClr>
                  <a:buSzPts val="1800"/>
                </a:pPr>
                <a:r>
                  <a:rPr lang="en-US" altLang="en-US" sz="1800" b="1">
                    <a:solidFill>
                      <a:srgbClr val="FFFFFF"/>
                    </a:solidFill>
                  </a:rPr>
                  <a:t>Orchestrator</a:t>
                </a:r>
                <a:endParaRPr lang="en-US" altLang="en-US" sz="1800"/>
              </a:p>
            </p:txBody>
          </p:sp>
          <p:sp>
            <p:nvSpPr>
              <p:cNvPr id="39951" name="Google Shape;773;p13">
                <a:extLst>
                  <a:ext uri="{FF2B5EF4-FFF2-40B4-BE49-F238E27FC236}">
                    <a16:creationId xmlns:a16="http://schemas.microsoft.com/office/drawing/2014/main" id="{9B4CBBCE-A1C3-7145-81CE-A296943A2939}"/>
                  </a:ext>
                </a:extLst>
              </p:cNvPr>
              <p:cNvSpPr>
                <a:spLocks noChangeArrowheads="1"/>
              </p:cNvSpPr>
              <p:nvPr/>
            </p:nvSpPr>
            <p:spPr bwMode="auto">
              <a:xfrm>
                <a:off x="5178037" y="2114899"/>
                <a:ext cx="1492773" cy="14977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6000"/>
                </a:pPr>
                <a:endParaRPr lang="en-US" altLang="en-US" sz="6000">
                  <a:solidFill>
                    <a:srgbClr val="002855"/>
                  </a:solidFill>
                </a:endParaRPr>
              </a:p>
            </p:txBody>
          </p:sp>
        </p:grpSp>
        <p:pic>
          <p:nvPicPr>
            <p:cNvPr id="39949" name="Google Shape;774;p13">
              <a:extLst>
                <a:ext uri="{FF2B5EF4-FFF2-40B4-BE49-F238E27FC236}">
                  <a16:creationId xmlns:a16="http://schemas.microsoft.com/office/drawing/2014/main" id="{71908DBE-E621-E9D2-E6A1-6E8CC2C08C91}"/>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213" y="2858959"/>
              <a:ext cx="1110753" cy="1110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Picture 2" descr="A picture containing text, clipart&#10;&#10;Description automatically generated">
            <a:extLst>
              <a:ext uri="{FF2B5EF4-FFF2-40B4-BE49-F238E27FC236}">
                <a16:creationId xmlns:a16="http://schemas.microsoft.com/office/drawing/2014/main" id="{64B2B2E3-0FD3-C639-8FCF-4D433E8360AC}"/>
              </a:ext>
            </a:extLst>
          </p:cNvPr>
          <p:cNvPicPr>
            <a:picLocks noChangeAspect="1"/>
          </p:cNvPicPr>
          <p:nvPr/>
        </p:nvPicPr>
        <p:blipFill>
          <a:blip r:embed="rId6"/>
          <a:stretch>
            <a:fillRect/>
          </a:stretch>
        </p:blipFill>
        <p:spPr>
          <a:xfrm>
            <a:off x="10640895" y="705071"/>
            <a:ext cx="753407" cy="752919"/>
          </a:xfrm>
          <a:prstGeom prst="rect">
            <a:avLst/>
          </a:prstGeom>
        </p:spPr>
      </p:pic>
      <p:pic>
        <p:nvPicPr>
          <p:cNvPr id="5" name="Picture 4" descr="A picture containing text, clipart&#10;&#10;Description automatically generated">
            <a:extLst>
              <a:ext uri="{FF2B5EF4-FFF2-40B4-BE49-F238E27FC236}">
                <a16:creationId xmlns:a16="http://schemas.microsoft.com/office/drawing/2014/main" id="{BFA911ED-5E54-B7AA-52B4-D68B6AE7B9B3}"/>
              </a:ext>
            </a:extLst>
          </p:cNvPr>
          <p:cNvPicPr>
            <a:picLocks noChangeAspect="1"/>
          </p:cNvPicPr>
          <p:nvPr/>
        </p:nvPicPr>
        <p:blipFill>
          <a:blip r:embed="rId6"/>
          <a:stretch>
            <a:fillRect/>
          </a:stretch>
        </p:blipFill>
        <p:spPr>
          <a:xfrm>
            <a:off x="10683576" y="2900916"/>
            <a:ext cx="753407" cy="752919"/>
          </a:xfrm>
          <a:prstGeom prst="rect">
            <a:avLst/>
          </a:prstGeom>
        </p:spPr>
      </p:pic>
    </p:spTree>
    <p:extLst>
      <p:ext uri="{BB962C8B-B14F-4D97-AF65-F5344CB8AC3E}">
        <p14:creationId xmlns:p14="http://schemas.microsoft.com/office/powerpoint/2010/main" val="34384533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1500"/>
                                  </p:stCondLst>
                                  <p:childTnLst>
                                    <p:set>
                                      <p:cBhvr>
                                        <p:cTn id="6" dur="1" fill="hold">
                                          <p:stCondLst>
                                            <p:cond delay="0"/>
                                          </p:stCondLst>
                                        </p:cTn>
                                        <p:tgtEl>
                                          <p:spTgt spid="766"/>
                                        </p:tgtEl>
                                        <p:attrNameLst>
                                          <p:attrName>style.visibility</p:attrName>
                                        </p:attrNameLst>
                                      </p:cBhvr>
                                      <p:to>
                                        <p:strVal val="visible"/>
                                      </p:to>
                                    </p:set>
                                    <p:animEffect transition="in" filter="fade">
                                      <p:cBhvr>
                                        <p:cTn id="7" dur="500"/>
                                        <p:tgtEl>
                                          <p:spTgt spid="766"/>
                                        </p:tgtEl>
                                      </p:cBhvr>
                                    </p:animEffect>
                                  </p:childTnLst>
                                </p:cTn>
                              </p:par>
                            </p:childTnLst>
                          </p:cTn>
                        </p:par>
                        <p:par>
                          <p:cTn id="8" fill="hold" nodeType="afterGroup">
                            <p:stCondLst>
                              <p:cond delay="500"/>
                            </p:stCondLst>
                            <p:childTnLst>
                              <p:par>
                                <p:cTn id="9" presetID="10" presetClass="entr" presetSubtype="0" fill="hold" nodeType="afterEffect">
                                  <p:stCondLst>
                                    <p:cond delay="1000"/>
                                  </p:stCondLst>
                                  <p:childTnLst>
                                    <p:set>
                                      <p:cBhvr>
                                        <p:cTn id="10" dur="1" fill="hold">
                                          <p:stCondLst>
                                            <p:cond delay="0"/>
                                          </p:stCondLst>
                                        </p:cTn>
                                        <p:tgtEl>
                                          <p:spTgt spid="770"/>
                                        </p:tgtEl>
                                        <p:attrNameLst>
                                          <p:attrName>style.visibility</p:attrName>
                                        </p:attrNameLst>
                                      </p:cBhvr>
                                      <p:to>
                                        <p:strVal val="visible"/>
                                      </p:to>
                                    </p:set>
                                    <p:animEffect transition="in" filter="fade">
                                      <p:cBhvr>
                                        <p:cTn id="11" dur="500"/>
                                        <p:tgtEl>
                                          <p:spTgt spid="770"/>
                                        </p:tgtEl>
                                      </p:cBhvr>
                                    </p:animEffect>
                                  </p:childTnLst>
                                </p:cTn>
                              </p:par>
                            </p:childTnLst>
                          </p:cTn>
                        </p:par>
                        <p:par>
                          <p:cTn id="12" fill="hold" nodeType="afterGroup">
                            <p:stCondLst>
                              <p:cond delay="1000"/>
                            </p:stCondLst>
                            <p:childTnLst>
                              <p:par>
                                <p:cTn id="13" presetID="10" presetClass="entr" presetSubtype="0" fill="hold" nodeType="afterEffect">
                                  <p:stCondLst>
                                    <p:cond delay="1000"/>
                                  </p:stCondLst>
                                  <p:childTnLst>
                                    <p:set>
                                      <p:cBhvr>
                                        <p:cTn id="14" dur="1" fill="hold">
                                          <p:stCondLst>
                                            <p:cond delay="0"/>
                                          </p:stCondLst>
                                        </p:cTn>
                                        <p:tgtEl>
                                          <p:spTgt spid="761"/>
                                        </p:tgtEl>
                                        <p:attrNameLst>
                                          <p:attrName>style.visibility</p:attrName>
                                        </p:attrNameLst>
                                      </p:cBhvr>
                                      <p:to>
                                        <p:strVal val="visible"/>
                                      </p:to>
                                    </p:set>
                                    <p:animEffect transition="in" filter="fade">
                                      <p:cBhvr>
                                        <p:cTn id="15" dur="500"/>
                                        <p:tgtEl>
                                          <p:spTgt spid="761"/>
                                        </p:tgtEl>
                                      </p:cBhvr>
                                    </p:animEffect>
                                  </p:childTnLst>
                                </p:cTn>
                              </p:par>
                            </p:childTnLst>
                          </p:cTn>
                        </p:par>
                        <p:par>
                          <p:cTn id="16" fill="hold" nodeType="afterGroup">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753"/>
                                        </p:tgtEl>
                                        <p:attrNameLst>
                                          <p:attrName>style.visibility</p:attrName>
                                        </p:attrNameLst>
                                      </p:cBhvr>
                                      <p:to>
                                        <p:strVal val="visible"/>
                                      </p:to>
                                    </p:set>
                                    <p:animEffect transition="in" filter="fade">
                                      <p:cBhvr>
                                        <p:cTn id="19" dur="1000"/>
                                        <p:tgtEl>
                                          <p:spTgt spid="753"/>
                                        </p:tgtEl>
                                      </p:cBhvr>
                                    </p:animEffect>
                                  </p:childTnLst>
                                </p:cTn>
                              </p:par>
                            </p:childTnLst>
                          </p:cTn>
                        </p:par>
                        <p:par>
                          <p:cTn id="20" fill="hold" nodeType="afterGroup">
                            <p:stCondLst>
                              <p:cond delay="2500"/>
                            </p:stCondLst>
                            <p:childTnLst>
                              <p:par>
                                <p:cTn id="21" presetID="10" presetClass="entr" presetSubtype="0" fill="hold" nodeType="afterEffect">
                                  <p:stCondLst>
                                    <p:cond delay="500"/>
                                  </p:stCondLst>
                                  <p:childTnLst>
                                    <p:set>
                                      <p:cBhvr>
                                        <p:cTn id="22" dur="1" fill="hold">
                                          <p:stCondLst>
                                            <p:cond delay="0"/>
                                          </p:stCondLst>
                                        </p:cTn>
                                        <p:tgtEl>
                                          <p:spTgt spid="754"/>
                                        </p:tgtEl>
                                        <p:attrNameLst>
                                          <p:attrName>style.visibility</p:attrName>
                                        </p:attrNameLst>
                                      </p:cBhvr>
                                      <p:to>
                                        <p:strVal val="visible"/>
                                      </p:to>
                                    </p:set>
                                    <p:animEffect transition="in" filter="fade">
                                      <p:cBhvr>
                                        <p:cTn id="23" dur="1000"/>
                                        <p:tgtEl>
                                          <p:spTgt spid="754"/>
                                        </p:tgtEl>
                                      </p:cBhvr>
                                    </p:animEffect>
                                  </p:childTnLst>
                                </p:cTn>
                              </p:par>
                            </p:childTnLst>
                          </p:cTn>
                        </p:par>
                        <p:par>
                          <p:cTn id="24" fill="hold" nodeType="afterGroup">
                            <p:stCondLst>
                              <p:cond delay="3500"/>
                            </p:stCondLst>
                            <p:childTnLst>
                              <p:par>
                                <p:cTn id="25" presetID="10" presetClass="entr" presetSubtype="0" fill="hold" nodeType="afterEffect">
                                  <p:stCondLst>
                                    <p:cond delay="500"/>
                                  </p:stCondLst>
                                  <p:childTnLst>
                                    <p:set>
                                      <p:cBhvr>
                                        <p:cTn id="26" dur="1" fill="hold">
                                          <p:stCondLst>
                                            <p:cond delay="0"/>
                                          </p:stCondLst>
                                        </p:cTn>
                                        <p:tgtEl>
                                          <p:spTgt spid="752"/>
                                        </p:tgtEl>
                                        <p:attrNameLst>
                                          <p:attrName>style.visibility</p:attrName>
                                        </p:attrNameLst>
                                      </p:cBhvr>
                                      <p:to>
                                        <p:strVal val="visible"/>
                                      </p:to>
                                    </p:set>
                                    <p:animEffect transition="in" filter="fade">
                                      <p:cBhvr>
                                        <p:cTn id="27" dur="1000"/>
                                        <p:tgtEl>
                                          <p:spTgt spid="752"/>
                                        </p:tgtEl>
                                      </p:cBhvr>
                                    </p:animEffect>
                                  </p:childTnLst>
                                </p:cTn>
                              </p:par>
                            </p:childTnLst>
                          </p:cTn>
                        </p:par>
                        <p:par>
                          <p:cTn id="28" fill="hold" nodeType="afterGroup">
                            <p:stCondLst>
                              <p:cond delay="4500"/>
                            </p:stCondLst>
                            <p:childTnLst>
                              <p:par>
                                <p:cTn id="29" presetID="10" presetClass="entr" presetSubtype="0" fill="hold" nodeType="afterEffect">
                                  <p:stCondLst>
                                    <p:cond delay="500"/>
                                  </p:stCondLst>
                                  <p:childTnLst>
                                    <p:set>
                                      <p:cBhvr>
                                        <p:cTn id="30" dur="1" fill="hold">
                                          <p:stCondLst>
                                            <p:cond delay="0"/>
                                          </p:stCondLst>
                                        </p:cTn>
                                        <p:tgtEl>
                                          <p:spTgt spid="758"/>
                                        </p:tgtEl>
                                        <p:attrNameLst>
                                          <p:attrName>style.visibility</p:attrName>
                                        </p:attrNameLst>
                                      </p:cBhvr>
                                      <p:to>
                                        <p:strVal val="visible"/>
                                      </p:to>
                                    </p:set>
                                    <p:animEffect transition="in" filter="fade">
                                      <p:cBhvr>
                                        <p:cTn id="31" dur="1000"/>
                                        <p:tgtEl>
                                          <p:spTgt spid="758"/>
                                        </p:tgtEl>
                                      </p:cBhvr>
                                    </p:animEffect>
                                  </p:childTnLst>
                                </p:cTn>
                              </p:par>
                            </p:childTnLst>
                          </p:cTn>
                        </p:par>
                        <p:par>
                          <p:cTn id="32" fill="hold" nodeType="afterGroup">
                            <p:stCondLst>
                              <p:cond delay="5500"/>
                            </p:stCondLst>
                            <p:childTnLst>
                              <p:par>
                                <p:cTn id="33" presetID="10" presetClass="entr" presetSubtype="0" fill="hold" nodeType="afterEffect">
                                  <p:stCondLst>
                                    <p:cond delay="500"/>
                                  </p:stCondLst>
                                  <p:childTnLst>
                                    <p:set>
                                      <p:cBhvr>
                                        <p:cTn id="34" dur="1" fill="hold">
                                          <p:stCondLst>
                                            <p:cond delay="0"/>
                                          </p:stCondLst>
                                        </p:cTn>
                                        <p:tgtEl>
                                          <p:spTgt spid="751"/>
                                        </p:tgtEl>
                                        <p:attrNameLst>
                                          <p:attrName>style.visibility</p:attrName>
                                        </p:attrNameLst>
                                      </p:cBhvr>
                                      <p:to>
                                        <p:strVal val="visible"/>
                                      </p:to>
                                    </p:set>
                                    <p:animEffect transition="in" filter="fade">
                                      <p:cBhvr>
                                        <p:cTn id="35" dur="1000"/>
                                        <p:tgtEl>
                                          <p:spTgt spid="7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5" descr="A red and white sign&#10;&#10;Description automatically generated with medium confidence">
            <a:extLst>
              <a:ext uri="{FF2B5EF4-FFF2-40B4-BE49-F238E27FC236}">
                <a16:creationId xmlns:a16="http://schemas.microsoft.com/office/drawing/2014/main" id="{9C101823-86CE-402C-ADD5-F5037EC976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211138"/>
            <a:ext cx="23780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TextBox 9">
            <a:extLst>
              <a:ext uri="{FF2B5EF4-FFF2-40B4-BE49-F238E27FC236}">
                <a16:creationId xmlns:a16="http://schemas.microsoft.com/office/drawing/2014/main" id="{447F2361-4657-E3A8-E366-1662C81C61A7}"/>
              </a:ext>
            </a:extLst>
          </p:cNvPr>
          <p:cNvSpPr txBox="1">
            <a:spLocks noChangeArrowheads="1"/>
          </p:cNvSpPr>
          <p:nvPr/>
        </p:nvSpPr>
        <p:spPr bwMode="auto">
          <a:xfrm>
            <a:off x="1019175" y="863600"/>
            <a:ext cx="78740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600"/>
              <a:t>Where RPA Developers design automations visually, building any kind of automation from simple tasks to robots enhanced with AI skills. Its Powerful, user-friendly IDE, to visually design your automation</a:t>
            </a:r>
          </a:p>
          <a:p>
            <a:pPr eaLnBrk="1" hangingPunct="1"/>
            <a:r>
              <a:rPr lang="en-US" altLang="en-US" sz="1600"/>
              <a:t> </a:t>
            </a:r>
            <a:endParaRPr lang="en-IN" altLang="en-US" sz="1600"/>
          </a:p>
        </p:txBody>
      </p:sp>
      <p:pic>
        <p:nvPicPr>
          <p:cNvPr id="7" name="Picture 6" descr="A screenshot of a cell phone&#10;&#10;Description automatically generated">
            <a:extLst>
              <a:ext uri="{FF2B5EF4-FFF2-40B4-BE49-F238E27FC236}">
                <a16:creationId xmlns:a16="http://schemas.microsoft.com/office/drawing/2014/main" id="{EF5DB0F6-7949-700C-659D-E6F36E4D379C}"/>
              </a:ext>
            </a:extLst>
          </p:cNvPr>
          <p:cNvPicPr>
            <a:picLocks noChangeAspect="1"/>
          </p:cNvPicPr>
          <p:nvPr/>
        </p:nvPicPr>
        <p:blipFill>
          <a:blip r:embed="rId4"/>
          <a:stretch>
            <a:fillRect/>
          </a:stretch>
        </p:blipFill>
        <p:spPr>
          <a:xfrm>
            <a:off x="1187450" y="1806575"/>
            <a:ext cx="7789863" cy="4840288"/>
          </a:xfrm>
          <a:prstGeom prst="rect">
            <a:avLst/>
          </a:prstGeom>
          <a:ln w="12700">
            <a:solidFill>
              <a:schemeClr val="bg1">
                <a:lumMod val="85000"/>
              </a:schemeClr>
            </a:solidFill>
          </a:ln>
        </p:spPr>
      </p:pic>
      <p:pic>
        <p:nvPicPr>
          <p:cNvPr id="3" name="Picture 2" descr="A picture containing text, clipart&#10;&#10;Description automatically generated">
            <a:extLst>
              <a:ext uri="{FF2B5EF4-FFF2-40B4-BE49-F238E27FC236}">
                <a16:creationId xmlns:a16="http://schemas.microsoft.com/office/drawing/2014/main" id="{AF0CB8CD-5914-112B-04DC-AC4990A6484F}"/>
              </a:ext>
            </a:extLst>
          </p:cNvPr>
          <p:cNvPicPr>
            <a:picLocks noChangeAspect="1"/>
          </p:cNvPicPr>
          <p:nvPr/>
        </p:nvPicPr>
        <p:blipFill>
          <a:blip r:embed="rId5"/>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9126535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3" descr="A red and white sign&#10;&#10;Description automatically generated with low confidence">
            <a:extLst>
              <a:ext uri="{FF2B5EF4-FFF2-40B4-BE49-F238E27FC236}">
                <a16:creationId xmlns:a16="http://schemas.microsoft.com/office/drawing/2014/main" id="{3EB88588-4153-AF15-3389-BB73A26B6E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413" y="323850"/>
            <a:ext cx="3181350"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5" name="TextBox 5">
            <a:extLst>
              <a:ext uri="{FF2B5EF4-FFF2-40B4-BE49-F238E27FC236}">
                <a16:creationId xmlns:a16="http://schemas.microsoft.com/office/drawing/2014/main" id="{AF26DB85-7D10-AB16-B50D-DA1082E1ED89}"/>
              </a:ext>
            </a:extLst>
          </p:cNvPr>
          <p:cNvSpPr txBox="1">
            <a:spLocks noChangeArrowheads="1"/>
          </p:cNvSpPr>
          <p:nvPr/>
        </p:nvSpPr>
        <p:spPr bwMode="auto">
          <a:xfrm>
            <a:off x="492125" y="1028700"/>
            <a:ext cx="83947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600"/>
              <a:t>Orchestrator is the heart of your automation management. It gives you the power to deploy, trigger, monitor, measure and track every robot. </a:t>
            </a:r>
            <a:endParaRPr lang="en-IN" altLang="en-US" sz="1600"/>
          </a:p>
        </p:txBody>
      </p:sp>
      <p:pic>
        <p:nvPicPr>
          <p:cNvPr id="44036" name="Picture 11">
            <a:extLst>
              <a:ext uri="{FF2B5EF4-FFF2-40B4-BE49-F238E27FC236}">
                <a16:creationId xmlns:a16="http://schemas.microsoft.com/office/drawing/2014/main" id="{5CEBADDA-2C9F-D23C-6C3E-2AD09EE86B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2125" y="1733550"/>
            <a:ext cx="8980488"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text, clipart&#10;&#10;Description automatically generated">
            <a:extLst>
              <a:ext uri="{FF2B5EF4-FFF2-40B4-BE49-F238E27FC236}">
                <a16:creationId xmlns:a16="http://schemas.microsoft.com/office/drawing/2014/main" id="{16A64B90-C01B-3D09-2CF9-5E9E65A2C0A1}"/>
              </a:ext>
            </a:extLst>
          </p:cNvPr>
          <p:cNvPicPr>
            <a:picLocks noChangeAspect="1"/>
          </p:cNvPicPr>
          <p:nvPr/>
        </p:nvPicPr>
        <p:blipFill>
          <a:blip r:embed="rId5"/>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7386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4" descr="A red and white sign&#10;&#10;Description automatically generated with low confidence">
            <a:extLst>
              <a:ext uri="{FF2B5EF4-FFF2-40B4-BE49-F238E27FC236}">
                <a16:creationId xmlns:a16="http://schemas.microsoft.com/office/drawing/2014/main" id="{6BE0F54C-908A-E448-0895-BE3383800F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3" y="190500"/>
            <a:ext cx="2947987"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6083" name="Group 3">
            <a:extLst>
              <a:ext uri="{FF2B5EF4-FFF2-40B4-BE49-F238E27FC236}">
                <a16:creationId xmlns:a16="http://schemas.microsoft.com/office/drawing/2014/main" id="{E1BBACFD-9BD1-C01F-64BA-C8F53D85CBFB}"/>
              </a:ext>
            </a:extLst>
          </p:cNvPr>
          <p:cNvGrpSpPr>
            <a:grpSpLocks/>
          </p:cNvGrpSpPr>
          <p:nvPr/>
        </p:nvGrpSpPr>
        <p:grpSpPr bwMode="auto">
          <a:xfrm>
            <a:off x="5338763" y="2644775"/>
            <a:ext cx="544512" cy="706438"/>
            <a:chOff x="5693114" y="3582443"/>
            <a:chExt cx="544330" cy="706798"/>
          </a:xfrm>
        </p:grpSpPr>
        <p:grpSp>
          <p:nvGrpSpPr>
            <p:cNvPr id="46174" name="Group 5">
              <a:extLst>
                <a:ext uri="{FF2B5EF4-FFF2-40B4-BE49-F238E27FC236}">
                  <a16:creationId xmlns:a16="http://schemas.microsoft.com/office/drawing/2014/main" id="{EF9064BE-DC6C-7B87-A2CE-893407FD2250}"/>
                </a:ext>
              </a:extLst>
            </p:cNvPr>
            <p:cNvGrpSpPr>
              <a:grpSpLocks/>
            </p:cNvGrpSpPr>
            <p:nvPr/>
          </p:nvGrpSpPr>
          <p:grpSpPr bwMode="auto">
            <a:xfrm>
              <a:off x="5834219" y="3582443"/>
              <a:ext cx="403225" cy="204788"/>
              <a:chOff x="4672515" y="3443288"/>
              <a:chExt cx="403225" cy="204788"/>
            </a:xfrm>
          </p:grpSpPr>
          <p:sp>
            <p:nvSpPr>
              <p:cNvPr id="46183" name="Freeform 14">
                <a:extLst>
                  <a:ext uri="{FF2B5EF4-FFF2-40B4-BE49-F238E27FC236}">
                    <a16:creationId xmlns:a16="http://schemas.microsoft.com/office/drawing/2014/main" id="{32622CBA-D596-206E-3210-6DAC07C105BE}"/>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4" name="Freeform 15">
                <a:extLst>
                  <a:ext uri="{FF2B5EF4-FFF2-40B4-BE49-F238E27FC236}">
                    <a16:creationId xmlns:a16="http://schemas.microsoft.com/office/drawing/2014/main" id="{814C818A-F1F1-9C5D-C61E-8E30CBF9EED6}"/>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5" name="Freeform 16">
                <a:extLst>
                  <a:ext uri="{FF2B5EF4-FFF2-40B4-BE49-F238E27FC236}">
                    <a16:creationId xmlns:a16="http://schemas.microsoft.com/office/drawing/2014/main" id="{1262EB76-A07F-DDF6-3015-EC250452315B}"/>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6" name="Freeform 17">
                <a:extLst>
                  <a:ext uri="{FF2B5EF4-FFF2-40B4-BE49-F238E27FC236}">
                    <a16:creationId xmlns:a16="http://schemas.microsoft.com/office/drawing/2014/main" id="{419D799B-813B-66B3-5DCE-A14ACEFC247B}"/>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87" name="Freeform 18">
                <a:extLst>
                  <a:ext uri="{FF2B5EF4-FFF2-40B4-BE49-F238E27FC236}">
                    <a16:creationId xmlns:a16="http://schemas.microsoft.com/office/drawing/2014/main" id="{EFA44FD1-3630-9444-5D66-61C3EE9A7D83}"/>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88" name="Freeform 19">
                <a:extLst>
                  <a:ext uri="{FF2B5EF4-FFF2-40B4-BE49-F238E27FC236}">
                    <a16:creationId xmlns:a16="http://schemas.microsoft.com/office/drawing/2014/main" id="{6C025643-CD7B-78FD-3E36-7245B8FA47AC}"/>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75" name="Group 6">
              <a:extLst>
                <a:ext uri="{FF2B5EF4-FFF2-40B4-BE49-F238E27FC236}">
                  <a16:creationId xmlns:a16="http://schemas.microsoft.com/office/drawing/2014/main" id="{2E9C9E71-3D5D-B200-84A9-028981D48DDE}"/>
                </a:ext>
              </a:extLst>
            </p:cNvPr>
            <p:cNvGrpSpPr>
              <a:grpSpLocks/>
            </p:cNvGrpSpPr>
            <p:nvPr/>
          </p:nvGrpSpPr>
          <p:grpSpPr bwMode="auto">
            <a:xfrm>
              <a:off x="5887224" y="3909468"/>
              <a:ext cx="297214" cy="379773"/>
              <a:chOff x="4206584" y="3284990"/>
              <a:chExt cx="297214" cy="379773"/>
            </a:xfrm>
          </p:grpSpPr>
          <p:sp>
            <p:nvSpPr>
              <p:cNvPr id="46181" name="Freeform: Shape 13">
                <a:extLst>
                  <a:ext uri="{FF2B5EF4-FFF2-40B4-BE49-F238E27FC236}">
                    <a16:creationId xmlns:a16="http://schemas.microsoft.com/office/drawing/2014/main" id="{FA9F289B-8002-F4BA-561C-B0D65671F7CE}"/>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82" name="Freeform: Shape 14">
                <a:extLst>
                  <a:ext uri="{FF2B5EF4-FFF2-40B4-BE49-F238E27FC236}">
                    <a16:creationId xmlns:a16="http://schemas.microsoft.com/office/drawing/2014/main" id="{3071CE34-F8B2-BA9F-9912-861893330A5D}"/>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grpSp>
          <p:nvGrpSpPr>
            <p:cNvPr id="46176" name="Group 7">
              <a:extLst>
                <a:ext uri="{FF2B5EF4-FFF2-40B4-BE49-F238E27FC236}">
                  <a16:creationId xmlns:a16="http://schemas.microsoft.com/office/drawing/2014/main" id="{BA1D2AD6-8DD6-7C39-2877-B1B4CC3B1519}"/>
                </a:ext>
              </a:extLst>
            </p:cNvPr>
            <p:cNvGrpSpPr>
              <a:grpSpLocks/>
            </p:cNvGrpSpPr>
            <p:nvPr/>
          </p:nvGrpSpPr>
          <p:grpSpPr bwMode="auto">
            <a:xfrm>
              <a:off x="5693114" y="3667215"/>
              <a:ext cx="66336" cy="504550"/>
              <a:chOff x="6982164" y="3581400"/>
              <a:chExt cx="66336" cy="2027514"/>
            </a:xfrm>
          </p:grpSpPr>
          <p:cxnSp>
            <p:nvCxnSpPr>
              <p:cNvPr id="9" name="Straight Connector 8">
                <a:extLst>
                  <a:ext uri="{FF2B5EF4-FFF2-40B4-BE49-F238E27FC236}">
                    <a16:creationId xmlns:a16="http://schemas.microsoft.com/office/drawing/2014/main" id="{80685DD1-0541-3E1C-2D50-68B025A8D0D5}"/>
                  </a:ext>
                </a:extLst>
              </p:cNvPr>
              <p:cNvCxnSpPr>
                <a:cxnSpLocks/>
              </p:cNvCxnSpPr>
              <p:nvPr/>
            </p:nvCxnSpPr>
            <p:spPr>
              <a:xfrm flipV="1">
                <a:off x="6985338" y="3579024"/>
                <a:ext cx="0" cy="202965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6178" name="Group 9">
                <a:extLst>
                  <a:ext uri="{FF2B5EF4-FFF2-40B4-BE49-F238E27FC236}">
                    <a16:creationId xmlns:a16="http://schemas.microsoft.com/office/drawing/2014/main" id="{4E4B428A-175C-2EA9-87F4-55A2F3252407}"/>
                  </a:ext>
                </a:extLst>
              </p:cNvPr>
              <p:cNvGrpSpPr>
                <a:grpSpLocks/>
              </p:cNvGrpSpPr>
              <p:nvPr/>
            </p:nvGrpSpPr>
            <p:grpSpPr bwMode="auto">
              <a:xfrm>
                <a:off x="6982164" y="3581400"/>
                <a:ext cx="66336" cy="2027514"/>
                <a:chOff x="6190128" y="3581400"/>
                <a:chExt cx="2027514" cy="2027514"/>
              </a:xfrm>
            </p:grpSpPr>
            <p:cxnSp>
              <p:nvCxnSpPr>
                <p:cNvPr id="12" name="Straight Connector 11">
                  <a:extLst>
                    <a:ext uri="{FF2B5EF4-FFF2-40B4-BE49-F238E27FC236}">
                      <a16:creationId xmlns:a16="http://schemas.microsoft.com/office/drawing/2014/main" id="{4BC0E3D8-C6FA-811D-C8C9-2B01C8FB027A}"/>
                    </a:ext>
                  </a:extLst>
                </p:cNvPr>
                <p:cNvCxnSpPr>
                  <a:cxnSpLocks/>
                </p:cNvCxnSpPr>
                <p:nvPr/>
              </p:nvCxnSpPr>
              <p:spPr>
                <a:xfrm rot="5400000" flipV="1">
                  <a:off x="7208743" y="2560422"/>
                  <a:ext cx="0" cy="2037200"/>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330537E2-68F2-B984-8A44-406564ABA2AA}"/>
                    </a:ext>
                  </a:extLst>
                </p:cNvPr>
                <p:cNvCxnSpPr>
                  <a:cxnSpLocks/>
                </p:cNvCxnSpPr>
                <p:nvPr/>
              </p:nvCxnSpPr>
              <p:spPr>
                <a:xfrm rot="5400000" flipV="1">
                  <a:off x="7208743" y="4590075"/>
                  <a:ext cx="0" cy="2037200"/>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grpSp>
      <p:grpSp>
        <p:nvGrpSpPr>
          <p:cNvPr id="46084" name="Group 21">
            <a:extLst>
              <a:ext uri="{FF2B5EF4-FFF2-40B4-BE49-F238E27FC236}">
                <a16:creationId xmlns:a16="http://schemas.microsoft.com/office/drawing/2014/main" id="{C1376D8C-9E73-55AF-5C41-FEE1DB21F4C0}"/>
              </a:ext>
            </a:extLst>
          </p:cNvPr>
          <p:cNvGrpSpPr>
            <a:grpSpLocks/>
          </p:cNvGrpSpPr>
          <p:nvPr/>
        </p:nvGrpSpPr>
        <p:grpSpPr bwMode="auto">
          <a:xfrm>
            <a:off x="2770188" y="2874963"/>
            <a:ext cx="1447800" cy="204787"/>
            <a:chOff x="3588506" y="3818613"/>
            <a:chExt cx="1447951" cy="204788"/>
          </a:xfrm>
        </p:grpSpPr>
        <p:grpSp>
          <p:nvGrpSpPr>
            <p:cNvPr id="46153" name="Group 22">
              <a:extLst>
                <a:ext uri="{FF2B5EF4-FFF2-40B4-BE49-F238E27FC236}">
                  <a16:creationId xmlns:a16="http://schemas.microsoft.com/office/drawing/2014/main" id="{7D29F6D9-9229-FF1F-8FF7-58E13F52C9B5}"/>
                </a:ext>
              </a:extLst>
            </p:cNvPr>
            <p:cNvGrpSpPr>
              <a:grpSpLocks/>
            </p:cNvGrpSpPr>
            <p:nvPr/>
          </p:nvGrpSpPr>
          <p:grpSpPr bwMode="auto">
            <a:xfrm>
              <a:off x="4112998" y="3818613"/>
              <a:ext cx="403225" cy="204788"/>
              <a:chOff x="4672515" y="3443288"/>
              <a:chExt cx="403225" cy="204788"/>
            </a:xfrm>
          </p:grpSpPr>
          <p:sp>
            <p:nvSpPr>
              <p:cNvPr id="46168" name="Freeform 14">
                <a:extLst>
                  <a:ext uri="{FF2B5EF4-FFF2-40B4-BE49-F238E27FC236}">
                    <a16:creationId xmlns:a16="http://schemas.microsoft.com/office/drawing/2014/main" id="{EBC2EDD0-C3DD-7BD7-9BFF-2C60D28BA421}"/>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9" name="Freeform 15">
                <a:extLst>
                  <a:ext uri="{FF2B5EF4-FFF2-40B4-BE49-F238E27FC236}">
                    <a16:creationId xmlns:a16="http://schemas.microsoft.com/office/drawing/2014/main" id="{A353527C-CEB3-8830-5708-9815C50EA98F}"/>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0" name="Freeform 16">
                <a:extLst>
                  <a:ext uri="{FF2B5EF4-FFF2-40B4-BE49-F238E27FC236}">
                    <a16:creationId xmlns:a16="http://schemas.microsoft.com/office/drawing/2014/main" id="{CD3E4BBA-CD10-D4D0-4AA0-71207CF20832}"/>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1" name="Freeform 17">
                <a:extLst>
                  <a:ext uri="{FF2B5EF4-FFF2-40B4-BE49-F238E27FC236}">
                    <a16:creationId xmlns:a16="http://schemas.microsoft.com/office/drawing/2014/main" id="{7F07284D-C124-BC35-760F-9482BB35E883}"/>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72" name="Freeform 18">
                <a:extLst>
                  <a:ext uri="{FF2B5EF4-FFF2-40B4-BE49-F238E27FC236}">
                    <a16:creationId xmlns:a16="http://schemas.microsoft.com/office/drawing/2014/main" id="{B30CBD21-5842-7E4E-87AA-05CFEC8A3372}"/>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73" name="Freeform 19">
                <a:extLst>
                  <a:ext uri="{FF2B5EF4-FFF2-40B4-BE49-F238E27FC236}">
                    <a16:creationId xmlns:a16="http://schemas.microsoft.com/office/drawing/2014/main" id="{E36FF6E0-D483-5589-B96C-DEDAE7CB2915}"/>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54" name="Group 23">
              <a:extLst>
                <a:ext uri="{FF2B5EF4-FFF2-40B4-BE49-F238E27FC236}">
                  <a16:creationId xmlns:a16="http://schemas.microsoft.com/office/drawing/2014/main" id="{5F78519E-69C5-A70C-3B11-90F66D0F74D3}"/>
                </a:ext>
              </a:extLst>
            </p:cNvPr>
            <p:cNvGrpSpPr>
              <a:grpSpLocks/>
            </p:cNvGrpSpPr>
            <p:nvPr/>
          </p:nvGrpSpPr>
          <p:grpSpPr bwMode="auto">
            <a:xfrm>
              <a:off x="4633232" y="3818613"/>
              <a:ext cx="403225" cy="204788"/>
              <a:chOff x="4672515" y="3443288"/>
              <a:chExt cx="403225" cy="204788"/>
            </a:xfrm>
          </p:grpSpPr>
          <p:sp>
            <p:nvSpPr>
              <p:cNvPr id="46162" name="Freeform 14">
                <a:extLst>
                  <a:ext uri="{FF2B5EF4-FFF2-40B4-BE49-F238E27FC236}">
                    <a16:creationId xmlns:a16="http://schemas.microsoft.com/office/drawing/2014/main" id="{F65A6C8B-67F5-F817-F15A-F8027DE6E06A}"/>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3" name="Freeform 15">
                <a:extLst>
                  <a:ext uri="{FF2B5EF4-FFF2-40B4-BE49-F238E27FC236}">
                    <a16:creationId xmlns:a16="http://schemas.microsoft.com/office/drawing/2014/main" id="{2CF5CA65-EF03-9470-3F93-62BA123216CC}"/>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4" name="Freeform 16">
                <a:extLst>
                  <a:ext uri="{FF2B5EF4-FFF2-40B4-BE49-F238E27FC236}">
                    <a16:creationId xmlns:a16="http://schemas.microsoft.com/office/drawing/2014/main" id="{1E25596E-7F02-E888-C122-16CE6230A618}"/>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5" name="Freeform 17">
                <a:extLst>
                  <a:ext uri="{FF2B5EF4-FFF2-40B4-BE49-F238E27FC236}">
                    <a16:creationId xmlns:a16="http://schemas.microsoft.com/office/drawing/2014/main" id="{2D03BD52-445A-E4D6-A341-DB8403B2ED6E}"/>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6" name="Freeform 18">
                <a:extLst>
                  <a:ext uri="{FF2B5EF4-FFF2-40B4-BE49-F238E27FC236}">
                    <a16:creationId xmlns:a16="http://schemas.microsoft.com/office/drawing/2014/main" id="{7C910F2E-F425-B942-3228-880916AA156B}"/>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67" name="Freeform 19">
                <a:extLst>
                  <a:ext uri="{FF2B5EF4-FFF2-40B4-BE49-F238E27FC236}">
                    <a16:creationId xmlns:a16="http://schemas.microsoft.com/office/drawing/2014/main" id="{8698977E-2B73-5F36-3D5E-BCC6B89F4D43}"/>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55" name="Group 24">
              <a:extLst>
                <a:ext uri="{FF2B5EF4-FFF2-40B4-BE49-F238E27FC236}">
                  <a16:creationId xmlns:a16="http://schemas.microsoft.com/office/drawing/2014/main" id="{BE371C44-34E3-CD87-BE4D-0B76331AC47A}"/>
                </a:ext>
              </a:extLst>
            </p:cNvPr>
            <p:cNvGrpSpPr>
              <a:grpSpLocks/>
            </p:cNvGrpSpPr>
            <p:nvPr/>
          </p:nvGrpSpPr>
          <p:grpSpPr bwMode="auto">
            <a:xfrm>
              <a:off x="3588506" y="3818613"/>
              <a:ext cx="403225" cy="204788"/>
              <a:chOff x="4672515" y="3443288"/>
              <a:chExt cx="403225" cy="204788"/>
            </a:xfrm>
          </p:grpSpPr>
          <p:sp>
            <p:nvSpPr>
              <p:cNvPr id="46156" name="Freeform 14">
                <a:extLst>
                  <a:ext uri="{FF2B5EF4-FFF2-40B4-BE49-F238E27FC236}">
                    <a16:creationId xmlns:a16="http://schemas.microsoft.com/office/drawing/2014/main" id="{F027BD2B-BC47-83B7-DA56-B9D018117B5B}"/>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7" name="Freeform 15">
                <a:extLst>
                  <a:ext uri="{FF2B5EF4-FFF2-40B4-BE49-F238E27FC236}">
                    <a16:creationId xmlns:a16="http://schemas.microsoft.com/office/drawing/2014/main" id="{4B604CE5-B68E-B28D-ACA9-7EBF8623C686}"/>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8" name="Freeform 16">
                <a:extLst>
                  <a:ext uri="{FF2B5EF4-FFF2-40B4-BE49-F238E27FC236}">
                    <a16:creationId xmlns:a16="http://schemas.microsoft.com/office/drawing/2014/main" id="{3895AB80-3371-A6C5-2A1C-E14EC0452BA8}"/>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9" name="Freeform 17">
                <a:extLst>
                  <a:ext uri="{FF2B5EF4-FFF2-40B4-BE49-F238E27FC236}">
                    <a16:creationId xmlns:a16="http://schemas.microsoft.com/office/drawing/2014/main" id="{15E29453-46FF-1686-EB46-37008BD661B8}"/>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60" name="Freeform 18">
                <a:extLst>
                  <a:ext uri="{FF2B5EF4-FFF2-40B4-BE49-F238E27FC236}">
                    <a16:creationId xmlns:a16="http://schemas.microsoft.com/office/drawing/2014/main" id="{122BDE7D-94C3-CBA1-CD54-4D346F0A0FE3}"/>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61" name="Freeform 19">
                <a:extLst>
                  <a:ext uri="{FF2B5EF4-FFF2-40B4-BE49-F238E27FC236}">
                    <a16:creationId xmlns:a16="http://schemas.microsoft.com/office/drawing/2014/main" id="{4639A3CD-1254-DCB2-840B-6C7AF7C202C2}"/>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grpSp>
        <p:nvGrpSpPr>
          <p:cNvPr id="46085" name="Group 43">
            <a:extLst>
              <a:ext uri="{FF2B5EF4-FFF2-40B4-BE49-F238E27FC236}">
                <a16:creationId xmlns:a16="http://schemas.microsoft.com/office/drawing/2014/main" id="{963C6498-88FD-5CBD-B140-CED16648F97A}"/>
              </a:ext>
            </a:extLst>
          </p:cNvPr>
          <p:cNvGrpSpPr>
            <a:grpSpLocks/>
          </p:cNvGrpSpPr>
          <p:nvPr/>
        </p:nvGrpSpPr>
        <p:grpSpPr bwMode="auto">
          <a:xfrm>
            <a:off x="7158038" y="2643188"/>
            <a:ext cx="1182687" cy="706437"/>
            <a:chOff x="7125039" y="3503294"/>
            <a:chExt cx="1182865" cy="706798"/>
          </a:xfrm>
        </p:grpSpPr>
        <p:grpSp>
          <p:nvGrpSpPr>
            <p:cNvPr id="46135" name="Group 44">
              <a:extLst>
                <a:ext uri="{FF2B5EF4-FFF2-40B4-BE49-F238E27FC236}">
                  <a16:creationId xmlns:a16="http://schemas.microsoft.com/office/drawing/2014/main" id="{ADEF5AC7-7117-95AB-D35F-D32340F1F735}"/>
                </a:ext>
              </a:extLst>
            </p:cNvPr>
            <p:cNvGrpSpPr>
              <a:grpSpLocks/>
            </p:cNvGrpSpPr>
            <p:nvPr/>
          </p:nvGrpSpPr>
          <p:grpSpPr bwMode="auto">
            <a:xfrm>
              <a:off x="7254509" y="3503294"/>
              <a:ext cx="403225" cy="204788"/>
              <a:chOff x="4672515" y="3443288"/>
              <a:chExt cx="403225" cy="204788"/>
            </a:xfrm>
          </p:grpSpPr>
          <p:sp>
            <p:nvSpPr>
              <p:cNvPr id="46147" name="Freeform 14">
                <a:extLst>
                  <a:ext uri="{FF2B5EF4-FFF2-40B4-BE49-F238E27FC236}">
                    <a16:creationId xmlns:a16="http://schemas.microsoft.com/office/drawing/2014/main" id="{9CC128B2-352C-D6B5-B536-5F2374346F10}"/>
                  </a:ext>
                </a:extLst>
              </p:cNvPr>
              <p:cNvSpPr>
                <a:spLocks/>
              </p:cNvSpPr>
              <p:nvPr/>
            </p:nvSpPr>
            <p:spPr bwMode="auto">
              <a:xfrm>
                <a:off x="4739190" y="3443288"/>
                <a:ext cx="265112" cy="204788"/>
              </a:xfrm>
              <a:custGeom>
                <a:avLst/>
                <a:gdLst>
                  <a:gd name="T0" fmla="*/ 2147483646 w 848"/>
                  <a:gd name="T1" fmla="*/ 2147483646 h 660"/>
                  <a:gd name="T2" fmla="*/ 2147483646 w 848"/>
                  <a:gd name="T3" fmla="*/ 2147483646 h 660"/>
                  <a:gd name="T4" fmla="*/ 2147483646 w 848"/>
                  <a:gd name="T5" fmla="*/ 2147483646 h 660"/>
                  <a:gd name="T6" fmla="*/ 0 w 848"/>
                  <a:gd name="T7" fmla="*/ 2147483646 h 660"/>
                  <a:gd name="T8" fmla="*/ 0 w 848"/>
                  <a:gd name="T9" fmla="*/ 2147483646 h 660"/>
                  <a:gd name="T10" fmla="*/ 2147483646 w 848"/>
                  <a:gd name="T11" fmla="*/ 0 h 660"/>
                  <a:gd name="T12" fmla="*/ 2147483646 w 848"/>
                  <a:gd name="T13" fmla="*/ 0 h 660"/>
                  <a:gd name="T14" fmla="*/ 2147483646 w 848"/>
                  <a:gd name="T15" fmla="*/ 0 h 660"/>
                  <a:gd name="T16" fmla="*/ 2147483646 w 848"/>
                  <a:gd name="T17" fmla="*/ 0 h 660"/>
                  <a:gd name="T18" fmla="*/ 2147483646 w 848"/>
                  <a:gd name="T19" fmla="*/ 2147483646 h 660"/>
                  <a:gd name="T20" fmla="*/ 2147483646 w 848"/>
                  <a:gd name="T21" fmla="*/ 2147483646 h 660"/>
                  <a:gd name="T22" fmla="*/ 2147483646 w 848"/>
                  <a:gd name="T23" fmla="*/ 2147483646 h 660"/>
                  <a:gd name="T24" fmla="*/ 2147483646 w 848"/>
                  <a:gd name="T25" fmla="*/ 2147483646 h 6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8" h="660">
                    <a:moveTo>
                      <a:pt x="731" y="660"/>
                    </a:moveTo>
                    <a:lnTo>
                      <a:pt x="731" y="660"/>
                    </a:lnTo>
                    <a:lnTo>
                      <a:pt x="117" y="660"/>
                    </a:lnTo>
                    <a:cubicBezTo>
                      <a:pt x="52" y="660"/>
                      <a:pt x="0" y="608"/>
                      <a:pt x="0" y="543"/>
                    </a:cubicBezTo>
                    <a:lnTo>
                      <a:pt x="0" y="117"/>
                    </a:lnTo>
                    <a:cubicBezTo>
                      <a:pt x="0" y="53"/>
                      <a:pt x="52" y="0"/>
                      <a:pt x="117" y="0"/>
                    </a:cubicBezTo>
                    <a:lnTo>
                      <a:pt x="443" y="0"/>
                    </a:lnTo>
                    <a:lnTo>
                      <a:pt x="463" y="0"/>
                    </a:lnTo>
                    <a:lnTo>
                      <a:pt x="731" y="0"/>
                    </a:lnTo>
                    <a:cubicBezTo>
                      <a:pt x="796" y="0"/>
                      <a:pt x="848" y="53"/>
                      <a:pt x="848" y="117"/>
                    </a:cubicBezTo>
                    <a:lnTo>
                      <a:pt x="848" y="543"/>
                    </a:lnTo>
                    <a:cubicBezTo>
                      <a:pt x="848" y="608"/>
                      <a:pt x="796" y="660"/>
                      <a:pt x="731" y="660"/>
                    </a:cubicBezTo>
                    <a:close/>
                  </a:path>
                </a:pathLst>
              </a:custGeom>
              <a:noFill/>
              <a:ln w="333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48" name="Freeform 15">
                <a:extLst>
                  <a:ext uri="{FF2B5EF4-FFF2-40B4-BE49-F238E27FC236}">
                    <a16:creationId xmlns:a16="http://schemas.microsoft.com/office/drawing/2014/main" id="{D61CBF58-6B4C-9B0F-E4B1-EFCB3198D807}"/>
                  </a:ext>
                </a:extLst>
              </p:cNvPr>
              <p:cNvSpPr>
                <a:spLocks/>
              </p:cNvSpPr>
              <p:nvPr/>
            </p:nvSpPr>
            <p:spPr bwMode="auto">
              <a:xfrm>
                <a:off x="5053515" y="3508375"/>
                <a:ext cx="22225" cy="69850"/>
              </a:xfrm>
              <a:custGeom>
                <a:avLst/>
                <a:gdLst>
                  <a:gd name="T0" fmla="*/ 2147483646 w 70"/>
                  <a:gd name="T1" fmla="*/ 0 h 226"/>
                  <a:gd name="T2" fmla="*/ 2147483646 w 70"/>
                  <a:gd name="T3" fmla="*/ 0 h 226"/>
                  <a:gd name="T4" fmla="*/ 2147483646 w 70"/>
                  <a:gd name="T5" fmla="*/ 2147483646 h 226"/>
                  <a:gd name="T6" fmla="*/ 0 w 70"/>
                  <a:gd name="T7" fmla="*/ 2147483646 h 2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6">
                    <a:moveTo>
                      <a:pt x="5" y="0"/>
                    </a:moveTo>
                    <a:lnTo>
                      <a:pt x="5" y="0"/>
                    </a:lnTo>
                    <a:cubicBezTo>
                      <a:pt x="41" y="22"/>
                      <a:pt x="65" y="60"/>
                      <a:pt x="68" y="105"/>
                    </a:cubicBezTo>
                    <a:cubicBezTo>
                      <a:pt x="70" y="157"/>
                      <a:pt x="42" y="203"/>
                      <a:pt x="0" y="226"/>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49" name="Freeform 16">
                <a:extLst>
                  <a:ext uri="{FF2B5EF4-FFF2-40B4-BE49-F238E27FC236}">
                    <a16:creationId xmlns:a16="http://schemas.microsoft.com/office/drawing/2014/main" id="{A5BCCC3E-EF57-E7E9-ED4B-7C3C13B2D3B7}"/>
                  </a:ext>
                </a:extLst>
              </p:cNvPr>
              <p:cNvSpPr>
                <a:spLocks/>
              </p:cNvSpPr>
              <p:nvPr/>
            </p:nvSpPr>
            <p:spPr bwMode="auto">
              <a:xfrm>
                <a:off x="4672515" y="3508375"/>
                <a:ext cx="22225" cy="69850"/>
              </a:xfrm>
              <a:custGeom>
                <a:avLst/>
                <a:gdLst>
                  <a:gd name="T0" fmla="*/ 2147483646 w 70"/>
                  <a:gd name="T1" fmla="*/ 2147483646 h 227"/>
                  <a:gd name="T2" fmla="*/ 2147483646 w 70"/>
                  <a:gd name="T3" fmla="*/ 2147483646 h 227"/>
                  <a:gd name="T4" fmla="*/ 2147483646 w 70"/>
                  <a:gd name="T5" fmla="*/ 2147483646 h 227"/>
                  <a:gd name="T6" fmla="*/ 2147483646 w 70"/>
                  <a:gd name="T7" fmla="*/ 0 h 2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227">
                    <a:moveTo>
                      <a:pt x="65" y="227"/>
                    </a:moveTo>
                    <a:lnTo>
                      <a:pt x="65" y="227"/>
                    </a:lnTo>
                    <a:cubicBezTo>
                      <a:pt x="29" y="205"/>
                      <a:pt x="4" y="166"/>
                      <a:pt x="2" y="121"/>
                    </a:cubicBezTo>
                    <a:cubicBezTo>
                      <a:pt x="0" y="69"/>
                      <a:pt x="27" y="23"/>
                      <a:pt x="7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0" name="Freeform 17">
                <a:extLst>
                  <a:ext uri="{FF2B5EF4-FFF2-40B4-BE49-F238E27FC236}">
                    <a16:creationId xmlns:a16="http://schemas.microsoft.com/office/drawing/2014/main" id="{357B473F-18DF-CD3C-D54A-9FFE723DA179}"/>
                  </a:ext>
                </a:extLst>
              </p:cNvPr>
              <p:cNvSpPr>
                <a:spLocks/>
              </p:cNvSpPr>
              <p:nvPr/>
            </p:nvSpPr>
            <p:spPr bwMode="auto">
              <a:xfrm>
                <a:off x="4837615" y="3565525"/>
                <a:ext cx="69850" cy="22225"/>
              </a:xfrm>
              <a:custGeom>
                <a:avLst/>
                <a:gdLst>
                  <a:gd name="T0" fmla="*/ 2147483646 w 227"/>
                  <a:gd name="T1" fmla="*/ 2147483646 h 70"/>
                  <a:gd name="T2" fmla="*/ 2147483646 w 227"/>
                  <a:gd name="T3" fmla="*/ 2147483646 h 70"/>
                  <a:gd name="T4" fmla="*/ 2147483646 w 227"/>
                  <a:gd name="T5" fmla="*/ 2147483646 h 70"/>
                  <a:gd name="T6" fmla="*/ 0 w 227"/>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7" h="70">
                    <a:moveTo>
                      <a:pt x="227" y="5"/>
                    </a:moveTo>
                    <a:lnTo>
                      <a:pt x="227" y="5"/>
                    </a:lnTo>
                    <a:cubicBezTo>
                      <a:pt x="205" y="41"/>
                      <a:pt x="166" y="66"/>
                      <a:pt x="121" y="68"/>
                    </a:cubicBezTo>
                    <a:cubicBezTo>
                      <a:pt x="69" y="70"/>
                      <a:pt x="23" y="43"/>
                      <a:pt x="0" y="0"/>
                    </a:cubicBezTo>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IN"/>
              </a:p>
            </p:txBody>
          </p:sp>
          <p:sp>
            <p:nvSpPr>
              <p:cNvPr id="46151" name="Freeform 18">
                <a:extLst>
                  <a:ext uri="{FF2B5EF4-FFF2-40B4-BE49-F238E27FC236}">
                    <a16:creationId xmlns:a16="http://schemas.microsoft.com/office/drawing/2014/main" id="{8EE0897A-B2DF-4754-453F-DCD8EDD7B967}"/>
                  </a:ext>
                </a:extLst>
              </p:cNvPr>
              <p:cNvSpPr>
                <a:spLocks/>
              </p:cNvSpPr>
              <p:nvPr/>
            </p:nvSpPr>
            <p:spPr bwMode="auto">
              <a:xfrm>
                <a:off x="481856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sp>
            <p:nvSpPr>
              <p:cNvPr id="46152" name="Freeform 19">
                <a:extLst>
                  <a:ext uri="{FF2B5EF4-FFF2-40B4-BE49-F238E27FC236}">
                    <a16:creationId xmlns:a16="http://schemas.microsoft.com/office/drawing/2014/main" id="{55C570EF-1071-68AE-C697-8A38E8735CE2}"/>
                  </a:ext>
                </a:extLst>
              </p:cNvPr>
              <p:cNvSpPr>
                <a:spLocks/>
              </p:cNvSpPr>
              <p:nvPr/>
            </p:nvSpPr>
            <p:spPr bwMode="auto">
              <a:xfrm>
                <a:off x="4888415" y="3495675"/>
                <a:ext cx="36512" cy="34925"/>
              </a:xfrm>
              <a:custGeom>
                <a:avLst/>
                <a:gdLst>
                  <a:gd name="T0" fmla="*/ 2147483646 w 116"/>
                  <a:gd name="T1" fmla="*/ 2147483646 h 116"/>
                  <a:gd name="T2" fmla="*/ 2147483646 w 116"/>
                  <a:gd name="T3" fmla="*/ 2147483646 h 116"/>
                  <a:gd name="T4" fmla="*/ 2147483646 w 116"/>
                  <a:gd name="T5" fmla="*/ 2147483646 h 116"/>
                  <a:gd name="T6" fmla="*/ 0 w 116"/>
                  <a:gd name="T7" fmla="*/ 2147483646 h 116"/>
                  <a:gd name="T8" fmla="*/ 2147483646 w 116"/>
                  <a:gd name="T9" fmla="*/ 0 h 116"/>
                  <a:gd name="T10" fmla="*/ 2147483646 w 116"/>
                  <a:gd name="T11" fmla="*/ 2147483646 h 1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116">
                    <a:moveTo>
                      <a:pt x="116" y="58"/>
                    </a:moveTo>
                    <a:lnTo>
                      <a:pt x="116" y="58"/>
                    </a:lnTo>
                    <a:cubicBezTo>
                      <a:pt x="116" y="90"/>
                      <a:pt x="90" y="116"/>
                      <a:pt x="58" y="116"/>
                    </a:cubicBezTo>
                    <a:cubicBezTo>
                      <a:pt x="26" y="116"/>
                      <a:pt x="0" y="90"/>
                      <a:pt x="0" y="58"/>
                    </a:cubicBezTo>
                    <a:cubicBezTo>
                      <a:pt x="0" y="26"/>
                      <a:pt x="26" y="0"/>
                      <a:pt x="58" y="0"/>
                    </a:cubicBezTo>
                    <a:cubicBezTo>
                      <a:pt x="90" y="0"/>
                      <a:pt x="116" y="26"/>
                      <a:pt x="116" y="58"/>
                    </a:cubicBez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IN"/>
              </a:p>
            </p:txBody>
          </p:sp>
        </p:grpSp>
        <p:grpSp>
          <p:nvGrpSpPr>
            <p:cNvPr id="46136" name="Group 45">
              <a:extLst>
                <a:ext uri="{FF2B5EF4-FFF2-40B4-BE49-F238E27FC236}">
                  <a16:creationId xmlns:a16="http://schemas.microsoft.com/office/drawing/2014/main" id="{F6284AD5-1F3E-3A21-2FC7-C1ECCE929D58}"/>
                </a:ext>
              </a:extLst>
            </p:cNvPr>
            <p:cNvGrpSpPr>
              <a:grpSpLocks/>
            </p:cNvGrpSpPr>
            <p:nvPr/>
          </p:nvGrpSpPr>
          <p:grpSpPr bwMode="auto">
            <a:xfrm>
              <a:off x="7307514" y="3830319"/>
              <a:ext cx="297214" cy="379773"/>
              <a:chOff x="4206584" y="3284990"/>
              <a:chExt cx="297214" cy="379773"/>
            </a:xfrm>
          </p:grpSpPr>
          <p:sp>
            <p:nvSpPr>
              <p:cNvPr id="46145" name="Freeform: Shape 54">
                <a:extLst>
                  <a:ext uri="{FF2B5EF4-FFF2-40B4-BE49-F238E27FC236}">
                    <a16:creationId xmlns:a16="http://schemas.microsoft.com/office/drawing/2014/main" id="{13AE4699-F612-8345-5A60-E1FE0BD433BD}"/>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46" name="Freeform: Shape 55">
                <a:extLst>
                  <a:ext uri="{FF2B5EF4-FFF2-40B4-BE49-F238E27FC236}">
                    <a16:creationId xmlns:a16="http://schemas.microsoft.com/office/drawing/2014/main" id="{A6A0639B-984D-2D62-B547-9650BACA337E}"/>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grpSp>
          <p:nvGrpSpPr>
            <p:cNvPr id="46137" name="Group 46">
              <a:extLst>
                <a:ext uri="{FF2B5EF4-FFF2-40B4-BE49-F238E27FC236}">
                  <a16:creationId xmlns:a16="http://schemas.microsoft.com/office/drawing/2014/main" id="{0F56313D-493B-C19C-B8CE-4C630A8D8B37}"/>
                </a:ext>
              </a:extLst>
            </p:cNvPr>
            <p:cNvGrpSpPr>
              <a:grpSpLocks/>
            </p:cNvGrpSpPr>
            <p:nvPr/>
          </p:nvGrpSpPr>
          <p:grpSpPr bwMode="auto">
            <a:xfrm>
              <a:off x="8010690" y="3834051"/>
              <a:ext cx="297214" cy="376041"/>
              <a:chOff x="4206584" y="3288722"/>
              <a:chExt cx="297214" cy="376041"/>
            </a:xfrm>
          </p:grpSpPr>
          <p:sp>
            <p:nvSpPr>
              <p:cNvPr id="46143" name="Freeform: Shape 52">
                <a:extLst>
                  <a:ext uri="{FF2B5EF4-FFF2-40B4-BE49-F238E27FC236}">
                    <a16:creationId xmlns:a16="http://schemas.microsoft.com/office/drawing/2014/main" id="{F947499C-CAFD-ED24-043B-C784422F078F}"/>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44" name="Freeform: Shape 53">
                <a:extLst>
                  <a:ext uri="{FF2B5EF4-FFF2-40B4-BE49-F238E27FC236}">
                    <a16:creationId xmlns:a16="http://schemas.microsoft.com/office/drawing/2014/main" id="{8BDEFFA3-3F20-D16B-EB65-6C441A9CCEDF}"/>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38" name="Group 47">
              <a:extLst>
                <a:ext uri="{FF2B5EF4-FFF2-40B4-BE49-F238E27FC236}">
                  <a16:creationId xmlns:a16="http://schemas.microsoft.com/office/drawing/2014/main" id="{C77BFBAD-B817-8827-82F8-D4B45C9E70C7}"/>
                </a:ext>
              </a:extLst>
            </p:cNvPr>
            <p:cNvGrpSpPr>
              <a:grpSpLocks/>
            </p:cNvGrpSpPr>
            <p:nvPr/>
          </p:nvGrpSpPr>
          <p:grpSpPr bwMode="auto">
            <a:xfrm>
              <a:off x="7125039" y="3588066"/>
              <a:ext cx="66336" cy="504550"/>
              <a:chOff x="6982164" y="3581400"/>
              <a:chExt cx="66336" cy="2027514"/>
            </a:xfrm>
          </p:grpSpPr>
          <p:cxnSp>
            <p:nvCxnSpPr>
              <p:cNvPr id="49" name="Straight Connector 48">
                <a:extLst>
                  <a:ext uri="{FF2B5EF4-FFF2-40B4-BE49-F238E27FC236}">
                    <a16:creationId xmlns:a16="http://schemas.microsoft.com/office/drawing/2014/main" id="{5750DF42-65F9-4255-8C6C-672524BEDC2D}"/>
                  </a:ext>
                </a:extLst>
              </p:cNvPr>
              <p:cNvCxnSpPr>
                <a:cxnSpLocks/>
              </p:cNvCxnSpPr>
              <p:nvPr/>
            </p:nvCxnSpPr>
            <p:spPr>
              <a:xfrm flipV="1">
                <a:off x="6985339" y="3579020"/>
                <a:ext cx="0" cy="2029657"/>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6140" name="Group 49">
                <a:extLst>
                  <a:ext uri="{FF2B5EF4-FFF2-40B4-BE49-F238E27FC236}">
                    <a16:creationId xmlns:a16="http://schemas.microsoft.com/office/drawing/2014/main" id="{B2A22005-2BD1-7A8E-0466-259E5DC76D43}"/>
                  </a:ext>
                </a:extLst>
              </p:cNvPr>
              <p:cNvGrpSpPr>
                <a:grpSpLocks/>
              </p:cNvGrpSpPr>
              <p:nvPr/>
            </p:nvGrpSpPr>
            <p:grpSpPr bwMode="auto">
              <a:xfrm>
                <a:off x="6982164" y="3581400"/>
                <a:ext cx="66336" cy="2027514"/>
                <a:chOff x="6190128" y="3581400"/>
                <a:chExt cx="2027514" cy="2027514"/>
              </a:xfrm>
            </p:grpSpPr>
            <p:cxnSp>
              <p:nvCxnSpPr>
                <p:cNvPr id="51" name="Straight Connector 50">
                  <a:extLst>
                    <a:ext uri="{FF2B5EF4-FFF2-40B4-BE49-F238E27FC236}">
                      <a16:creationId xmlns:a16="http://schemas.microsoft.com/office/drawing/2014/main" id="{C391AFDD-650E-9E96-7D0F-DD8C785FAB14}"/>
                    </a:ext>
                  </a:extLst>
                </p:cNvPr>
                <p:cNvCxnSpPr>
                  <a:cxnSpLocks/>
                </p:cNvCxnSpPr>
                <p:nvPr/>
              </p:nvCxnSpPr>
              <p:spPr>
                <a:xfrm rot="5400000" flipV="1">
                  <a:off x="7209235" y="2559927"/>
                  <a:ext cx="0" cy="203818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BDF03D2-FE00-5BC6-D208-AEB9B8129F75}"/>
                    </a:ext>
                  </a:extLst>
                </p:cNvPr>
                <p:cNvCxnSpPr>
                  <a:cxnSpLocks/>
                </p:cNvCxnSpPr>
                <p:nvPr/>
              </p:nvCxnSpPr>
              <p:spPr>
                <a:xfrm rot="5400000" flipV="1">
                  <a:off x="7209235" y="4589584"/>
                  <a:ext cx="0" cy="2038183"/>
                </a:xfrm>
                <a:prstGeom prst="line">
                  <a:avLst/>
                </a:prstGeom>
                <a:ln w="3175"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grpSp>
      <p:grpSp>
        <p:nvGrpSpPr>
          <p:cNvPr id="46086" name="Group 62">
            <a:extLst>
              <a:ext uri="{FF2B5EF4-FFF2-40B4-BE49-F238E27FC236}">
                <a16:creationId xmlns:a16="http://schemas.microsoft.com/office/drawing/2014/main" id="{F3166147-A999-95B0-09D9-83ED379B8814}"/>
              </a:ext>
            </a:extLst>
          </p:cNvPr>
          <p:cNvGrpSpPr>
            <a:grpSpLocks/>
          </p:cNvGrpSpPr>
          <p:nvPr/>
        </p:nvGrpSpPr>
        <p:grpSpPr bwMode="auto">
          <a:xfrm>
            <a:off x="9191625" y="2813050"/>
            <a:ext cx="1350963" cy="376238"/>
            <a:chOff x="10407311" y="3606295"/>
            <a:chExt cx="1351392" cy="376041"/>
          </a:xfrm>
        </p:grpSpPr>
        <p:grpSp>
          <p:nvGrpSpPr>
            <p:cNvPr id="46126" name="Group 63">
              <a:extLst>
                <a:ext uri="{FF2B5EF4-FFF2-40B4-BE49-F238E27FC236}">
                  <a16:creationId xmlns:a16="http://schemas.microsoft.com/office/drawing/2014/main" id="{195AE829-E9BC-1885-327D-1F62F85261E7}"/>
                </a:ext>
              </a:extLst>
            </p:cNvPr>
            <p:cNvGrpSpPr>
              <a:grpSpLocks/>
            </p:cNvGrpSpPr>
            <p:nvPr/>
          </p:nvGrpSpPr>
          <p:grpSpPr bwMode="auto">
            <a:xfrm>
              <a:off x="10407311" y="3606295"/>
              <a:ext cx="297214" cy="376041"/>
              <a:chOff x="4206584" y="3288722"/>
              <a:chExt cx="297214" cy="376041"/>
            </a:xfrm>
          </p:grpSpPr>
          <p:sp>
            <p:nvSpPr>
              <p:cNvPr id="46133" name="Freeform: Shape 70">
                <a:extLst>
                  <a:ext uri="{FF2B5EF4-FFF2-40B4-BE49-F238E27FC236}">
                    <a16:creationId xmlns:a16="http://schemas.microsoft.com/office/drawing/2014/main" id="{175805CA-D691-3D7A-C716-D792FF34EC38}"/>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4" name="Freeform: Shape 71">
                <a:extLst>
                  <a:ext uri="{FF2B5EF4-FFF2-40B4-BE49-F238E27FC236}">
                    <a16:creationId xmlns:a16="http://schemas.microsoft.com/office/drawing/2014/main" id="{F3587FAE-4F9E-46B4-4A76-311D30D9F53B}"/>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27" name="Group 64">
              <a:extLst>
                <a:ext uri="{FF2B5EF4-FFF2-40B4-BE49-F238E27FC236}">
                  <a16:creationId xmlns:a16="http://schemas.microsoft.com/office/drawing/2014/main" id="{5FFF207B-7E14-1E28-84E8-9AEF53F2EA0C}"/>
                </a:ext>
              </a:extLst>
            </p:cNvPr>
            <p:cNvGrpSpPr>
              <a:grpSpLocks/>
            </p:cNvGrpSpPr>
            <p:nvPr/>
          </p:nvGrpSpPr>
          <p:grpSpPr bwMode="auto">
            <a:xfrm>
              <a:off x="10934400" y="3606295"/>
              <a:ext cx="297214" cy="376041"/>
              <a:chOff x="4206584" y="3288722"/>
              <a:chExt cx="297214" cy="376041"/>
            </a:xfrm>
          </p:grpSpPr>
          <p:sp>
            <p:nvSpPr>
              <p:cNvPr id="46131" name="Freeform: Shape 68">
                <a:extLst>
                  <a:ext uri="{FF2B5EF4-FFF2-40B4-BE49-F238E27FC236}">
                    <a16:creationId xmlns:a16="http://schemas.microsoft.com/office/drawing/2014/main" id="{B022D6CF-F714-B4FF-8889-5BC6F5D311D1}"/>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2" name="Freeform: Shape 69">
                <a:extLst>
                  <a:ext uri="{FF2B5EF4-FFF2-40B4-BE49-F238E27FC236}">
                    <a16:creationId xmlns:a16="http://schemas.microsoft.com/office/drawing/2014/main" id="{49544E63-5388-6765-D0C4-6389F2776D82}"/>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nvGrpSpPr>
            <p:cNvPr id="46128" name="Group 65">
              <a:extLst>
                <a:ext uri="{FF2B5EF4-FFF2-40B4-BE49-F238E27FC236}">
                  <a16:creationId xmlns:a16="http://schemas.microsoft.com/office/drawing/2014/main" id="{A8A0A5F9-52F0-EF66-DBB0-5A365D0280C4}"/>
                </a:ext>
              </a:extLst>
            </p:cNvPr>
            <p:cNvGrpSpPr>
              <a:grpSpLocks/>
            </p:cNvGrpSpPr>
            <p:nvPr/>
          </p:nvGrpSpPr>
          <p:grpSpPr bwMode="auto">
            <a:xfrm>
              <a:off x="11461489" y="3606295"/>
              <a:ext cx="297214" cy="376041"/>
              <a:chOff x="4206584" y="3288722"/>
              <a:chExt cx="297214" cy="376041"/>
            </a:xfrm>
          </p:grpSpPr>
          <p:sp>
            <p:nvSpPr>
              <p:cNvPr id="46129" name="Freeform: Shape 66">
                <a:extLst>
                  <a:ext uri="{FF2B5EF4-FFF2-40B4-BE49-F238E27FC236}">
                    <a16:creationId xmlns:a16="http://schemas.microsoft.com/office/drawing/2014/main" id="{C569AFF1-1AC1-FFF8-8B97-33965E1D0BFF}"/>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30" name="Freeform: Shape 67">
                <a:extLst>
                  <a:ext uri="{FF2B5EF4-FFF2-40B4-BE49-F238E27FC236}">
                    <a16:creationId xmlns:a16="http://schemas.microsoft.com/office/drawing/2014/main" id="{D475D863-DB66-9BF4-8E6C-54FC4537739B}"/>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grpSp>
      <p:sp>
        <p:nvSpPr>
          <p:cNvPr id="46087" name="Text Placeholder 33">
            <a:extLst>
              <a:ext uri="{FF2B5EF4-FFF2-40B4-BE49-F238E27FC236}">
                <a16:creationId xmlns:a16="http://schemas.microsoft.com/office/drawing/2014/main" id="{B75269D0-8620-7A27-72F0-403BE765627C}"/>
              </a:ext>
            </a:extLst>
          </p:cNvPr>
          <p:cNvSpPr txBox="1">
            <a:spLocks noChangeArrowheads="1"/>
          </p:cNvSpPr>
          <p:nvPr/>
        </p:nvSpPr>
        <p:spPr bwMode="auto">
          <a:xfrm>
            <a:off x="5253038" y="6229350"/>
            <a:ext cx="9588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Attended Robot</a:t>
            </a:r>
          </a:p>
        </p:txBody>
      </p:sp>
      <p:grpSp>
        <p:nvGrpSpPr>
          <p:cNvPr id="46088" name="Group 73">
            <a:extLst>
              <a:ext uri="{FF2B5EF4-FFF2-40B4-BE49-F238E27FC236}">
                <a16:creationId xmlns:a16="http://schemas.microsoft.com/office/drawing/2014/main" id="{A6D1941E-81B2-A2E6-9B40-8FED3A2100B2}"/>
              </a:ext>
            </a:extLst>
          </p:cNvPr>
          <p:cNvGrpSpPr>
            <a:grpSpLocks/>
          </p:cNvGrpSpPr>
          <p:nvPr/>
        </p:nvGrpSpPr>
        <p:grpSpPr bwMode="auto">
          <a:xfrm>
            <a:off x="4870450" y="6103938"/>
            <a:ext cx="246063" cy="314325"/>
            <a:chOff x="4206584" y="3284990"/>
            <a:chExt cx="297214" cy="379773"/>
          </a:xfrm>
        </p:grpSpPr>
        <p:sp>
          <p:nvSpPr>
            <p:cNvPr id="46124" name="Freeform: Shape 74">
              <a:extLst>
                <a:ext uri="{FF2B5EF4-FFF2-40B4-BE49-F238E27FC236}">
                  <a16:creationId xmlns:a16="http://schemas.microsoft.com/office/drawing/2014/main" id="{3AC90862-AB71-FD46-57D0-1DF04961C6CF}"/>
                </a:ext>
              </a:extLst>
            </p:cNvPr>
            <p:cNvSpPr>
              <a:spLocks/>
            </p:cNvSpPr>
            <p:nvPr/>
          </p:nvSpPr>
          <p:spPr bwMode="auto">
            <a:xfrm>
              <a:off x="4268625" y="3284990"/>
              <a:ext cx="165119" cy="107327"/>
            </a:xfrm>
            <a:custGeom>
              <a:avLst/>
              <a:gdLst>
                <a:gd name="T0" fmla="*/ 94914 w 159623"/>
                <a:gd name="T1" fmla="*/ 131688 h 103755"/>
                <a:gd name="T2" fmla="*/ 65321 w 159623"/>
                <a:gd name="T3" fmla="*/ 131688 h 103755"/>
                <a:gd name="T4" fmla="*/ 65321 w 159623"/>
                <a:gd name="T5" fmla="*/ 102094 h 103755"/>
                <a:gd name="T6" fmla="*/ 109712 w 159623"/>
                <a:gd name="T7" fmla="*/ 83705 h 103755"/>
                <a:gd name="T8" fmla="*/ 153970 w 159623"/>
                <a:gd name="T9" fmla="*/ 101957 h 103755"/>
                <a:gd name="T10" fmla="*/ 154059 w 159623"/>
                <a:gd name="T11" fmla="*/ 131554 h 103755"/>
                <a:gd name="T12" fmla="*/ 124465 w 159623"/>
                <a:gd name="T13" fmla="*/ 131640 h 103755"/>
                <a:gd name="T14" fmla="*/ 109712 w 159623"/>
                <a:gd name="T15" fmla="*/ 125559 h 103755"/>
                <a:gd name="T16" fmla="*/ 94914 w 159623"/>
                <a:gd name="T17" fmla="*/ 131688 h 103755"/>
                <a:gd name="T18" fmla="*/ 35725 w 159623"/>
                <a:gd name="T19" fmla="*/ 72499 h 103755"/>
                <a:gd name="T20" fmla="*/ 6129 w 159623"/>
                <a:gd name="T21" fmla="*/ 72499 h 103755"/>
                <a:gd name="T22" fmla="*/ 6129 w 159623"/>
                <a:gd name="T23" fmla="*/ 42906 h 103755"/>
                <a:gd name="T24" fmla="*/ 109712 w 159623"/>
                <a:gd name="T25" fmla="*/ 0 h 103755"/>
                <a:gd name="T26" fmla="*/ 212977 w 159623"/>
                <a:gd name="T27" fmla="*/ 42588 h 103755"/>
                <a:gd name="T28" fmla="*/ 213069 w 159623"/>
                <a:gd name="T29" fmla="*/ 72181 h 103755"/>
                <a:gd name="T30" fmla="*/ 183473 w 159623"/>
                <a:gd name="T31" fmla="*/ 72272 h 103755"/>
                <a:gd name="T32" fmla="*/ 109712 w 159623"/>
                <a:gd name="T33" fmla="*/ 41854 h 103755"/>
                <a:gd name="T34" fmla="*/ 35725 w 159623"/>
                <a:gd name="T35" fmla="*/ 72499 h 1037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9623" h="103755">
                  <a:moveTo>
                    <a:pt x="72397" y="100449"/>
                  </a:moveTo>
                  <a:cubicBezTo>
                    <a:pt x="66163" y="106683"/>
                    <a:pt x="56057" y="106683"/>
                    <a:pt x="49824" y="100449"/>
                  </a:cubicBezTo>
                  <a:cubicBezTo>
                    <a:pt x="43589" y="94215"/>
                    <a:pt x="43589" y="84109"/>
                    <a:pt x="49824" y="77875"/>
                  </a:cubicBezTo>
                  <a:cubicBezTo>
                    <a:pt x="58735" y="68963"/>
                    <a:pt x="70825" y="63849"/>
                    <a:pt x="83684" y="63849"/>
                  </a:cubicBezTo>
                  <a:cubicBezTo>
                    <a:pt x="96493" y="63849"/>
                    <a:pt x="108538" y="68922"/>
                    <a:pt x="117442" y="77771"/>
                  </a:cubicBezTo>
                  <a:cubicBezTo>
                    <a:pt x="123695" y="83987"/>
                    <a:pt x="123725" y="94093"/>
                    <a:pt x="117511" y="100345"/>
                  </a:cubicBezTo>
                  <a:cubicBezTo>
                    <a:pt x="111296" y="106598"/>
                    <a:pt x="101189" y="106629"/>
                    <a:pt x="94936" y="100414"/>
                  </a:cubicBezTo>
                  <a:cubicBezTo>
                    <a:pt x="91955" y="97451"/>
                    <a:pt x="87973" y="95774"/>
                    <a:pt x="83684" y="95774"/>
                  </a:cubicBezTo>
                  <a:cubicBezTo>
                    <a:pt x="79379" y="95774"/>
                    <a:pt x="75382" y="97464"/>
                    <a:pt x="72397" y="100449"/>
                  </a:cubicBezTo>
                  <a:close/>
                  <a:moveTo>
                    <a:pt x="27249" y="55301"/>
                  </a:moveTo>
                  <a:cubicBezTo>
                    <a:pt x="21016" y="61535"/>
                    <a:pt x="10909" y="61535"/>
                    <a:pt x="4675" y="55301"/>
                  </a:cubicBezTo>
                  <a:cubicBezTo>
                    <a:pt x="-1558" y="49067"/>
                    <a:pt x="-1558" y="38960"/>
                    <a:pt x="4675" y="32727"/>
                  </a:cubicBezTo>
                  <a:cubicBezTo>
                    <a:pt x="25484" y="11918"/>
                    <a:pt x="53661" y="0"/>
                    <a:pt x="83684" y="0"/>
                  </a:cubicBezTo>
                  <a:cubicBezTo>
                    <a:pt x="113588" y="0"/>
                    <a:pt x="141663" y="11823"/>
                    <a:pt x="162451" y="32485"/>
                  </a:cubicBezTo>
                  <a:cubicBezTo>
                    <a:pt x="168704" y="38700"/>
                    <a:pt x="168735" y="48806"/>
                    <a:pt x="162520" y="55059"/>
                  </a:cubicBezTo>
                  <a:cubicBezTo>
                    <a:pt x="156306" y="61312"/>
                    <a:pt x="146198" y="61342"/>
                    <a:pt x="139946" y="55128"/>
                  </a:cubicBezTo>
                  <a:cubicBezTo>
                    <a:pt x="125079" y="40352"/>
                    <a:pt x="105068" y="31925"/>
                    <a:pt x="83684" y="31925"/>
                  </a:cubicBezTo>
                  <a:cubicBezTo>
                    <a:pt x="62215" y="31925"/>
                    <a:pt x="42131" y="40420"/>
                    <a:pt x="27249" y="55301"/>
                  </a:cubicBezTo>
                  <a:close/>
                </a:path>
              </a:pathLst>
            </a:custGeom>
            <a:solidFill>
              <a:schemeClr val="accent1"/>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25" name="Freeform: Shape 75">
              <a:extLst>
                <a:ext uri="{FF2B5EF4-FFF2-40B4-BE49-F238E27FC236}">
                  <a16:creationId xmlns:a16="http://schemas.microsoft.com/office/drawing/2014/main" id="{8955E2AF-C1D0-DCA0-D5F5-AD78E4D37D95}"/>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grpSp>
      <p:sp>
        <p:nvSpPr>
          <p:cNvPr id="46089" name="Text Placeholder 33">
            <a:extLst>
              <a:ext uri="{FF2B5EF4-FFF2-40B4-BE49-F238E27FC236}">
                <a16:creationId xmlns:a16="http://schemas.microsoft.com/office/drawing/2014/main" id="{A218F014-5465-2BDB-ED30-67D924AADA63}"/>
              </a:ext>
            </a:extLst>
          </p:cNvPr>
          <p:cNvSpPr txBox="1">
            <a:spLocks noChangeArrowheads="1"/>
          </p:cNvSpPr>
          <p:nvPr/>
        </p:nvSpPr>
        <p:spPr bwMode="auto">
          <a:xfrm>
            <a:off x="7158038" y="6229350"/>
            <a:ext cx="11160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Unattended Robot</a:t>
            </a:r>
          </a:p>
        </p:txBody>
      </p:sp>
      <p:grpSp>
        <p:nvGrpSpPr>
          <p:cNvPr id="46090" name="Group 77">
            <a:extLst>
              <a:ext uri="{FF2B5EF4-FFF2-40B4-BE49-F238E27FC236}">
                <a16:creationId xmlns:a16="http://schemas.microsoft.com/office/drawing/2014/main" id="{20045F10-7514-FACF-C164-74A4BD0CFAF7}"/>
              </a:ext>
            </a:extLst>
          </p:cNvPr>
          <p:cNvGrpSpPr>
            <a:grpSpLocks/>
          </p:cNvGrpSpPr>
          <p:nvPr/>
        </p:nvGrpSpPr>
        <p:grpSpPr bwMode="auto">
          <a:xfrm>
            <a:off x="6775450" y="6107113"/>
            <a:ext cx="246063" cy="311150"/>
            <a:chOff x="4206584" y="3288722"/>
            <a:chExt cx="297214" cy="376041"/>
          </a:xfrm>
        </p:grpSpPr>
        <p:sp>
          <p:nvSpPr>
            <p:cNvPr id="46122" name="Freeform: Shape 78">
              <a:extLst>
                <a:ext uri="{FF2B5EF4-FFF2-40B4-BE49-F238E27FC236}">
                  <a16:creationId xmlns:a16="http://schemas.microsoft.com/office/drawing/2014/main" id="{36098596-F803-C343-0461-A8CDC24CE691}"/>
                </a:ext>
              </a:extLst>
            </p:cNvPr>
            <p:cNvSpPr>
              <a:spLocks/>
            </p:cNvSpPr>
            <p:nvPr/>
          </p:nvSpPr>
          <p:spPr bwMode="auto">
            <a:xfrm>
              <a:off x="4206584" y="3433597"/>
              <a:ext cx="297214" cy="231166"/>
            </a:xfrm>
            <a:custGeom>
              <a:avLst/>
              <a:gdLst>
                <a:gd name="T0" fmla="*/ 82559 w 297214"/>
                <a:gd name="T1" fmla="*/ 66047 h 231166"/>
                <a:gd name="T2" fmla="*/ 214655 w 297214"/>
                <a:gd name="T3" fmla="*/ 66047 h 231166"/>
                <a:gd name="T4" fmla="*/ 231167 w 297214"/>
                <a:gd name="T5" fmla="*/ 82560 h 231166"/>
                <a:gd name="T6" fmla="*/ 214655 w 297214"/>
                <a:gd name="T7" fmla="*/ 99072 h 231166"/>
                <a:gd name="T8" fmla="*/ 82559 w 297214"/>
                <a:gd name="T9" fmla="*/ 99072 h 231166"/>
                <a:gd name="T10" fmla="*/ 66048 w 297214"/>
                <a:gd name="T11" fmla="*/ 82560 h 231166"/>
                <a:gd name="T12" fmla="*/ 82559 w 297214"/>
                <a:gd name="T13" fmla="*/ 66047 h 231166"/>
                <a:gd name="T14" fmla="*/ 45867 w 297214"/>
                <a:gd name="T15" fmla="*/ 0 h 231166"/>
                <a:gd name="T16" fmla="*/ 119253 w 297214"/>
                <a:gd name="T17" fmla="*/ 0 h 231166"/>
                <a:gd name="T18" fmla="*/ 135764 w 297214"/>
                <a:gd name="T19" fmla="*/ 16512 h 231166"/>
                <a:gd name="T20" fmla="*/ 119253 w 297214"/>
                <a:gd name="T21" fmla="*/ 33024 h 231166"/>
                <a:gd name="T22" fmla="*/ 45867 w 297214"/>
                <a:gd name="T23" fmla="*/ 33024 h 231166"/>
                <a:gd name="T24" fmla="*/ 33023 w 297214"/>
                <a:gd name="T25" fmla="*/ 49536 h 231166"/>
                <a:gd name="T26" fmla="*/ 33023 w 297214"/>
                <a:gd name="T27" fmla="*/ 181630 h 231166"/>
                <a:gd name="T28" fmla="*/ 45867 w 297214"/>
                <a:gd name="T29" fmla="*/ 198143 h 231166"/>
                <a:gd name="T30" fmla="*/ 251348 w 297214"/>
                <a:gd name="T31" fmla="*/ 198143 h 231166"/>
                <a:gd name="T32" fmla="*/ 264191 w 297214"/>
                <a:gd name="T33" fmla="*/ 181630 h 231166"/>
                <a:gd name="T34" fmla="*/ 264191 w 297214"/>
                <a:gd name="T35" fmla="*/ 49536 h 231166"/>
                <a:gd name="T36" fmla="*/ 251348 w 297214"/>
                <a:gd name="T37" fmla="*/ 33024 h 231166"/>
                <a:gd name="T38" fmla="*/ 177962 w 297214"/>
                <a:gd name="T39" fmla="*/ 33024 h 231166"/>
                <a:gd name="T40" fmla="*/ 161450 w 297214"/>
                <a:gd name="T41" fmla="*/ 16512 h 231166"/>
                <a:gd name="T42" fmla="*/ 177962 w 297214"/>
                <a:gd name="T43" fmla="*/ 0 h 231166"/>
                <a:gd name="T44" fmla="*/ 251348 w 297214"/>
                <a:gd name="T45" fmla="*/ 0 h 231166"/>
                <a:gd name="T46" fmla="*/ 297214 w 297214"/>
                <a:gd name="T47" fmla="*/ 49536 h 231166"/>
                <a:gd name="T48" fmla="*/ 297214 w 297214"/>
                <a:gd name="T49" fmla="*/ 181630 h 231166"/>
                <a:gd name="T50" fmla="*/ 251348 w 297214"/>
                <a:gd name="T51" fmla="*/ 231166 h 231166"/>
                <a:gd name="T52" fmla="*/ 45867 w 297214"/>
                <a:gd name="T53" fmla="*/ 231166 h 231166"/>
                <a:gd name="T54" fmla="*/ 0 w 297214"/>
                <a:gd name="T55" fmla="*/ 181630 h 231166"/>
                <a:gd name="T56" fmla="*/ 0 w 297214"/>
                <a:gd name="T57" fmla="*/ 49536 h 231166"/>
                <a:gd name="T58" fmla="*/ 45867 w 297214"/>
                <a:gd name="T59" fmla="*/ 0 h 231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97214" h="231166">
                  <a:moveTo>
                    <a:pt x="82559" y="66047"/>
                  </a:moveTo>
                  <a:lnTo>
                    <a:pt x="214655" y="66047"/>
                  </a:lnTo>
                  <a:cubicBezTo>
                    <a:pt x="223775" y="66047"/>
                    <a:pt x="231167" y="73440"/>
                    <a:pt x="231167" y="82560"/>
                  </a:cubicBezTo>
                  <a:cubicBezTo>
                    <a:pt x="231167" y="91680"/>
                    <a:pt x="223775" y="99072"/>
                    <a:pt x="214655" y="99072"/>
                  </a:cubicBezTo>
                  <a:lnTo>
                    <a:pt x="82559" y="99072"/>
                  </a:lnTo>
                  <a:cubicBezTo>
                    <a:pt x="73440" y="99072"/>
                    <a:pt x="66048" y="91680"/>
                    <a:pt x="66048" y="82560"/>
                  </a:cubicBezTo>
                  <a:cubicBezTo>
                    <a:pt x="66048" y="73440"/>
                    <a:pt x="73440" y="66047"/>
                    <a:pt x="82559" y="66047"/>
                  </a:cubicBezTo>
                  <a:close/>
                  <a:moveTo>
                    <a:pt x="45867" y="0"/>
                  </a:moveTo>
                  <a:lnTo>
                    <a:pt x="119253" y="0"/>
                  </a:lnTo>
                  <a:cubicBezTo>
                    <a:pt x="128372" y="0"/>
                    <a:pt x="135764" y="7392"/>
                    <a:pt x="135764" y="16512"/>
                  </a:cubicBezTo>
                  <a:cubicBezTo>
                    <a:pt x="135764" y="25631"/>
                    <a:pt x="128372" y="33024"/>
                    <a:pt x="119253" y="33024"/>
                  </a:cubicBezTo>
                  <a:lnTo>
                    <a:pt x="45867" y="33024"/>
                  </a:lnTo>
                  <a:cubicBezTo>
                    <a:pt x="39234" y="33024"/>
                    <a:pt x="33023" y="40012"/>
                    <a:pt x="33023" y="49536"/>
                  </a:cubicBezTo>
                  <a:lnTo>
                    <a:pt x="33023" y="181630"/>
                  </a:lnTo>
                  <a:cubicBezTo>
                    <a:pt x="33023" y="191154"/>
                    <a:pt x="39234" y="198143"/>
                    <a:pt x="45867" y="198143"/>
                  </a:cubicBezTo>
                  <a:lnTo>
                    <a:pt x="251348" y="198143"/>
                  </a:lnTo>
                  <a:cubicBezTo>
                    <a:pt x="257979" y="198143"/>
                    <a:pt x="264191" y="191154"/>
                    <a:pt x="264191" y="181630"/>
                  </a:cubicBezTo>
                  <a:lnTo>
                    <a:pt x="264191" y="49536"/>
                  </a:lnTo>
                  <a:cubicBezTo>
                    <a:pt x="264191" y="40012"/>
                    <a:pt x="257979" y="33024"/>
                    <a:pt x="251348" y="33024"/>
                  </a:cubicBezTo>
                  <a:lnTo>
                    <a:pt x="177962" y="33024"/>
                  </a:lnTo>
                  <a:cubicBezTo>
                    <a:pt x="168842" y="33024"/>
                    <a:pt x="161450" y="25631"/>
                    <a:pt x="161450" y="16512"/>
                  </a:cubicBezTo>
                  <a:cubicBezTo>
                    <a:pt x="161450" y="7392"/>
                    <a:pt x="168842" y="0"/>
                    <a:pt x="177962" y="0"/>
                  </a:cubicBezTo>
                  <a:lnTo>
                    <a:pt x="251348" y="0"/>
                  </a:lnTo>
                  <a:cubicBezTo>
                    <a:pt x="277141" y="0"/>
                    <a:pt x="297214" y="22583"/>
                    <a:pt x="297214" y="49536"/>
                  </a:cubicBezTo>
                  <a:lnTo>
                    <a:pt x="297214" y="181630"/>
                  </a:lnTo>
                  <a:cubicBezTo>
                    <a:pt x="297214" y="208585"/>
                    <a:pt x="277141" y="231166"/>
                    <a:pt x="251348" y="231166"/>
                  </a:cubicBezTo>
                  <a:lnTo>
                    <a:pt x="45867" y="231166"/>
                  </a:lnTo>
                  <a:cubicBezTo>
                    <a:pt x="20073" y="231166"/>
                    <a:pt x="0" y="208585"/>
                    <a:pt x="0" y="181630"/>
                  </a:cubicBezTo>
                  <a:lnTo>
                    <a:pt x="0" y="49536"/>
                  </a:lnTo>
                  <a:cubicBezTo>
                    <a:pt x="0" y="22583"/>
                    <a:pt x="20073" y="0"/>
                    <a:pt x="45867" y="0"/>
                  </a:cubicBezTo>
                  <a:close/>
                </a:path>
              </a:pathLst>
            </a:custGeom>
            <a:solidFill>
              <a:schemeClr val="accent2"/>
            </a:solidFill>
            <a:ln>
              <a:noFill/>
            </a:ln>
            <a:extLst>
              <a:ext uri="{91240B29-F687-4F45-9708-019B960494DF}">
                <a14:hiddenLine xmlns:a14="http://schemas.microsoft.com/office/drawing/2010/main" w="7888" cap="flat">
                  <a:solidFill>
                    <a:srgbClr val="000000"/>
                  </a:solidFill>
                  <a:prstDash val="solid"/>
                  <a:miter lim="800000"/>
                  <a:headEnd/>
                  <a:tailEnd/>
                </a14:hiddenLine>
              </a:ext>
            </a:extLst>
          </p:spPr>
          <p:txBody>
            <a:bodyPr anchor="ctr"/>
            <a:lstStyle/>
            <a:p>
              <a:endParaRPr lang="en-IN"/>
            </a:p>
          </p:txBody>
        </p:sp>
        <p:sp>
          <p:nvSpPr>
            <p:cNvPr id="46123" name="Freeform: Shape 79">
              <a:extLst>
                <a:ext uri="{FF2B5EF4-FFF2-40B4-BE49-F238E27FC236}">
                  <a16:creationId xmlns:a16="http://schemas.microsoft.com/office/drawing/2014/main" id="{D253C9C8-2836-B219-0E61-F255B11ACE73}"/>
                </a:ext>
              </a:extLst>
            </p:cNvPr>
            <p:cNvSpPr>
              <a:spLocks/>
            </p:cNvSpPr>
            <p:nvPr/>
          </p:nvSpPr>
          <p:spPr bwMode="auto">
            <a:xfrm>
              <a:off x="4310614" y="3288722"/>
              <a:ext cx="89154" cy="118872"/>
            </a:xfrm>
            <a:custGeom>
              <a:avLst/>
              <a:gdLst>
                <a:gd name="T0" fmla="*/ 59436 w 89154"/>
                <a:gd name="T1" fmla="*/ 86618 h 118872"/>
                <a:gd name="T2" fmla="*/ 59436 w 89154"/>
                <a:gd name="T3" fmla="*/ 104013 h 118872"/>
                <a:gd name="T4" fmla="*/ 44577 w 89154"/>
                <a:gd name="T5" fmla="*/ 118872 h 118872"/>
                <a:gd name="T6" fmla="*/ 29718 w 89154"/>
                <a:gd name="T7" fmla="*/ 104013 h 118872"/>
                <a:gd name="T8" fmla="*/ 29718 w 89154"/>
                <a:gd name="T9" fmla="*/ 86618 h 118872"/>
                <a:gd name="T10" fmla="*/ 0 w 89154"/>
                <a:gd name="T11" fmla="*/ 44577 h 118872"/>
                <a:gd name="T12" fmla="*/ 44577 w 89154"/>
                <a:gd name="T13" fmla="*/ 0 h 118872"/>
                <a:gd name="T14" fmla="*/ 89154 w 89154"/>
                <a:gd name="T15" fmla="*/ 44577 h 118872"/>
                <a:gd name="T16" fmla="*/ 59436 w 89154"/>
                <a:gd name="T17" fmla="*/ 86618 h 118872"/>
                <a:gd name="T18" fmla="*/ 44577 w 89154"/>
                <a:gd name="T19" fmla="*/ 29718 h 118872"/>
                <a:gd name="T20" fmla="*/ 29718 w 89154"/>
                <a:gd name="T21" fmla="*/ 44577 h 118872"/>
                <a:gd name="T22" fmla="*/ 44577 w 89154"/>
                <a:gd name="T23" fmla="*/ 59436 h 118872"/>
                <a:gd name="T24" fmla="*/ 59436 w 89154"/>
                <a:gd name="T25" fmla="*/ 44577 h 118872"/>
                <a:gd name="T26" fmla="*/ 44577 w 89154"/>
                <a:gd name="T27" fmla="*/ 29718 h 1188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9154" h="118872">
                  <a:moveTo>
                    <a:pt x="59436" y="86618"/>
                  </a:moveTo>
                  <a:lnTo>
                    <a:pt x="59436" y="104013"/>
                  </a:lnTo>
                  <a:cubicBezTo>
                    <a:pt x="59436" y="112220"/>
                    <a:pt x="52784" y="118872"/>
                    <a:pt x="44577" y="118872"/>
                  </a:cubicBezTo>
                  <a:cubicBezTo>
                    <a:pt x="36370" y="118872"/>
                    <a:pt x="29718" y="112220"/>
                    <a:pt x="29718" y="104013"/>
                  </a:cubicBezTo>
                  <a:lnTo>
                    <a:pt x="29718" y="86618"/>
                  </a:lnTo>
                  <a:cubicBezTo>
                    <a:pt x="12404" y="80498"/>
                    <a:pt x="0" y="63986"/>
                    <a:pt x="0" y="44577"/>
                  </a:cubicBezTo>
                  <a:cubicBezTo>
                    <a:pt x="0" y="19958"/>
                    <a:pt x="19958" y="0"/>
                    <a:pt x="44577" y="0"/>
                  </a:cubicBezTo>
                  <a:cubicBezTo>
                    <a:pt x="69196" y="0"/>
                    <a:pt x="89154" y="19958"/>
                    <a:pt x="89154" y="44577"/>
                  </a:cubicBezTo>
                  <a:cubicBezTo>
                    <a:pt x="89154" y="63986"/>
                    <a:pt x="76750" y="80498"/>
                    <a:pt x="59436" y="86618"/>
                  </a:cubicBezTo>
                  <a:close/>
                  <a:moveTo>
                    <a:pt x="44577" y="29718"/>
                  </a:moveTo>
                  <a:cubicBezTo>
                    <a:pt x="36370" y="29718"/>
                    <a:pt x="29718" y="36371"/>
                    <a:pt x="29718" y="44577"/>
                  </a:cubicBezTo>
                  <a:cubicBezTo>
                    <a:pt x="29718" y="52783"/>
                    <a:pt x="36370" y="59436"/>
                    <a:pt x="44577" y="59436"/>
                  </a:cubicBezTo>
                  <a:cubicBezTo>
                    <a:pt x="52784" y="59436"/>
                    <a:pt x="59436" y="52783"/>
                    <a:pt x="59436" y="44577"/>
                  </a:cubicBezTo>
                  <a:cubicBezTo>
                    <a:pt x="59436" y="36371"/>
                    <a:pt x="52784" y="29718"/>
                    <a:pt x="44577" y="29718"/>
                  </a:cubicBezTo>
                  <a:close/>
                </a:path>
              </a:pathLst>
            </a:custGeom>
            <a:solidFill>
              <a:srgbClr val="FA4616"/>
            </a:solidFill>
            <a:ln>
              <a:noFill/>
            </a:ln>
            <a:extLst>
              <a:ext uri="{91240B29-F687-4F45-9708-019B960494DF}">
                <a14:hiddenLine xmlns:a14="http://schemas.microsoft.com/office/drawing/2010/main" w="7293" cap="flat">
                  <a:solidFill>
                    <a:srgbClr val="000000"/>
                  </a:solidFill>
                  <a:prstDash val="solid"/>
                  <a:miter lim="800000"/>
                  <a:headEnd/>
                  <a:tailEnd/>
                </a14:hiddenLine>
              </a:ext>
            </a:extLst>
          </p:spPr>
          <p:txBody>
            <a:bodyPr anchor="ctr"/>
            <a:lstStyle/>
            <a:p>
              <a:endParaRPr lang="en-IN"/>
            </a:p>
          </p:txBody>
        </p:sp>
      </p:grpSp>
      <p:cxnSp>
        <p:nvCxnSpPr>
          <p:cNvPr id="81" name="Straight Connector 80">
            <a:extLst>
              <a:ext uri="{FF2B5EF4-FFF2-40B4-BE49-F238E27FC236}">
                <a16:creationId xmlns:a16="http://schemas.microsoft.com/office/drawing/2014/main" id="{B40CF420-B4F3-8884-3D2C-14B63BDFAF1A}"/>
              </a:ext>
            </a:extLst>
          </p:cNvPr>
          <p:cNvCxnSpPr>
            <a:cxnSpLocks/>
          </p:cNvCxnSpPr>
          <p:nvPr/>
        </p:nvCxnSpPr>
        <p:spPr>
          <a:xfrm>
            <a:off x="2573338" y="5848350"/>
            <a:ext cx="82296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2" name="Text Placeholder 33">
            <a:extLst>
              <a:ext uri="{FF2B5EF4-FFF2-40B4-BE49-F238E27FC236}">
                <a16:creationId xmlns:a16="http://schemas.microsoft.com/office/drawing/2014/main" id="{E34C77AD-7B40-FE46-9F55-01A16194A651}"/>
              </a:ext>
            </a:extLst>
          </p:cNvPr>
          <p:cNvSpPr txBox="1">
            <a:spLocks/>
          </p:cNvSpPr>
          <p:nvPr/>
        </p:nvSpPr>
        <p:spPr>
          <a:xfrm>
            <a:off x="4689475" y="1865313"/>
            <a:ext cx="1843088" cy="590550"/>
          </a:xfrm>
          <a:prstGeom prst="rect">
            <a:avLst/>
          </a:prstGeom>
          <a:solidFill>
            <a:schemeClr val="accent3"/>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Attended, </a:t>
            </a:r>
            <a:br>
              <a:rPr lang="en-US" sz="1400">
                <a:solidFill>
                  <a:schemeClr val="bg1"/>
                </a:solidFill>
                <a:sym typeface="Arial"/>
              </a:rPr>
            </a:br>
            <a:r>
              <a:rPr lang="en-US" sz="1400">
                <a:solidFill>
                  <a:schemeClr val="bg1"/>
                </a:solidFill>
                <a:sym typeface="Arial"/>
              </a:rPr>
              <a:t>In Tandem</a:t>
            </a:r>
          </a:p>
        </p:txBody>
      </p:sp>
      <p:sp>
        <p:nvSpPr>
          <p:cNvPr id="46093" name="Text Placeholder 33">
            <a:extLst>
              <a:ext uri="{FF2B5EF4-FFF2-40B4-BE49-F238E27FC236}">
                <a16:creationId xmlns:a16="http://schemas.microsoft.com/office/drawing/2014/main" id="{27474DF8-35DC-16B9-D92F-8153F2CD4040}"/>
              </a:ext>
            </a:extLst>
          </p:cNvPr>
          <p:cNvSpPr txBox="1">
            <a:spLocks noChangeArrowheads="1"/>
          </p:cNvSpPr>
          <p:nvPr/>
        </p:nvSpPr>
        <p:spPr bwMode="auto">
          <a:xfrm>
            <a:off x="4689475" y="3652838"/>
            <a:ext cx="184308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Human on computer with Robot process in background</a:t>
            </a:r>
          </a:p>
        </p:txBody>
      </p:sp>
      <p:sp>
        <p:nvSpPr>
          <p:cNvPr id="46094" name="Text Placeholder 33">
            <a:extLst>
              <a:ext uri="{FF2B5EF4-FFF2-40B4-BE49-F238E27FC236}">
                <a16:creationId xmlns:a16="http://schemas.microsoft.com/office/drawing/2014/main" id="{4EA13AAF-7CE3-E92A-2E03-3333BA271E5C}"/>
              </a:ext>
            </a:extLst>
          </p:cNvPr>
          <p:cNvSpPr txBox="1">
            <a:spLocks noChangeArrowheads="1"/>
          </p:cNvSpPr>
          <p:nvPr/>
        </p:nvSpPr>
        <p:spPr bwMode="auto">
          <a:xfrm>
            <a:off x="4689475" y="4572000"/>
            <a:ext cx="1735138"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HR Robot works with onboarding team to provision a new employee</a:t>
            </a:r>
          </a:p>
        </p:txBody>
      </p:sp>
      <p:sp>
        <p:nvSpPr>
          <p:cNvPr id="85" name="Text Placeholder 33">
            <a:extLst>
              <a:ext uri="{FF2B5EF4-FFF2-40B4-BE49-F238E27FC236}">
                <a16:creationId xmlns:a16="http://schemas.microsoft.com/office/drawing/2014/main" id="{CD3943E6-5A0F-5D17-4160-236844067EE7}"/>
              </a:ext>
            </a:extLst>
          </p:cNvPr>
          <p:cNvSpPr txBox="1">
            <a:spLocks/>
          </p:cNvSpPr>
          <p:nvPr/>
        </p:nvSpPr>
        <p:spPr>
          <a:xfrm>
            <a:off x="2573338" y="1865313"/>
            <a:ext cx="1843087" cy="590550"/>
          </a:xfrm>
          <a:prstGeom prst="rect">
            <a:avLst/>
          </a:prstGeom>
          <a:solidFill>
            <a:schemeClr val="accent1"/>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No Robots</a:t>
            </a:r>
          </a:p>
        </p:txBody>
      </p:sp>
      <p:cxnSp>
        <p:nvCxnSpPr>
          <p:cNvPr id="86" name="Straight Connector 85">
            <a:extLst>
              <a:ext uri="{FF2B5EF4-FFF2-40B4-BE49-F238E27FC236}">
                <a16:creationId xmlns:a16="http://schemas.microsoft.com/office/drawing/2014/main" id="{41DCF500-8060-6B6F-8CA6-62B2DE3E5BDB}"/>
              </a:ext>
            </a:extLst>
          </p:cNvPr>
          <p:cNvCxnSpPr>
            <a:cxnSpLocks/>
          </p:cNvCxnSpPr>
          <p:nvPr/>
        </p:nvCxnSpPr>
        <p:spPr>
          <a:xfrm rot="5400000" flipH="1">
            <a:off x="2628900"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D73DAEFD-F1CD-DDEF-0CDA-E8247029DB33}"/>
              </a:ext>
            </a:extLst>
          </p:cNvPr>
          <p:cNvCxnSpPr>
            <a:cxnSpLocks/>
          </p:cNvCxnSpPr>
          <p:nvPr/>
        </p:nvCxnSpPr>
        <p:spPr>
          <a:xfrm rot="5400000" flipH="1">
            <a:off x="4756150"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7BA03333-184A-B170-DD5D-0631FDD4ED46}"/>
              </a:ext>
            </a:extLst>
          </p:cNvPr>
          <p:cNvCxnSpPr>
            <a:cxnSpLocks/>
          </p:cNvCxnSpPr>
          <p:nvPr/>
        </p:nvCxnSpPr>
        <p:spPr>
          <a:xfrm rot="5400000" flipH="1">
            <a:off x="6862763" y="3789363"/>
            <a:ext cx="3848100"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9" name="Text Placeholder 33">
            <a:extLst>
              <a:ext uri="{FF2B5EF4-FFF2-40B4-BE49-F238E27FC236}">
                <a16:creationId xmlns:a16="http://schemas.microsoft.com/office/drawing/2014/main" id="{646908EF-5494-D429-ED9D-3980E26643A5}"/>
              </a:ext>
            </a:extLst>
          </p:cNvPr>
          <p:cNvSpPr txBox="1">
            <a:spLocks/>
          </p:cNvSpPr>
          <p:nvPr/>
        </p:nvSpPr>
        <p:spPr>
          <a:xfrm>
            <a:off x="6827838" y="1865313"/>
            <a:ext cx="1843087" cy="590550"/>
          </a:xfrm>
          <a:prstGeom prst="rect">
            <a:avLst/>
          </a:prstGeom>
          <a:solidFill>
            <a:schemeClr val="accent4"/>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Hybrid</a:t>
            </a:r>
          </a:p>
        </p:txBody>
      </p:sp>
      <p:sp>
        <p:nvSpPr>
          <p:cNvPr id="46100" name="Text Placeholder 33">
            <a:extLst>
              <a:ext uri="{FF2B5EF4-FFF2-40B4-BE49-F238E27FC236}">
                <a16:creationId xmlns:a16="http://schemas.microsoft.com/office/drawing/2014/main" id="{B80934BC-4632-6DD7-A134-72DD146C10EC}"/>
              </a:ext>
            </a:extLst>
          </p:cNvPr>
          <p:cNvSpPr txBox="1">
            <a:spLocks noChangeArrowheads="1"/>
          </p:cNvSpPr>
          <p:nvPr/>
        </p:nvSpPr>
        <p:spPr bwMode="auto">
          <a:xfrm>
            <a:off x="6827838" y="3652838"/>
            <a:ext cx="1655762"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a:solidFill>
                  <a:schemeClr val="tx1"/>
                </a:solidFill>
              </a:rPr>
              <a:t>Attended process uses human’s computer to kick off unattended background process</a:t>
            </a:r>
          </a:p>
        </p:txBody>
      </p:sp>
      <p:sp>
        <p:nvSpPr>
          <p:cNvPr id="46101" name="Text Placeholder 33">
            <a:extLst>
              <a:ext uri="{FF2B5EF4-FFF2-40B4-BE49-F238E27FC236}">
                <a16:creationId xmlns:a16="http://schemas.microsoft.com/office/drawing/2014/main" id="{10D30D34-42FE-73D6-62BD-C278F9D32C5D}"/>
              </a:ext>
            </a:extLst>
          </p:cNvPr>
          <p:cNvSpPr txBox="1">
            <a:spLocks noChangeArrowheads="1"/>
          </p:cNvSpPr>
          <p:nvPr/>
        </p:nvSpPr>
        <p:spPr bwMode="auto">
          <a:xfrm>
            <a:off x="6827838" y="4572000"/>
            <a:ext cx="1801812"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Service Rep turns on Robot to delete customer data from multiple databases as part of a GDPR "right to forget" request</a:t>
            </a:r>
          </a:p>
        </p:txBody>
      </p:sp>
      <p:sp>
        <p:nvSpPr>
          <p:cNvPr id="46102" name="Text Placeholder 33">
            <a:extLst>
              <a:ext uri="{FF2B5EF4-FFF2-40B4-BE49-F238E27FC236}">
                <a16:creationId xmlns:a16="http://schemas.microsoft.com/office/drawing/2014/main" id="{028AA775-1491-8D35-4C97-895598BCB195}"/>
              </a:ext>
            </a:extLst>
          </p:cNvPr>
          <p:cNvSpPr txBox="1">
            <a:spLocks noChangeArrowheads="1"/>
          </p:cNvSpPr>
          <p:nvPr/>
        </p:nvSpPr>
        <p:spPr bwMode="auto">
          <a:xfrm>
            <a:off x="2573338" y="4572000"/>
            <a:ext cx="1843087"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Brainstorm with your team</a:t>
            </a:r>
          </a:p>
        </p:txBody>
      </p:sp>
      <p:grpSp>
        <p:nvGrpSpPr>
          <p:cNvPr id="46103" name="Group 92">
            <a:extLst>
              <a:ext uri="{FF2B5EF4-FFF2-40B4-BE49-F238E27FC236}">
                <a16:creationId xmlns:a16="http://schemas.microsoft.com/office/drawing/2014/main" id="{87FB6AAE-DD17-4929-9A7A-BF589A764399}"/>
              </a:ext>
            </a:extLst>
          </p:cNvPr>
          <p:cNvGrpSpPr>
            <a:grpSpLocks/>
          </p:cNvGrpSpPr>
          <p:nvPr/>
        </p:nvGrpSpPr>
        <p:grpSpPr bwMode="auto">
          <a:xfrm>
            <a:off x="2573338" y="4430713"/>
            <a:ext cx="8194675" cy="0"/>
            <a:chOff x="1942891" y="4488426"/>
            <a:chExt cx="6505241" cy="0"/>
          </a:xfrm>
        </p:grpSpPr>
        <p:cxnSp>
          <p:nvCxnSpPr>
            <p:cNvPr id="94" name="Straight Connector 93">
              <a:extLst>
                <a:ext uri="{FF2B5EF4-FFF2-40B4-BE49-F238E27FC236}">
                  <a16:creationId xmlns:a16="http://schemas.microsoft.com/office/drawing/2014/main" id="{1482B2C3-880B-AA0F-92CC-4A3E248A93FB}"/>
                </a:ext>
              </a:extLst>
            </p:cNvPr>
            <p:cNvCxnSpPr>
              <a:cxnSpLocks/>
            </p:cNvCxnSpPr>
            <p:nvPr/>
          </p:nvCxnSpPr>
          <p:spPr>
            <a:xfrm rot="10800000" flipH="1">
              <a:off x="194289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0BBB8C8-6A35-2763-8420-F7DA442025FF}"/>
                </a:ext>
              </a:extLst>
            </p:cNvPr>
            <p:cNvCxnSpPr>
              <a:cxnSpLocks/>
            </p:cNvCxnSpPr>
            <p:nvPr/>
          </p:nvCxnSpPr>
          <p:spPr>
            <a:xfrm rot="10800000" flipH="1">
              <a:off x="362780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2AB07C0F-10B7-BFF8-7E75-3087245D9507}"/>
                </a:ext>
              </a:extLst>
            </p:cNvPr>
            <p:cNvCxnSpPr>
              <a:cxnSpLocks/>
            </p:cNvCxnSpPr>
            <p:nvPr/>
          </p:nvCxnSpPr>
          <p:spPr>
            <a:xfrm rot="10800000" flipH="1">
              <a:off x="5308931" y="4488426"/>
              <a:ext cx="1458072"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CE69913B-64B8-2E64-8F4F-119574AD322B}"/>
                </a:ext>
              </a:extLst>
            </p:cNvPr>
            <p:cNvCxnSpPr>
              <a:cxnSpLocks/>
            </p:cNvCxnSpPr>
            <p:nvPr/>
          </p:nvCxnSpPr>
          <p:spPr>
            <a:xfrm rot="10800000" flipH="1">
              <a:off x="6988801" y="4488426"/>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6104" name="Group 97">
            <a:extLst>
              <a:ext uri="{FF2B5EF4-FFF2-40B4-BE49-F238E27FC236}">
                <a16:creationId xmlns:a16="http://schemas.microsoft.com/office/drawing/2014/main" id="{B4500777-456C-A800-858F-4E6866023835}"/>
              </a:ext>
            </a:extLst>
          </p:cNvPr>
          <p:cNvGrpSpPr>
            <a:grpSpLocks/>
          </p:cNvGrpSpPr>
          <p:nvPr/>
        </p:nvGrpSpPr>
        <p:grpSpPr bwMode="auto">
          <a:xfrm>
            <a:off x="2573338" y="3489325"/>
            <a:ext cx="8194675" cy="0"/>
            <a:chOff x="1942891" y="4395132"/>
            <a:chExt cx="6505241" cy="0"/>
          </a:xfrm>
        </p:grpSpPr>
        <p:cxnSp>
          <p:nvCxnSpPr>
            <p:cNvPr id="99" name="Straight Connector 98">
              <a:extLst>
                <a:ext uri="{FF2B5EF4-FFF2-40B4-BE49-F238E27FC236}">
                  <a16:creationId xmlns:a16="http://schemas.microsoft.com/office/drawing/2014/main" id="{43F2A460-795D-0215-FB41-24255C864B6B}"/>
                </a:ext>
              </a:extLst>
            </p:cNvPr>
            <p:cNvCxnSpPr>
              <a:cxnSpLocks/>
            </p:cNvCxnSpPr>
            <p:nvPr/>
          </p:nvCxnSpPr>
          <p:spPr>
            <a:xfrm rot="10800000" flipH="1">
              <a:off x="194289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A836D299-F3EF-2A25-F839-8E0CE19C89A9}"/>
                </a:ext>
              </a:extLst>
            </p:cNvPr>
            <p:cNvCxnSpPr>
              <a:cxnSpLocks/>
            </p:cNvCxnSpPr>
            <p:nvPr/>
          </p:nvCxnSpPr>
          <p:spPr>
            <a:xfrm rot="10800000" flipH="1">
              <a:off x="362780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08B1DF8E-C657-DE92-9E40-91DC40E21967}"/>
                </a:ext>
              </a:extLst>
            </p:cNvPr>
            <p:cNvCxnSpPr>
              <a:cxnSpLocks/>
            </p:cNvCxnSpPr>
            <p:nvPr/>
          </p:nvCxnSpPr>
          <p:spPr>
            <a:xfrm rot="10800000" flipH="1">
              <a:off x="5308931" y="4395132"/>
              <a:ext cx="1458072"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78A49C16-132D-B235-F4F3-8B3018F15EBD}"/>
                </a:ext>
              </a:extLst>
            </p:cNvPr>
            <p:cNvCxnSpPr>
              <a:cxnSpLocks/>
            </p:cNvCxnSpPr>
            <p:nvPr/>
          </p:nvCxnSpPr>
          <p:spPr>
            <a:xfrm rot="10800000" flipH="1">
              <a:off x="6988801" y="4395132"/>
              <a:ext cx="1459331" cy="0"/>
            </a:xfrm>
            <a:prstGeom prst="line">
              <a:avLst/>
            </a:prstGeom>
            <a:ln w="317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03" name="Text Placeholder 33">
            <a:extLst>
              <a:ext uri="{FF2B5EF4-FFF2-40B4-BE49-F238E27FC236}">
                <a16:creationId xmlns:a16="http://schemas.microsoft.com/office/drawing/2014/main" id="{866B3D7C-7258-486B-AE80-BC9BC90ACA6B}"/>
              </a:ext>
            </a:extLst>
          </p:cNvPr>
          <p:cNvSpPr txBox="1">
            <a:spLocks/>
          </p:cNvSpPr>
          <p:nvPr/>
        </p:nvSpPr>
        <p:spPr>
          <a:xfrm>
            <a:off x="8945563" y="1865313"/>
            <a:ext cx="1843087" cy="590550"/>
          </a:xfrm>
          <a:prstGeom prst="rect">
            <a:avLst/>
          </a:prstGeom>
          <a:solidFill>
            <a:schemeClr val="accent6"/>
          </a:solidFill>
        </p:spPr>
        <p:txBody>
          <a:bodyPr lIns="137160" tIns="0" bIns="0" anchor="ctr"/>
          <a:lstStyle>
            <a:lvl1pPr marL="0" indent="0" algn="l" defTabSz="457200" rtl="0" eaLnBrk="1" latinLnBrk="0" hangingPunct="1">
              <a:lnSpc>
                <a:spcPct val="90000"/>
              </a:lnSpc>
              <a:spcBef>
                <a:spcPts val="500"/>
              </a:spcBef>
              <a:buFont typeface="Arial"/>
              <a:buNone/>
              <a:defRPr sz="2000" b="1" kern="1200" spc="-30" baseline="0">
                <a:solidFill>
                  <a:schemeClr val="tx1"/>
                </a:solidFill>
                <a:latin typeface="Arial"/>
                <a:ea typeface="+mn-ea"/>
                <a:cs typeface="Arial"/>
              </a:defRPr>
            </a:lvl1pPr>
            <a:lvl2pPr marL="174625" indent="-174625"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2pPr>
            <a:lvl3pPr marL="339725" indent="-165100"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3pPr>
            <a:lvl4pPr marL="512763" indent="-173038" algn="l" defTabSz="457200" rtl="0" eaLnBrk="1" latinLnBrk="0" hangingPunct="1">
              <a:spcBef>
                <a:spcPts val="0"/>
              </a:spcBef>
              <a:buClr>
                <a:schemeClr val="accent1"/>
              </a:buClr>
              <a:buFont typeface="Arial"/>
              <a:buChar char="•"/>
              <a:defRPr sz="1500" b="0" kern="1200" spc="-30">
                <a:solidFill>
                  <a:schemeClr val="tx1"/>
                </a:solidFill>
                <a:latin typeface="Arial"/>
                <a:ea typeface="+mn-ea"/>
                <a:cs typeface="Arial"/>
              </a:defRPr>
            </a:lvl4pPr>
            <a:lvl5pPr marL="687388" indent="-174625" algn="l" defTabSz="457200" rtl="0" eaLnBrk="1" latinLnBrk="0" hangingPunct="1">
              <a:spcBef>
                <a:spcPts val="0"/>
              </a:spcBef>
              <a:buClr>
                <a:schemeClr val="accent1"/>
              </a:buClr>
              <a:buFont typeface="Lucida Grande"/>
              <a:buChar char="-"/>
              <a:defRPr sz="1500" b="0" kern="1200" spc="-3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buClr>
                <a:srgbClr val="000000"/>
              </a:buClr>
              <a:defRPr/>
            </a:pPr>
            <a:r>
              <a:rPr lang="en-US" sz="1400">
                <a:solidFill>
                  <a:schemeClr val="bg1"/>
                </a:solidFill>
                <a:sym typeface="Arial"/>
              </a:rPr>
              <a:t>Fully </a:t>
            </a:r>
            <a:br>
              <a:rPr lang="en-US" sz="1400">
                <a:solidFill>
                  <a:schemeClr val="bg1"/>
                </a:solidFill>
                <a:sym typeface="Arial"/>
              </a:rPr>
            </a:br>
            <a:r>
              <a:rPr lang="en-US" sz="1400">
                <a:solidFill>
                  <a:schemeClr val="bg1"/>
                </a:solidFill>
                <a:sym typeface="Arial"/>
              </a:rPr>
              <a:t>Unattended </a:t>
            </a:r>
          </a:p>
        </p:txBody>
      </p:sp>
      <p:sp>
        <p:nvSpPr>
          <p:cNvPr id="46106" name="Text Placeholder 33">
            <a:extLst>
              <a:ext uri="{FF2B5EF4-FFF2-40B4-BE49-F238E27FC236}">
                <a16:creationId xmlns:a16="http://schemas.microsoft.com/office/drawing/2014/main" id="{B9EEE083-3D9C-0003-75C0-13699E3E4B0B}"/>
              </a:ext>
            </a:extLst>
          </p:cNvPr>
          <p:cNvSpPr txBox="1">
            <a:spLocks noChangeArrowheads="1"/>
          </p:cNvSpPr>
          <p:nvPr/>
        </p:nvSpPr>
        <p:spPr bwMode="auto">
          <a:xfrm>
            <a:off x="8945563" y="3652838"/>
            <a:ext cx="1843087"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100% automation</a:t>
            </a:r>
          </a:p>
        </p:txBody>
      </p:sp>
      <p:sp>
        <p:nvSpPr>
          <p:cNvPr id="46107" name="Text Placeholder 33">
            <a:extLst>
              <a:ext uri="{FF2B5EF4-FFF2-40B4-BE49-F238E27FC236}">
                <a16:creationId xmlns:a16="http://schemas.microsoft.com/office/drawing/2014/main" id="{2F0F44D2-BFF5-3323-F832-085F9808F1D6}"/>
              </a:ext>
            </a:extLst>
          </p:cNvPr>
          <p:cNvSpPr txBox="1">
            <a:spLocks noChangeArrowheads="1"/>
          </p:cNvSpPr>
          <p:nvPr/>
        </p:nvSpPr>
        <p:spPr bwMode="auto">
          <a:xfrm>
            <a:off x="8945563" y="4572000"/>
            <a:ext cx="1843087"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Examples:</a:t>
            </a:r>
          </a:p>
          <a:p>
            <a:pPr eaLnBrk="1" hangingPunct="1">
              <a:lnSpc>
                <a:spcPct val="90000"/>
              </a:lnSpc>
              <a:spcBef>
                <a:spcPts val="500"/>
              </a:spcBef>
            </a:pPr>
            <a:r>
              <a:rPr lang="en-US" altLang="en-US" sz="1000">
                <a:solidFill>
                  <a:schemeClr val="tx1"/>
                </a:solidFill>
              </a:rPr>
              <a:t>Robot processes</a:t>
            </a:r>
            <a:br>
              <a:rPr lang="en-US" altLang="en-US" sz="1000">
                <a:solidFill>
                  <a:schemeClr val="tx1"/>
                </a:solidFill>
              </a:rPr>
            </a:br>
            <a:r>
              <a:rPr lang="en-US" altLang="en-US" sz="1000">
                <a:solidFill>
                  <a:schemeClr val="tx1"/>
                </a:solidFill>
              </a:rPr>
              <a:t>invoices</a:t>
            </a:r>
          </a:p>
          <a:p>
            <a:pPr eaLnBrk="1" hangingPunct="1">
              <a:lnSpc>
                <a:spcPct val="90000"/>
              </a:lnSpc>
              <a:spcBef>
                <a:spcPts val="500"/>
              </a:spcBef>
            </a:pPr>
            <a:r>
              <a:rPr lang="en-US" altLang="en-US" sz="1000">
                <a:solidFill>
                  <a:schemeClr val="tx1"/>
                </a:solidFill>
              </a:rPr>
              <a:t>Robot loads data into a system like SAP</a:t>
            </a:r>
          </a:p>
        </p:txBody>
      </p:sp>
      <p:sp>
        <p:nvSpPr>
          <p:cNvPr id="46108" name="Text Placeholder 33">
            <a:extLst>
              <a:ext uri="{FF2B5EF4-FFF2-40B4-BE49-F238E27FC236}">
                <a16:creationId xmlns:a16="http://schemas.microsoft.com/office/drawing/2014/main" id="{61016742-2936-44B2-6A2F-045D83662F79}"/>
              </a:ext>
            </a:extLst>
          </p:cNvPr>
          <p:cNvSpPr txBox="1">
            <a:spLocks noChangeArrowheads="1"/>
          </p:cNvSpPr>
          <p:nvPr/>
        </p:nvSpPr>
        <p:spPr bwMode="auto">
          <a:xfrm>
            <a:off x="2565400" y="3652838"/>
            <a:ext cx="184308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160" tIns="0" bIns="0"/>
          <a:lstStyle>
            <a:lvl1pPr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174625"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339725" indent="-165100"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512763" indent="-173038"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687388" indent="-174625" defTabSz="4572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11445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16017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20589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2516188" indent="-174625" defTabSz="4572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ts val="500"/>
              </a:spcBef>
            </a:pPr>
            <a:r>
              <a:rPr lang="en-US" altLang="en-US" sz="1000" b="1">
                <a:solidFill>
                  <a:schemeClr val="tx1"/>
                </a:solidFill>
              </a:rPr>
              <a:t>100% human</a:t>
            </a:r>
          </a:p>
        </p:txBody>
      </p:sp>
      <p:sp>
        <p:nvSpPr>
          <p:cNvPr id="107" name="TextBox 106">
            <a:extLst>
              <a:ext uri="{FF2B5EF4-FFF2-40B4-BE49-F238E27FC236}">
                <a16:creationId xmlns:a16="http://schemas.microsoft.com/office/drawing/2014/main" id="{96E0841E-C1D7-5C4C-84D0-D91D38197D8D}"/>
              </a:ext>
            </a:extLst>
          </p:cNvPr>
          <p:cNvSpPr txBox="1"/>
          <p:nvPr/>
        </p:nvSpPr>
        <p:spPr>
          <a:xfrm>
            <a:off x="466725" y="973138"/>
            <a:ext cx="10004425" cy="307975"/>
          </a:xfrm>
          <a:prstGeom prst="rect">
            <a:avLst/>
          </a:prstGeom>
          <a:noFill/>
        </p:spPr>
        <p:txBody>
          <a:bodyPr lIns="0" tIns="0" rIns="0" bIns="0">
            <a:spAutoFit/>
          </a:bodyPr>
          <a:lstStyle/>
          <a:p>
            <a:pPr eaLnBrk="1" fontAlgn="auto" hangingPunct="1">
              <a:spcBef>
                <a:spcPts val="0"/>
              </a:spcBef>
              <a:spcAft>
                <a:spcPts val="0"/>
              </a:spcAft>
              <a:buClr>
                <a:srgbClr val="000000"/>
              </a:buClr>
              <a:buFont typeface="Arial"/>
              <a:buNone/>
              <a:defRPr/>
            </a:pPr>
            <a:r>
              <a:rPr lang="en-US" sz="2000" kern="0">
                <a:latin typeface="Arial"/>
                <a:ea typeface="Arial"/>
                <a:cs typeface="Arial"/>
                <a:sym typeface="Arial"/>
              </a:rPr>
              <a:t>Run your automations from a desktop, data center, or the cloud</a:t>
            </a:r>
            <a:endParaRPr lang="en-US" sz="2000" kern="0">
              <a:latin typeface="Arial"/>
              <a:ea typeface="Arial"/>
              <a:cs typeface="+mn-lt"/>
              <a:sym typeface="Arial"/>
            </a:endParaRPr>
          </a:p>
        </p:txBody>
      </p:sp>
      <p:sp>
        <p:nvSpPr>
          <p:cNvPr id="108" name="TextBox 107">
            <a:extLst>
              <a:ext uri="{FF2B5EF4-FFF2-40B4-BE49-F238E27FC236}">
                <a16:creationId xmlns:a16="http://schemas.microsoft.com/office/drawing/2014/main" id="{CE7C14D0-E103-945B-E7DC-582B84BEE940}"/>
              </a:ext>
            </a:extLst>
          </p:cNvPr>
          <p:cNvSpPr txBox="1"/>
          <p:nvPr/>
        </p:nvSpPr>
        <p:spPr>
          <a:xfrm>
            <a:off x="212725" y="1741488"/>
            <a:ext cx="2249488" cy="684212"/>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Robots are your digital helpers.</a:t>
            </a:r>
            <a:endParaRPr lang="en-IN" kern="0">
              <a:latin typeface="Arial"/>
              <a:ea typeface="Arial"/>
              <a:cs typeface="Arial"/>
              <a:sym typeface="Arial"/>
            </a:endParaRPr>
          </a:p>
        </p:txBody>
      </p:sp>
      <p:sp>
        <p:nvSpPr>
          <p:cNvPr id="109" name="TextBox 108">
            <a:extLst>
              <a:ext uri="{FF2B5EF4-FFF2-40B4-BE49-F238E27FC236}">
                <a16:creationId xmlns:a16="http://schemas.microsoft.com/office/drawing/2014/main" id="{29CEA22C-EE1D-E39A-A2B1-5A1B560D16B6}"/>
              </a:ext>
            </a:extLst>
          </p:cNvPr>
          <p:cNvSpPr txBox="1"/>
          <p:nvPr/>
        </p:nvSpPr>
        <p:spPr>
          <a:xfrm>
            <a:off x="242888" y="2776538"/>
            <a:ext cx="2106612" cy="1331912"/>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UiPath software robots are intelligent, reliable, flexible, and eager to take on a huge range of tedious tasks. </a:t>
            </a:r>
            <a:endParaRPr lang="en-IN" kern="0">
              <a:latin typeface="Arial"/>
              <a:ea typeface="Arial"/>
              <a:cs typeface="Arial"/>
              <a:sym typeface="Arial"/>
            </a:endParaRPr>
          </a:p>
        </p:txBody>
      </p:sp>
      <p:sp>
        <p:nvSpPr>
          <p:cNvPr id="111" name="TextBox 110">
            <a:extLst>
              <a:ext uri="{FF2B5EF4-FFF2-40B4-BE49-F238E27FC236}">
                <a16:creationId xmlns:a16="http://schemas.microsoft.com/office/drawing/2014/main" id="{5DDCC1BE-89DB-8DEE-423C-1C90870DE119}"/>
              </a:ext>
            </a:extLst>
          </p:cNvPr>
          <p:cNvSpPr txBox="1"/>
          <p:nvPr/>
        </p:nvSpPr>
        <p:spPr>
          <a:xfrm>
            <a:off x="349250" y="4572000"/>
            <a:ext cx="2001838" cy="900113"/>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kern="0">
                <a:ea typeface="Arial"/>
                <a:cs typeface="Arial"/>
                <a:sym typeface="Arial"/>
              </a:rPr>
              <a:t>Choose attended, unattended, or a bit of both (</a:t>
            </a:r>
            <a:r>
              <a:rPr lang="en-US" kern="0" err="1">
                <a:ea typeface="Arial"/>
                <a:cs typeface="Arial"/>
                <a:sym typeface="Arial"/>
              </a:rPr>
              <a:t>hybridmodel</a:t>
            </a:r>
            <a:r>
              <a:rPr lang="en-US" kern="0">
                <a:ea typeface="Arial"/>
                <a:cs typeface="Arial"/>
                <a:sym typeface="Arial"/>
              </a:rPr>
              <a:t>).</a:t>
            </a:r>
            <a:endParaRPr lang="en-IN" kern="0">
              <a:latin typeface="Arial"/>
              <a:ea typeface="Arial"/>
              <a:cs typeface="Arial"/>
              <a:sym typeface="Arial"/>
            </a:endParaRPr>
          </a:p>
        </p:txBody>
      </p:sp>
      <p:sp>
        <p:nvSpPr>
          <p:cNvPr id="113" name="TextBox 112">
            <a:extLst>
              <a:ext uri="{FF2B5EF4-FFF2-40B4-BE49-F238E27FC236}">
                <a16:creationId xmlns:a16="http://schemas.microsoft.com/office/drawing/2014/main" id="{C1F7628F-D965-B932-4DA1-F7EBF06AE239}"/>
              </a:ext>
            </a:extLst>
          </p:cNvPr>
          <p:cNvSpPr txBox="1"/>
          <p:nvPr/>
        </p:nvSpPr>
        <p:spPr>
          <a:xfrm>
            <a:off x="441325" y="5970588"/>
            <a:ext cx="6091238" cy="469900"/>
          </a:xfrm>
          <a:prstGeom prst="rect">
            <a:avLst/>
          </a:prstGeom>
          <a:noFill/>
        </p:spPr>
        <p:txBody>
          <a:bodyPr>
            <a:spAutoFit/>
          </a:bodyPr>
          <a:lstStyle/>
          <a:p>
            <a:pPr eaLnBrk="1" fontAlgn="auto" hangingPunct="1">
              <a:spcBef>
                <a:spcPts val="0"/>
              </a:spcBef>
              <a:spcAft>
                <a:spcPts val="0"/>
              </a:spcAft>
              <a:buClr>
                <a:srgbClr val="000000"/>
              </a:buClr>
              <a:buFont typeface="Arial"/>
              <a:buNone/>
              <a:defRPr/>
            </a:pPr>
            <a:endParaRPr lang="en-IN" sz="1050" kern="0">
              <a:ea typeface="Arial"/>
              <a:cs typeface="Arial"/>
              <a:sym typeface="Arial"/>
            </a:endParaRPr>
          </a:p>
          <a:p>
            <a:pPr eaLnBrk="1" fontAlgn="auto" hangingPunct="1">
              <a:spcBef>
                <a:spcPts val="0"/>
              </a:spcBef>
              <a:spcAft>
                <a:spcPts val="0"/>
              </a:spcAft>
              <a:buClr>
                <a:srgbClr val="000000"/>
              </a:buClr>
              <a:buFont typeface="Arial"/>
              <a:buNone/>
              <a:defRPr/>
            </a:pPr>
            <a:r>
              <a:rPr lang="en-US" b="1" kern="0">
                <a:ea typeface="Arial"/>
                <a:cs typeface="Arial"/>
                <a:sym typeface="Arial"/>
              </a:rPr>
              <a:t>You decide how </a:t>
            </a:r>
            <a:r>
              <a:rPr lang="en-US" b="1" kern="0">
                <a:solidFill>
                  <a:srgbClr val="FF0000"/>
                </a:solidFill>
                <a:ea typeface="Arial"/>
                <a:cs typeface="Arial"/>
                <a:sym typeface="Arial"/>
              </a:rPr>
              <a:t>your robots work for you...</a:t>
            </a:r>
            <a:endParaRPr lang="en-IN" kern="0">
              <a:solidFill>
                <a:srgbClr val="FF0000"/>
              </a:solidFill>
              <a:latin typeface="Arial"/>
              <a:ea typeface="Arial"/>
              <a:cs typeface="Arial"/>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1D6B6B8-9515-60CA-57D4-FCEF085E9884}"/>
              </a:ext>
            </a:extLst>
          </p:cNvPr>
          <p:cNvPicPr>
            <a:picLocks noChangeAspect="1"/>
          </p:cNvPicPr>
          <p:nvPr/>
        </p:nvPicPr>
        <p:blipFill>
          <a:blip r:embed="rId3"/>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327278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343257" y="765985"/>
            <a:ext cx="7658100"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sz="4000">
                <a:solidFill>
                  <a:srgbClr val="FFFFFF"/>
                </a:solidFill>
                <a:latin typeface="+mj-lt"/>
                <a:cs typeface="Times New Roman" panose="02020603050405020304" pitchFamily="18" charset="0"/>
                <a:sym typeface="Arial" panose="020B0604020202020204" pitchFamily="34" charset="0"/>
              </a:rPr>
              <a:t>WHO ARE WE?</a:t>
            </a:r>
          </a:p>
        </p:txBody>
      </p:sp>
      <p:sp>
        <p:nvSpPr>
          <p:cNvPr id="5" name="TextBox 4">
            <a:extLst>
              <a:ext uri="{FF2B5EF4-FFF2-40B4-BE49-F238E27FC236}">
                <a16:creationId xmlns:a16="http://schemas.microsoft.com/office/drawing/2014/main" id="{E17AB8FB-E5B2-0D41-4994-F8066DE3C80B}"/>
              </a:ext>
            </a:extLst>
          </p:cNvPr>
          <p:cNvSpPr txBox="1"/>
          <p:nvPr/>
        </p:nvSpPr>
        <p:spPr>
          <a:xfrm>
            <a:off x="343257" y="2311272"/>
            <a:ext cx="9379241" cy="3046988"/>
          </a:xfrm>
          <a:prstGeom prst="rect">
            <a:avLst/>
          </a:prstGeom>
          <a:noFill/>
        </p:spPr>
        <p:txBody>
          <a:bodyPr wrap="square">
            <a:spAutoFit/>
          </a:bodyPr>
          <a:lstStyle/>
          <a:p>
            <a:pPr marL="285750" indent="-285750">
              <a:buFont typeface="Arial" panose="020B0604020202020204" pitchFamily="34" charset="0"/>
              <a:buChar char="•"/>
            </a:pPr>
            <a:r>
              <a:rPr lang="en-US" sz="2400" b="0" i="0" u="none" strike="noStrike">
                <a:solidFill>
                  <a:srgbClr val="FFFFFF"/>
                </a:solidFill>
                <a:effectLst/>
                <a:latin typeface="Times New Roman" panose="02020603050405020304" pitchFamily="18" charset="0"/>
                <a:cs typeface="Times New Roman" panose="02020603050405020304" pitchFamily="18" charset="0"/>
              </a:rPr>
              <a:t>On 18th Jan 2019 with the support of various global IT giants and organizations of repute including STPI, </a:t>
            </a:r>
            <a:r>
              <a:rPr lang="en-US" sz="2400" b="0" i="0" u="none" strike="noStrike" err="1">
                <a:solidFill>
                  <a:srgbClr val="FFFFFF"/>
                </a:solidFill>
                <a:effectLst/>
                <a:latin typeface="Times New Roman" panose="02020603050405020304" pitchFamily="18" charset="0"/>
                <a:cs typeface="Times New Roman" panose="02020603050405020304" pitchFamily="18" charset="0"/>
              </a:rPr>
              <a:t>Xebia</a:t>
            </a:r>
            <a:r>
              <a:rPr lang="en-US" sz="2400" b="0" i="0" u="none" strike="noStrike">
                <a:solidFill>
                  <a:srgbClr val="FFFFFF"/>
                </a:solidFill>
                <a:effectLst/>
                <a:latin typeface="Times New Roman" panose="02020603050405020304" pitchFamily="18" charset="0"/>
                <a:cs typeface="Times New Roman" panose="02020603050405020304" pitchFamily="18" charset="0"/>
              </a:rPr>
              <a:t>, IBM and </a:t>
            </a:r>
            <a:r>
              <a:rPr lang="en-US" sz="2400" b="0" i="0" u="none" strike="noStrike" err="1">
                <a:solidFill>
                  <a:srgbClr val="FFFFFF"/>
                </a:solidFill>
                <a:effectLst/>
                <a:latin typeface="Times New Roman" panose="02020603050405020304" pitchFamily="18" charset="0"/>
                <a:cs typeface="Times New Roman" panose="02020603050405020304" pitchFamily="18" charset="0"/>
              </a:rPr>
              <a:t>TechMint</a:t>
            </a:r>
            <a:r>
              <a:rPr lang="en-US" sz="2400" b="0" i="0" u="none" strike="noStrike">
                <a:solidFill>
                  <a:srgbClr val="FFFFFF"/>
                </a:solidFill>
                <a:effectLst/>
                <a:latin typeface="Times New Roman" panose="02020603050405020304" pitchFamily="18" charset="0"/>
                <a:cs typeface="Times New Roman" panose="02020603050405020304" pitchFamily="18" charset="0"/>
              </a:rPr>
              <a:t>. </a:t>
            </a:r>
          </a:p>
          <a:p>
            <a:pPr marL="285750" indent="-285750">
              <a:buFont typeface="Arial" panose="020B0604020202020204" pitchFamily="34" charset="0"/>
              <a:buChar char="•"/>
            </a:pPr>
            <a:r>
              <a:rPr lang="en-US" sz="2400" b="0" i="0" u="none" strike="noStrike">
                <a:solidFill>
                  <a:srgbClr val="FFFFFF"/>
                </a:solidFill>
                <a:effectLst/>
                <a:latin typeface="Times New Roman" panose="02020603050405020304" pitchFamily="18" charset="0"/>
                <a:cs typeface="Times New Roman" panose="02020603050405020304" pitchFamily="18" charset="0"/>
              </a:rPr>
              <a:t>Working on open source projects that lead towards various advancements and innovation by providing the right support and mentorship to students is our motto.</a:t>
            </a:r>
            <a:endParaRPr lang="en-IN" sz="2400" b="0" i="0" u="none" strike="noStrike">
              <a:solidFill>
                <a:srgbClr val="FFFFFF"/>
              </a:solidFill>
              <a:effectLst/>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2400">
                <a:solidFill>
                  <a:srgbClr val="FFFFFF"/>
                </a:solidFill>
                <a:latin typeface="Times New Roman" panose="02020603050405020304" pitchFamily="18" charset="0"/>
                <a:cs typeface="Times New Roman" panose="02020603050405020304" pitchFamily="18" charset="0"/>
              </a:rPr>
              <a:t>Our Motto – Aware , Adopt and Contribute</a:t>
            </a:r>
          </a:p>
          <a:p>
            <a:pPr marL="285750" indent="-285750">
              <a:buFont typeface="Arial" panose="020B0604020202020204" pitchFamily="34" charset="0"/>
              <a:buChar char="•"/>
            </a:pPr>
            <a:r>
              <a:rPr lang="en-IN" sz="2400">
                <a:solidFill>
                  <a:srgbClr val="FFFFFF"/>
                </a:solidFill>
                <a:latin typeface="Times New Roman" panose="02020603050405020304" pitchFamily="18" charset="0"/>
                <a:cs typeface="Times New Roman" panose="02020603050405020304" pitchFamily="18" charset="0"/>
              </a:rPr>
              <a:t>Visit our Official Website: </a:t>
            </a:r>
            <a:r>
              <a:rPr lang="en-IN" sz="2400">
                <a:solidFill>
                  <a:srgbClr val="FFFFFF"/>
                </a:solidFill>
                <a:latin typeface="Times New Roman" panose="02020603050405020304" pitchFamily="18" charset="0"/>
                <a:cs typeface="Times New Roman" panose="02020603050405020304" pitchFamily="18" charset="0"/>
                <a:hlinkClick r:id="rId3"/>
              </a:rPr>
              <a:t>https://upes-open.org/</a:t>
            </a:r>
            <a:endParaRPr lang="en-IN" sz="2400">
              <a:solidFill>
                <a:srgbClr val="FFFFFF"/>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IN" sz="2400">
              <a:solidFill>
                <a:srgbClr val="99CA1F"/>
              </a:solidFill>
              <a:latin typeface="Times New Roman" panose="02020603050405020304" pitchFamily="18" charset="0"/>
              <a:cs typeface="Times New Roman" panose="02020603050405020304" pitchFamily="18" charset="0"/>
            </a:endParaRPr>
          </a:p>
        </p:txBody>
      </p:sp>
      <p:pic>
        <p:nvPicPr>
          <p:cNvPr id="2" name="Picture 2">
            <a:extLst>
              <a:ext uri="{FF2B5EF4-FFF2-40B4-BE49-F238E27FC236}">
                <a16:creationId xmlns:a16="http://schemas.microsoft.com/office/drawing/2014/main" id="{C568994E-6FC0-D4F9-435A-CAA7A5DA2A68}"/>
              </a:ext>
            </a:extLst>
          </p:cNvPr>
          <p:cNvPicPr>
            <a:picLocks noChangeAspect="1"/>
          </p:cNvPicPr>
          <p:nvPr/>
        </p:nvPicPr>
        <p:blipFill>
          <a:blip r:embed="rId4"/>
          <a:stretch>
            <a:fillRect/>
          </a:stretch>
        </p:blipFill>
        <p:spPr>
          <a:xfrm>
            <a:off x="10830410" y="106990"/>
            <a:ext cx="1142412" cy="1141671"/>
          </a:xfrm>
          <a:prstGeom prst="rect">
            <a:avLst/>
          </a:prstGeom>
        </p:spPr>
      </p:pic>
    </p:spTree>
    <p:extLst>
      <p:ext uri="{BB962C8B-B14F-4D97-AF65-F5344CB8AC3E}">
        <p14:creationId xmlns:p14="http://schemas.microsoft.com/office/powerpoint/2010/main" val="2272403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 name="Google Shape;794;p17">
            <a:extLst>
              <a:ext uri="{FF2B5EF4-FFF2-40B4-BE49-F238E27FC236}">
                <a16:creationId xmlns:a16="http://schemas.microsoft.com/office/drawing/2014/main" id="{FA6162F4-37BE-94DC-C3F6-4A5FB55FC5E5}"/>
              </a:ext>
            </a:extLst>
          </p:cNvPr>
          <p:cNvSpPr txBox="1">
            <a:spLocks noGrp="1"/>
          </p:cNvSpPr>
          <p:nvPr>
            <p:ph type="body" idx="1"/>
          </p:nvPr>
        </p:nvSpPr>
        <p:spPr>
          <a:xfrm>
            <a:off x="379413" y="1322388"/>
            <a:ext cx="9144000" cy="4895850"/>
          </a:xfrm>
        </p:spPr>
        <p:txBody>
          <a:bodyPr/>
          <a:lstStyle/>
          <a:p>
            <a:pPr indent="-457200" eaLnBrk="1" fontAlgn="auto" hangingPunct="1">
              <a:spcBef>
                <a:spcPts val="0"/>
              </a:spcBef>
              <a:buFont typeface="Arial"/>
              <a:buAutoNum type="arabicPeriod"/>
              <a:defRPr/>
            </a:pPr>
            <a:r>
              <a:rPr lang="en-US" sz="1800">
                <a:solidFill>
                  <a:schemeClr val="dk1"/>
                </a:solidFill>
                <a:latin typeface="+mn-lt"/>
                <a:sym typeface="Arial"/>
              </a:rPr>
              <a:t>Sign up for your UiPath Automation Cloud account:</a:t>
            </a:r>
            <a:endParaRPr sz="1800">
              <a:solidFill>
                <a:schemeClr val="dk1"/>
              </a:solidFill>
              <a:latin typeface="+mn-lt"/>
              <a:sym typeface="Arial"/>
            </a:endParaRPr>
          </a:p>
          <a:p>
            <a:pPr marL="457200" lvl="1" indent="0" eaLnBrk="1" fontAlgn="auto" hangingPunct="1">
              <a:spcBef>
                <a:spcPts val="0"/>
              </a:spcBef>
              <a:buClr>
                <a:schemeClr val="dk1"/>
              </a:buClr>
              <a:buFont typeface="Arial"/>
              <a:buNone/>
              <a:defRPr/>
            </a:pPr>
            <a:r>
              <a:rPr lang="en-US" sz="1800">
                <a:solidFill>
                  <a:schemeClr val="dk1"/>
                </a:solidFill>
                <a:latin typeface="+mn-lt"/>
                <a:sym typeface="Arial"/>
              </a:rPr>
              <a:t>Link: </a:t>
            </a:r>
            <a:r>
              <a:rPr lang="en-US" sz="1800" u="sng">
                <a:solidFill>
                  <a:schemeClr val="hlink"/>
                </a:solidFill>
                <a:latin typeface="+mn-lt"/>
                <a:sym typeface="Arial"/>
                <a:hlinkClick r:id="rId3"/>
              </a:rPr>
              <a:t>https://bit.ly/3rOHDkd</a:t>
            </a:r>
            <a:r>
              <a:rPr lang="en-US" sz="1800">
                <a:solidFill>
                  <a:schemeClr val="dk1"/>
                </a:solidFill>
                <a:latin typeface="+mn-lt"/>
                <a:sym typeface="Arial"/>
              </a:rPr>
              <a:t> &gt;&gt; option on the right side &gt;&gt; sign up for UiPath Automation Cloud for community </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Download UiPath Studio/</a:t>
            </a:r>
            <a:r>
              <a:rPr lang="en-US" sz="1800" err="1">
                <a:solidFill>
                  <a:schemeClr val="dk1"/>
                </a:solidFill>
                <a:latin typeface="+mn-lt"/>
                <a:sym typeface="Arial"/>
              </a:rPr>
              <a:t>StudioX</a:t>
            </a:r>
            <a:r>
              <a:rPr lang="en-US" sz="1800">
                <a:solidFill>
                  <a:schemeClr val="dk1"/>
                </a:solidFill>
                <a:latin typeface="+mn-lt"/>
                <a:sym typeface="Arial"/>
              </a:rPr>
              <a:t>: </a:t>
            </a:r>
            <a:endParaRPr sz="1800">
              <a:solidFill>
                <a:schemeClr val="dk1"/>
              </a:solidFill>
              <a:latin typeface="+mn-lt"/>
              <a:sym typeface="Arial"/>
            </a:endParaRPr>
          </a:p>
          <a:p>
            <a:pPr marL="457200" lvl="1" indent="0" eaLnBrk="1" fontAlgn="auto" hangingPunct="1">
              <a:spcBef>
                <a:spcPts val="1000"/>
              </a:spcBef>
              <a:buClr>
                <a:schemeClr val="dk1"/>
              </a:buClr>
              <a:buFont typeface="Arial"/>
              <a:buNone/>
              <a:defRPr/>
            </a:pPr>
            <a:r>
              <a:rPr lang="en-US" sz="1800">
                <a:solidFill>
                  <a:schemeClr val="dk1"/>
                </a:solidFill>
                <a:latin typeface="+mn-lt"/>
                <a:sym typeface="Arial"/>
              </a:rPr>
              <a:t>Once inside the Automation Cloud click on the first blue button </a:t>
            </a:r>
            <a:r>
              <a:rPr lang="en-US" sz="1800" b="1">
                <a:solidFill>
                  <a:schemeClr val="dk1"/>
                </a:solidFill>
                <a:latin typeface="+mn-lt"/>
                <a:sym typeface="Arial"/>
              </a:rPr>
              <a:t>Download UiPath Studio</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Run the UiPath Studio installer</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Sign into UiPath Automation Cloud from UiPath Studio</a:t>
            </a:r>
            <a:endParaRPr sz="1800">
              <a:solidFill>
                <a:schemeClr val="dk1"/>
              </a:solidFill>
              <a:latin typeface="+mn-lt"/>
              <a:sym typeface="Arial"/>
            </a:endParaRPr>
          </a:p>
          <a:p>
            <a:pPr indent="-457200" eaLnBrk="1" fontAlgn="auto" hangingPunct="1">
              <a:buFont typeface="Arial"/>
              <a:buAutoNum type="arabicPeriod"/>
              <a:defRPr/>
            </a:pPr>
            <a:r>
              <a:rPr lang="en-US" sz="1800">
                <a:solidFill>
                  <a:schemeClr val="dk1"/>
                </a:solidFill>
                <a:latin typeface="+mn-lt"/>
                <a:sym typeface="Arial"/>
              </a:rPr>
              <a:t>Choose the UiPath </a:t>
            </a:r>
            <a:r>
              <a:rPr lang="en-US" sz="1800" err="1">
                <a:solidFill>
                  <a:schemeClr val="dk1"/>
                </a:solidFill>
                <a:latin typeface="+mn-lt"/>
                <a:sym typeface="Arial"/>
              </a:rPr>
              <a:t>StudioX</a:t>
            </a:r>
            <a:r>
              <a:rPr lang="en-US" sz="1800">
                <a:solidFill>
                  <a:schemeClr val="dk1"/>
                </a:solidFill>
                <a:latin typeface="+mn-lt"/>
                <a:sym typeface="Arial"/>
              </a:rPr>
              <a:t> profile</a:t>
            </a:r>
            <a:endParaRPr sz="1800">
              <a:solidFill>
                <a:schemeClr val="dk1"/>
              </a:solidFill>
              <a:latin typeface="+mn-lt"/>
              <a:sym typeface="Arial"/>
            </a:endParaRPr>
          </a:p>
          <a:p>
            <a:pPr marL="0" indent="0" eaLnBrk="1" fontAlgn="auto" hangingPunct="1">
              <a:buFont typeface="Arial"/>
              <a:buNone/>
              <a:defRPr/>
            </a:pPr>
            <a:endParaRPr sz="1800">
              <a:solidFill>
                <a:schemeClr val="dk1"/>
              </a:solidFill>
              <a:latin typeface="+mn-lt"/>
              <a:sym typeface="Arial"/>
            </a:endParaRPr>
          </a:p>
          <a:p>
            <a:pPr marL="0" indent="0" eaLnBrk="1" fontAlgn="auto" hangingPunct="1">
              <a:buFont typeface="Arial"/>
              <a:buNone/>
              <a:defRPr/>
            </a:pPr>
            <a:r>
              <a:rPr lang="en-US" sz="1800">
                <a:solidFill>
                  <a:schemeClr val="dk1"/>
                </a:solidFill>
                <a:latin typeface="+mn-lt"/>
                <a:sym typeface="Arial"/>
              </a:rPr>
              <a:t>Resources: </a:t>
            </a:r>
            <a:endParaRPr sz="1800">
              <a:solidFill>
                <a:schemeClr val="dk1"/>
              </a:solidFill>
              <a:latin typeface="+mn-lt"/>
              <a:sym typeface="Arial"/>
            </a:endParaRPr>
          </a:p>
          <a:p>
            <a:pPr marL="342900" indent="-342900" eaLnBrk="1" fontAlgn="auto" hangingPunct="1">
              <a:buFont typeface="Arial"/>
              <a:buChar char="•"/>
              <a:defRPr/>
            </a:pPr>
            <a:r>
              <a:rPr lang="en-US" sz="1800" u="sng">
                <a:solidFill>
                  <a:schemeClr val="hlink"/>
                </a:solidFill>
                <a:latin typeface="+mn-lt"/>
                <a:sym typeface="Arial"/>
                <a:hlinkClick r:id="rId4"/>
              </a:rPr>
              <a:t>https://docs.uipath.com/installation-and-upgrade/docs/studio-install-studio</a:t>
            </a:r>
            <a:r>
              <a:rPr lang="en-US" sz="1800">
                <a:solidFill>
                  <a:schemeClr val="dk1"/>
                </a:solidFill>
                <a:latin typeface="+mn-lt"/>
                <a:sym typeface="Arial"/>
              </a:rPr>
              <a:t> </a:t>
            </a:r>
            <a:endParaRPr sz="1800">
              <a:solidFill>
                <a:schemeClr val="dk1"/>
              </a:solidFill>
              <a:latin typeface="+mn-lt"/>
              <a:sym typeface="Arial"/>
            </a:endParaRPr>
          </a:p>
          <a:p>
            <a:pPr marL="0" indent="0" eaLnBrk="1" fontAlgn="auto" hangingPunct="1">
              <a:buFont typeface="Arial"/>
              <a:buNone/>
              <a:defRPr/>
            </a:pPr>
            <a:endParaRPr sz="1800">
              <a:solidFill>
                <a:schemeClr val="dk1"/>
              </a:solidFill>
              <a:latin typeface="+mn-lt"/>
              <a:sym typeface="Arial"/>
            </a:endParaRPr>
          </a:p>
        </p:txBody>
      </p:sp>
      <p:sp>
        <p:nvSpPr>
          <p:cNvPr id="47107" name="Google Shape;795;p17">
            <a:extLst>
              <a:ext uri="{FF2B5EF4-FFF2-40B4-BE49-F238E27FC236}">
                <a16:creationId xmlns:a16="http://schemas.microsoft.com/office/drawing/2014/main" id="{EF66EF32-3035-1E1E-C547-DAAA45B79CD1}"/>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Install UiPath Studio/StudioX and Plugins</a:t>
            </a:r>
          </a:p>
        </p:txBody>
      </p:sp>
      <p:pic>
        <p:nvPicPr>
          <p:cNvPr id="3" name="Picture 2" descr="A picture containing text, clipart&#10;&#10;Description automatically generated">
            <a:extLst>
              <a:ext uri="{FF2B5EF4-FFF2-40B4-BE49-F238E27FC236}">
                <a16:creationId xmlns:a16="http://schemas.microsoft.com/office/drawing/2014/main" id="{9E07656C-A0E0-91AC-CBDE-C029FFB63A0B}"/>
              </a:ext>
            </a:extLst>
          </p:cNvPr>
          <p:cNvPicPr>
            <a:picLocks noChangeAspect="1"/>
          </p:cNvPicPr>
          <p:nvPr/>
        </p:nvPicPr>
        <p:blipFill>
          <a:blip r:embed="rId5"/>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0366942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Graphic 4" descr="Clapper board">
            <a:extLst>
              <a:ext uri="{FF2B5EF4-FFF2-40B4-BE49-F238E27FC236}">
                <a16:creationId xmlns:a16="http://schemas.microsoft.com/office/drawing/2014/main" id="{4AF96F21-2EA4-C1D0-4856-A4C2E6E61C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8025" y="4991100"/>
            <a:ext cx="1687513" cy="168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344;p5">
            <a:extLst>
              <a:ext uri="{FF2B5EF4-FFF2-40B4-BE49-F238E27FC236}">
                <a16:creationId xmlns:a16="http://schemas.microsoft.com/office/drawing/2014/main" id="{631D2304-4575-2AEF-5280-B82C1296A22C}"/>
              </a:ext>
            </a:extLst>
          </p:cNvPr>
          <p:cNvSpPr txBox="1">
            <a:spLocks noChangeArrowheads="1"/>
          </p:cNvSpPr>
          <p:nvPr/>
        </p:nvSpPr>
        <p:spPr bwMode="auto">
          <a:xfrm>
            <a:off x="2465388" y="3238500"/>
            <a:ext cx="7550150" cy="682625"/>
          </a:xfrm>
          <a:prstGeom prst="rect">
            <a:avLst/>
          </a:prstGeom>
          <a:noFill/>
          <a:ln>
            <a:noFill/>
          </a:ln>
        </p:spPr>
        <p:txBody>
          <a:bodyPr spcFirstLastPara="1" lIns="0" tIns="0" rIns="0" bIns="0"/>
          <a:lstStyle>
            <a:defPPr marR="0" lvl="0" algn="l" rtl="0">
              <a:lnSpc>
                <a:spcPct val="100000"/>
              </a:lnSpc>
              <a:spcBef>
                <a:spcPts val="0"/>
              </a:spcBef>
              <a:spcAft>
                <a:spcPts val="0"/>
              </a:spcAft>
            </a:defPPr>
            <a:lvl1pPr lvl="0" algn="l" rtl="0" eaLnBrk="0" fontAlgn="base" hangingPunct="0">
              <a:lnSpc>
                <a:spcPct val="85000"/>
              </a:lnSpc>
              <a:spcBef>
                <a:spcPts val="0"/>
              </a:spcBef>
              <a:spcAft>
                <a:spcPts val="0"/>
              </a:spcAft>
              <a:buClr>
                <a:schemeClr val="dk1"/>
              </a:buClr>
              <a:buSzPts val="1800"/>
              <a:buFont typeface="Arial" panose="020B0604020202020204" pitchFamily="34" charset="0"/>
              <a:buNone/>
              <a:defRPr sz="1400">
                <a:solidFill>
                  <a:srgbClr val="000000"/>
                </a:solidFill>
                <a:latin typeface="Arial"/>
                <a:ea typeface="Arial"/>
                <a:cs typeface="Arial"/>
                <a:sym typeface="Arial" panose="020B0604020202020204" pitchFamily="34" charset="0"/>
              </a:defRPr>
            </a:lvl1pPr>
            <a:lvl2pPr lvl="1"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2pPr>
            <a:lvl3pPr lvl="2"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3pPr>
            <a:lvl4pPr lvl="3"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4pPr>
            <a:lvl5pPr lvl="4" algn="l" rtl="0" eaLnBrk="0" fontAlgn="base" hangingPunct="0">
              <a:lnSpc>
                <a:spcPct val="100000"/>
              </a:lnSpc>
              <a:spcBef>
                <a:spcPts val="0"/>
              </a:spcBef>
              <a:spcAft>
                <a:spcPts val="0"/>
              </a:spcAft>
              <a:buClr>
                <a:srgbClr val="000000"/>
              </a:buClr>
              <a:buSzPts val="1400"/>
              <a:buFont typeface="Arial" panose="020B0604020202020204" pitchFamily="34" charset="0"/>
              <a:buNone/>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eaLnBrk="1" hangingPunct="1">
              <a:spcBef>
                <a:spcPct val="0"/>
              </a:spcBef>
              <a:spcAft>
                <a:spcPct val="0"/>
              </a:spcAft>
              <a:buClr>
                <a:srgbClr val="000000"/>
              </a:buClr>
              <a:buSzPts val="2800"/>
              <a:defRPr/>
            </a:pPr>
            <a:r>
              <a:rPr lang="en-US" altLang="en-US" sz="2800" b="1" kern="0">
                <a:latin typeface="Arial" panose="020B0604020202020204" pitchFamily="34" charset="0"/>
                <a:cs typeface="Arial" panose="020B0604020202020204" pitchFamily="34" charset="0"/>
              </a:rPr>
              <a:t>Build an Automation using UiPath</a:t>
            </a:r>
          </a:p>
        </p:txBody>
      </p:sp>
      <p:pic>
        <p:nvPicPr>
          <p:cNvPr id="49156" name="Graphic 3" descr="Programmer">
            <a:extLst>
              <a:ext uri="{FF2B5EF4-FFF2-40B4-BE49-F238E27FC236}">
                <a16:creationId xmlns:a16="http://schemas.microsoft.com/office/drawing/2014/main" id="{D39E2AB1-B342-BBBA-74B1-B991515BA0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7288" y="2457450"/>
            <a:ext cx="1122362"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text, clipart&#10;&#10;Description automatically generated">
            <a:extLst>
              <a:ext uri="{FF2B5EF4-FFF2-40B4-BE49-F238E27FC236}">
                <a16:creationId xmlns:a16="http://schemas.microsoft.com/office/drawing/2014/main" id="{33F69570-947E-7E02-D686-0E4769FD47C7}"/>
              </a:ext>
            </a:extLst>
          </p:cNvPr>
          <p:cNvPicPr>
            <a:picLocks noChangeAspect="1"/>
          </p:cNvPicPr>
          <p:nvPr/>
        </p:nvPicPr>
        <p:blipFill>
          <a:blip r:embed="rId5"/>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337275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6" name="Google Shape;996;ge761e2ef35_0_17">
            <a:extLst>
              <a:ext uri="{FF2B5EF4-FFF2-40B4-BE49-F238E27FC236}">
                <a16:creationId xmlns:a16="http://schemas.microsoft.com/office/drawing/2014/main" id="{D6161CA9-B9C6-39F6-D208-C0DE18622DB0}"/>
              </a:ext>
            </a:extLst>
          </p:cNvPr>
          <p:cNvSpPr txBox="1">
            <a:spLocks noGrp="1"/>
          </p:cNvSpPr>
          <p:nvPr>
            <p:ph type="body" idx="4294967295"/>
          </p:nvPr>
        </p:nvSpPr>
        <p:spPr>
          <a:xfrm>
            <a:off x="418976" y="1962254"/>
            <a:ext cx="10683789" cy="2901349"/>
          </a:xfrm>
        </p:spPr>
        <p:txBody>
          <a:bodyPr spcFirstLastPara="1" anchor="b">
            <a:noAutofit/>
          </a:bodyPr>
          <a:lstStyle/>
          <a:p>
            <a:pPr eaLnBrk="1" fontAlgn="auto" hangingPunct="1">
              <a:lnSpc>
                <a:spcPct val="90000"/>
              </a:lnSpc>
              <a:spcBef>
                <a:spcPts val="0"/>
              </a:spcBef>
              <a:spcAft>
                <a:spcPts val="0"/>
              </a:spcAft>
              <a:buClr>
                <a:schemeClr val="dk1"/>
              </a:buClr>
              <a:buSzPts val="2000"/>
              <a:buFont typeface="Arial"/>
              <a:buNone/>
              <a:defRPr/>
            </a:pPr>
            <a:r>
              <a:rPr lang="en-US" sz="4600" b="1">
                <a:solidFill>
                  <a:schemeClr val="dk1"/>
                </a:solidFill>
                <a:latin typeface="+mn-lt"/>
                <a:cs typeface="Times New Roman" panose="02020603050405020304" pitchFamily="18" charset="0"/>
                <a:sym typeface="Arial"/>
              </a:rPr>
              <a:t>What’s NEXT?</a:t>
            </a:r>
            <a:endParaRPr sz="4600" b="1">
              <a:solidFill>
                <a:schemeClr val="dk1"/>
              </a:solidFill>
              <a:latin typeface="+mn-lt"/>
              <a:cs typeface="Times New Roman" panose="02020603050405020304" pitchFamily="18" charset="0"/>
              <a:sym typeface="Arial"/>
            </a:endParaRPr>
          </a:p>
          <a:p>
            <a:pPr eaLnBrk="1" fontAlgn="auto" hangingPunct="1">
              <a:lnSpc>
                <a:spcPct val="90000"/>
              </a:lnSpc>
              <a:spcBef>
                <a:spcPts val="0"/>
              </a:spcBef>
              <a:spcAft>
                <a:spcPts val="0"/>
              </a:spcAft>
              <a:buClr>
                <a:schemeClr val="dk1"/>
              </a:buClr>
              <a:buSzPts val="2000"/>
              <a:buFont typeface="Arial"/>
              <a:buNone/>
              <a:defRPr/>
            </a:pPr>
            <a:endParaRPr sz="2500" b="1">
              <a:solidFill>
                <a:schemeClr val="dk1"/>
              </a:solidFill>
              <a:latin typeface="+mn-lt"/>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Join UiPath Student Developer Community  </a:t>
            </a:r>
            <a:r>
              <a:rPr lang="en-US" sz="2000">
                <a:solidFill>
                  <a:schemeClr val="dk1"/>
                </a:solidFill>
                <a:latin typeface="+mn-lt"/>
                <a:cs typeface="Times New Roman" panose="02020603050405020304" pitchFamily="18" charset="0"/>
                <a:sym typeface="Arial"/>
                <a:hlinkClick r:id="rId3"/>
              </a:rPr>
              <a:t>https://community.uipath.com/studentdevelopers/</a:t>
            </a:r>
            <a:endParaRPr lang="en-US" sz="2000">
              <a:solidFill>
                <a:schemeClr val="dk1"/>
              </a:solidFill>
              <a:latin typeface="+mn-lt"/>
              <a:cs typeface="Times New Roman" panose="02020603050405020304" pitchFamily="18" charset="0"/>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Visit Open Community’s Official Website :</a:t>
            </a:r>
            <a:r>
              <a:rPr lang="en-US" sz="2000">
                <a:solidFill>
                  <a:schemeClr val="dk1"/>
                </a:solidFill>
                <a:latin typeface="+mn-lt"/>
                <a:cs typeface="Times New Roman" panose="02020603050405020304" pitchFamily="18" charset="0"/>
                <a:sym typeface="Arial"/>
                <a:hlinkClick r:id="rId4"/>
              </a:rPr>
              <a:t>https://upes-open.org/</a:t>
            </a:r>
            <a:endParaRPr lang="en-US" sz="2000">
              <a:solidFill>
                <a:schemeClr val="dk1"/>
              </a:solidFill>
              <a:latin typeface="+mn-lt"/>
              <a:cs typeface="Times New Roman" panose="02020603050405020304" pitchFamily="18" charset="0"/>
              <a:sym typeface="Arial"/>
            </a:endParaRP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Connect with Student Champion</a:t>
            </a: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Have more Questions – Email to :</a:t>
            </a:r>
          </a:p>
          <a:p>
            <a:pPr marL="361950" indent="-342900" eaLnBrk="1" fontAlgn="auto" hangingPunct="1">
              <a:lnSpc>
                <a:spcPct val="90000"/>
              </a:lnSpc>
              <a:spcBef>
                <a:spcPts val="0"/>
              </a:spcBef>
              <a:spcAft>
                <a:spcPts val="0"/>
              </a:spcAft>
              <a:buClr>
                <a:schemeClr val="dk1"/>
              </a:buClr>
              <a:buSzPts val="3500"/>
              <a:buFont typeface="Arial" panose="020B0604020202020204" pitchFamily="34" charset="0"/>
              <a:buChar char="•"/>
              <a:defRPr/>
            </a:pPr>
            <a:r>
              <a:rPr lang="en-US" sz="2000">
                <a:solidFill>
                  <a:schemeClr val="dk1"/>
                </a:solidFill>
                <a:latin typeface="+mn-lt"/>
                <a:cs typeface="Times New Roman" panose="02020603050405020304" pitchFamily="18" charset="0"/>
                <a:sym typeface="Arial"/>
              </a:rPr>
              <a:t>studentdeveloper@uipath.com</a:t>
            </a:r>
          </a:p>
          <a:p>
            <a:pPr marL="19050" eaLnBrk="1" fontAlgn="auto" hangingPunct="1">
              <a:lnSpc>
                <a:spcPct val="90000"/>
              </a:lnSpc>
              <a:spcBef>
                <a:spcPts val="0"/>
              </a:spcBef>
              <a:spcAft>
                <a:spcPts val="0"/>
              </a:spcAft>
              <a:buClr>
                <a:schemeClr val="dk1"/>
              </a:buClr>
              <a:buSzPts val="3500"/>
              <a:defRPr/>
            </a:pPr>
            <a:endParaRPr sz="2400">
              <a:solidFill>
                <a:schemeClr val="dk1"/>
              </a:solidFill>
              <a:latin typeface="+mn-lt"/>
              <a:sym typeface="Arial"/>
            </a:endParaRPr>
          </a:p>
          <a:p>
            <a:pPr marL="457200" eaLnBrk="1" fontAlgn="auto" hangingPunct="1">
              <a:lnSpc>
                <a:spcPct val="90000"/>
              </a:lnSpc>
              <a:spcBef>
                <a:spcPts val="0"/>
              </a:spcBef>
              <a:spcAft>
                <a:spcPts val="0"/>
              </a:spcAft>
              <a:buClr>
                <a:schemeClr val="dk1"/>
              </a:buClr>
              <a:buSzPts val="2000"/>
              <a:buFont typeface="Arial"/>
              <a:buNone/>
              <a:defRPr/>
            </a:pPr>
            <a:endParaRPr sz="3500">
              <a:solidFill>
                <a:schemeClr val="dk1"/>
              </a:solidFill>
              <a:latin typeface="+mn-lt"/>
              <a:sym typeface="Arial"/>
            </a:endParaRPr>
          </a:p>
        </p:txBody>
      </p:sp>
      <p:pic>
        <p:nvPicPr>
          <p:cNvPr id="3" name="Picture 2">
            <a:extLst>
              <a:ext uri="{FF2B5EF4-FFF2-40B4-BE49-F238E27FC236}">
                <a16:creationId xmlns:a16="http://schemas.microsoft.com/office/drawing/2014/main" id="{DB1B7BB1-5C24-426C-BB79-C677F6174244}"/>
              </a:ext>
            </a:extLst>
          </p:cNvPr>
          <p:cNvPicPr>
            <a:picLocks noChangeAspect="1"/>
          </p:cNvPicPr>
          <p:nvPr/>
        </p:nvPicPr>
        <p:blipFill>
          <a:blip r:embed="rId5"/>
          <a:stretch>
            <a:fillRect/>
          </a:stretch>
        </p:blipFill>
        <p:spPr>
          <a:xfrm>
            <a:off x="8908352" y="2264094"/>
            <a:ext cx="1626545" cy="1626545"/>
          </a:xfrm>
          <a:prstGeom prst="rect">
            <a:avLst/>
          </a:prstGeom>
        </p:spPr>
      </p:pic>
      <p:pic>
        <p:nvPicPr>
          <p:cNvPr id="4" name="Picture 3" descr="A picture containing text, clipart&#10;&#10;Description automatically generated">
            <a:extLst>
              <a:ext uri="{FF2B5EF4-FFF2-40B4-BE49-F238E27FC236}">
                <a16:creationId xmlns:a16="http://schemas.microsoft.com/office/drawing/2014/main" id="{7E699587-0678-331C-7338-811235570DB6}"/>
              </a:ext>
            </a:extLst>
          </p:cNvPr>
          <p:cNvPicPr>
            <a:picLocks noChangeAspect="1"/>
          </p:cNvPicPr>
          <p:nvPr/>
        </p:nvPicPr>
        <p:blipFill>
          <a:blip r:embed="rId6"/>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18931960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555480" y="1213271"/>
            <a:ext cx="8794363" cy="1328738"/>
          </a:xfrm>
        </p:spPr>
        <p:txBody>
          <a:bodyPr/>
          <a:lstStyle/>
          <a:p>
            <a:pPr eaLnBrk="1" hangingPunct="1">
              <a:spcBef>
                <a:spcPct val="0"/>
              </a:spcBef>
              <a:spcAft>
                <a:spcPct val="0"/>
              </a:spcAft>
              <a:buClr>
                <a:srgbClr val="FFFFFF"/>
              </a:buClr>
              <a:buFont typeface="Arial" panose="020B0604020202020204" pitchFamily="34" charset="0"/>
              <a:buNone/>
            </a:pPr>
            <a:r>
              <a:rPr lang="en-US" altLang="en-US">
                <a:solidFill>
                  <a:srgbClr val="FFFFFF"/>
                </a:solidFill>
                <a:latin typeface="Arial" panose="020B0604020202020204" pitchFamily="34" charset="0"/>
                <a:cs typeface="Arial" panose="020B0604020202020204" pitchFamily="34" charset="0"/>
                <a:sym typeface="Arial" panose="020B0604020202020204" pitchFamily="34" charset="0"/>
              </a:rPr>
              <a:t>It’s time to win!</a:t>
            </a:r>
          </a:p>
        </p:txBody>
      </p:sp>
      <p:pic>
        <p:nvPicPr>
          <p:cNvPr id="3" name="Picture 2" descr="A picture containing text, clipart&#10;&#10;Description automatically generated">
            <a:extLst>
              <a:ext uri="{FF2B5EF4-FFF2-40B4-BE49-F238E27FC236}">
                <a16:creationId xmlns:a16="http://schemas.microsoft.com/office/drawing/2014/main" id="{7938D4F5-CEE0-CF93-849C-58A1ED327BB5}"/>
              </a:ext>
            </a:extLst>
          </p:cNvPr>
          <p:cNvPicPr>
            <a:picLocks noChangeAspect="1"/>
          </p:cNvPicPr>
          <p:nvPr/>
        </p:nvPicPr>
        <p:blipFill>
          <a:blip r:embed="rId3"/>
          <a:stretch>
            <a:fillRect/>
          </a:stretch>
        </p:blipFill>
        <p:spPr>
          <a:xfrm>
            <a:off x="10970053" y="246542"/>
            <a:ext cx="753407" cy="752919"/>
          </a:xfrm>
          <a:prstGeom prst="rect">
            <a:avLst/>
          </a:prstGeom>
        </p:spPr>
      </p:pic>
      <p:pic>
        <p:nvPicPr>
          <p:cNvPr id="2" name="Picture 3" descr="Qr code&#10;&#10;Description automatically generated">
            <a:extLst>
              <a:ext uri="{FF2B5EF4-FFF2-40B4-BE49-F238E27FC236}">
                <a16:creationId xmlns:a16="http://schemas.microsoft.com/office/drawing/2014/main" id="{D4125DA8-0C7F-7A79-7B17-DE8265CA3C2A}"/>
              </a:ext>
            </a:extLst>
          </p:cNvPr>
          <p:cNvPicPr>
            <a:picLocks noChangeAspect="1"/>
          </p:cNvPicPr>
          <p:nvPr/>
        </p:nvPicPr>
        <p:blipFill>
          <a:blip r:embed="rId4"/>
          <a:stretch>
            <a:fillRect/>
          </a:stretch>
        </p:blipFill>
        <p:spPr>
          <a:xfrm>
            <a:off x="1464565" y="3159579"/>
            <a:ext cx="2345890" cy="2355397"/>
          </a:xfrm>
          <a:prstGeom prst="rect">
            <a:avLst/>
          </a:prstGeom>
        </p:spPr>
      </p:pic>
    </p:spTree>
    <p:extLst>
      <p:ext uri="{BB962C8B-B14F-4D97-AF65-F5344CB8AC3E}">
        <p14:creationId xmlns:p14="http://schemas.microsoft.com/office/powerpoint/2010/main" val="953890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514646" y="621361"/>
            <a:ext cx="8794363" cy="1328738"/>
          </a:xfrm>
        </p:spPr>
        <p:txBody>
          <a:bodyPr/>
          <a:lstStyle/>
          <a:p>
            <a:pPr eaLnBrk="1" hangingPunct="1">
              <a:spcBef>
                <a:spcPct val="0"/>
              </a:spcBef>
              <a:spcAft>
                <a:spcPct val="0"/>
              </a:spcAft>
              <a:buClr>
                <a:srgbClr val="FFFFFF"/>
              </a:buClr>
            </a:pPr>
            <a:r>
              <a:rPr lang="en-US" altLang="en-US" dirty="0">
                <a:solidFill>
                  <a:srgbClr val="FFFFFF"/>
                </a:solidFill>
              </a:rPr>
              <a:t>THANKS TO OUR CONVENER</a:t>
            </a:r>
            <a:endParaRPr lang="en-US" sz="2100" b="0" dirty="0">
              <a:solidFill>
                <a:srgbClr val="202124"/>
              </a:solidFill>
              <a:latin typeface="Arial" panose="020B0604020202020204" pitchFamily="34" charset="0"/>
              <a:cs typeface="Arial" panose="020B0604020202020204" pitchFamily="34" charset="0"/>
            </a:endParaRPr>
          </a:p>
        </p:txBody>
      </p:sp>
      <p:pic>
        <p:nvPicPr>
          <p:cNvPr id="3" name="Picture 2" descr="A picture containing text, clipart&#10;&#10;Description automatically generated">
            <a:extLst>
              <a:ext uri="{FF2B5EF4-FFF2-40B4-BE49-F238E27FC236}">
                <a16:creationId xmlns:a16="http://schemas.microsoft.com/office/drawing/2014/main" id="{7938D4F5-CEE0-CF93-849C-58A1ED327BB5}"/>
              </a:ext>
            </a:extLst>
          </p:cNvPr>
          <p:cNvPicPr>
            <a:picLocks noChangeAspect="1"/>
          </p:cNvPicPr>
          <p:nvPr/>
        </p:nvPicPr>
        <p:blipFill>
          <a:blip r:embed="rId3"/>
          <a:stretch>
            <a:fillRect/>
          </a:stretch>
        </p:blipFill>
        <p:spPr>
          <a:xfrm>
            <a:off x="10970053" y="246542"/>
            <a:ext cx="753407" cy="752919"/>
          </a:xfrm>
          <a:prstGeom prst="rect">
            <a:avLst/>
          </a:prstGeom>
        </p:spPr>
      </p:pic>
      <p:pic>
        <p:nvPicPr>
          <p:cNvPr id="2" name="Picture 3">
            <a:extLst>
              <a:ext uri="{FF2B5EF4-FFF2-40B4-BE49-F238E27FC236}">
                <a16:creationId xmlns:a16="http://schemas.microsoft.com/office/drawing/2014/main" id="{FF4AC6E2-66CD-A003-B450-4EFD9E3FC279}"/>
              </a:ext>
            </a:extLst>
          </p:cNvPr>
          <p:cNvPicPr>
            <a:picLocks noChangeAspect="1"/>
          </p:cNvPicPr>
          <p:nvPr/>
        </p:nvPicPr>
        <p:blipFill>
          <a:blip r:embed="rId4"/>
          <a:stretch>
            <a:fillRect/>
          </a:stretch>
        </p:blipFill>
        <p:spPr>
          <a:xfrm>
            <a:off x="862269" y="1866241"/>
            <a:ext cx="3244228" cy="3227571"/>
          </a:xfrm>
          <a:prstGeom prst="rect">
            <a:avLst/>
          </a:prstGeom>
        </p:spPr>
      </p:pic>
      <p:pic>
        <p:nvPicPr>
          <p:cNvPr id="4" name="Picture 4">
            <a:extLst>
              <a:ext uri="{FF2B5EF4-FFF2-40B4-BE49-F238E27FC236}">
                <a16:creationId xmlns:a16="http://schemas.microsoft.com/office/drawing/2014/main" id="{B2718A81-5373-1171-8639-4C5BA92B46B7}"/>
              </a:ext>
            </a:extLst>
          </p:cNvPr>
          <p:cNvPicPr>
            <a:picLocks noChangeAspect="1"/>
          </p:cNvPicPr>
          <p:nvPr/>
        </p:nvPicPr>
        <p:blipFill>
          <a:blip r:embed="rId5"/>
          <a:stretch>
            <a:fillRect/>
          </a:stretch>
        </p:blipFill>
        <p:spPr>
          <a:xfrm>
            <a:off x="5762300" y="1598159"/>
            <a:ext cx="3397354" cy="3375931"/>
          </a:xfrm>
          <a:prstGeom prst="rect">
            <a:avLst/>
          </a:prstGeom>
        </p:spPr>
      </p:pic>
      <p:sp>
        <p:nvSpPr>
          <p:cNvPr id="5" name="TextBox 4">
            <a:extLst>
              <a:ext uri="{FF2B5EF4-FFF2-40B4-BE49-F238E27FC236}">
                <a16:creationId xmlns:a16="http://schemas.microsoft.com/office/drawing/2014/main" id="{E038F213-AD2E-772F-0BDB-1167B123AF31}"/>
              </a:ext>
            </a:extLst>
          </p:cNvPr>
          <p:cNvSpPr txBox="1"/>
          <p:nvPr/>
        </p:nvSpPr>
        <p:spPr>
          <a:xfrm>
            <a:off x="1047789" y="5302704"/>
            <a:ext cx="4356126"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FFFFFF"/>
                </a:solidFill>
                <a:cs typeface="Arial"/>
              </a:rPr>
              <a:t>Dr. Gourav Bathla</a:t>
            </a:r>
            <a:br>
              <a:rPr lang="en-US" sz="2800" dirty="0">
                <a:solidFill>
                  <a:srgbClr val="FFFFFF"/>
                </a:solidFill>
                <a:cs typeface="Arial"/>
              </a:rPr>
            </a:br>
            <a:r>
              <a:rPr lang="en-US" dirty="0">
                <a:solidFill>
                  <a:srgbClr val="FFFFFF"/>
                </a:solidFill>
                <a:cs typeface="Arial"/>
              </a:rPr>
              <a:t>Faculty Coordinator </a:t>
            </a:r>
            <a:br>
              <a:rPr lang="en-US" dirty="0">
                <a:cs typeface="Arial"/>
              </a:rPr>
            </a:br>
            <a:r>
              <a:rPr lang="en-US" dirty="0">
                <a:solidFill>
                  <a:srgbClr val="FFFFFF"/>
                </a:solidFill>
                <a:cs typeface="Arial"/>
              </a:rPr>
              <a:t>UPES Open Community</a:t>
            </a:r>
          </a:p>
        </p:txBody>
      </p:sp>
      <p:sp>
        <p:nvSpPr>
          <p:cNvPr id="6" name="TextBox 5">
            <a:extLst>
              <a:ext uri="{FF2B5EF4-FFF2-40B4-BE49-F238E27FC236}">
                <a16:creationId xmlns:a16="http://schemas.microsoft.com/office/drawing/2014/main" id="{944AF32E-509E-40AD-8B41-8F3FB4B46BC6}"/>
              </a:ext>
            </a:extLst>
          </p:cNvPr>
          <p:cNvSpPr txBox="1"/>
          <p:nvPr/>
        </p:nvSpPr>
        <p:spPr>
          <a:xfrm>
            <a:off x="5549693" y="5302703"/>
            <a:ext cx="3692580"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FFFFFF"/>
                </a:solidFill>
                <a:cs typeface="Arial"/>
              </a:rPr>
              <a:t>Mr. Raghav Aggarwal</a:t>
            </a:r>
            <a:br>
              <a:rPr lang="en-US" dirty="0">
                <a:cs typeface="Arial"/>
              </a:rPr>
            </a:br>
            <a:r>
              <a:rPr lang="en-US" dirty="0">
                <a:solidFill>
                  <a:srgbClr val="FFFFFF"/>
                </a:solidFill>
              </a:rPr>
              <a:t>President</a:t>
            </a:r>
            <a:br>
              <a:rPr lang="en-US" dirty="0">
                <a:cs typeface="Arial"/>
              </a:rPr>
            </a:br>
            <a:r>
              <a:rPr lang="en-US" dirty="0">
                <a:solidFill>
                  <a:srgbClr val="FFFFFF"/>
                </a:solidFill>
              </a:rPr>
              <a:t>UPES Open Community</a:t>
            </a:r>
            <a:r>
              <a:rPr lang="en-US" dirty="0">
                <a:solidFill>
                  <a:srgbClr val="FFFFFF"/>
                </a:solidFill>
                <a:cs typeface="Arial"/>
              </a:rPr>
              <a:t>​</a:t>
            </a:r>
            <a:endParaRPr lang="en-US">
              <a:cs typeface="Arial"/>
            </a:endParaRPr>
          </a:p>
        </p:txBody>
      </p:sp>
    </p:spTree>
    <p:extLst>
      <p:ext uri="{BB962C8B-B14F-4D97-AF65-F5344CB8AC3E}">
        <p14:creationId xmlns:p14="http://schemas.microsoft.com/office/powerpoint/2010/main" val="1316233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606522" y="2100262"/>
            <a:ext cx="8794363" cy="1328738"/>
          </a:xfrm>
        </p:spPr>
        <p:txBody>
          <a:bodyPr/>
          <a:lstStyle/>
          <a:p>
            <a:pPr>
              <a:spcBef>
                <a:spcPct val="0"/>
              </a:spcBef>
              <a:spcAft>
                <a:spcPct val="0"/>
              </a:spcAft>
            </a:pPr>
            <a:r>
              <a:rPr lang="en-US" altLang="en-US">
                <a:solidFill>
                  <a:srgbClr val="FFFFFF"/>
                </a:solidFill>
                <a:sym typeface="Arial" panose="020B0604020202020204" pitchFamily="34" charset="0"/>
              </a:rPr>
              <a:t>Time to feedback</a:t>
            </a:r>
            <a:endParaRPr lang="en-US" dirty="0"/>
          </a:p>
        </p:txBody>
      </p:sp>
      <p:pic>
        <p:nvPicPr>
          <p:cNvPr id="3" name="Picture 2" descr="A picture containing text, clipart&#10;&#10;Description automatically generated">
            <a:extLst>
              <a:ext uri="{FF2B5EF4-FFF2-40B4-BE49-F238E27FC236}">
                <a16:creationId xmlns:a16="http://schemas.microsoft.com/office/drawing/2014/main" id="{BD32F0DC-90A9-F3DE-30E6-8284A9BF9BC6}"/>
              </a:ext>
            </a:extLst>
          </p:cNvPr>
          <p:cNvPicPr>
            <a:picLocks noChangeAspect="1"/>
          </p:cNvPicPr>
          <p:nvPr/>
        </p:nvPicPr>
        <p:blipFill>
          <a:blip r:embed="rId3"/>
          <a:stretch>
            <a:fillRect/>
          </a:stretch>
        </p:blipFill>
        <p:spPr>
          <a:xfrm>
            <a:off x="10900232" y="286414"/>
            <a:ext cx="753407" cy="752919"/>
          </a:xfrm>
          <a:prstGeom prst="rect">
            <a:avLst/>
          </a:prstGeom>
        </p:spPr>
      </p:pic>
    </p:spTree>
    <p:extLst>
      <p:ext uri="{BB962C8B-B14F-4D97-AF65-F5344CB8AC3E}">
        <p14:creationId xmlns:p14="http://schemas.microsoft.com/office/powerpoint/2010/main" val="1259665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2">
            <a:extLst>
              <a:ext uri="{FF2B5EF4-FFF2-40B4-BE49-F238E27FC236}">
                <a16:creationId xmlns:a16="http://schemas.microsoft.com/office/drawing/2014/main" id="{D74CB82B-EA2F-487C-529A-BBA0B4EE5EE6}"/>
              </a:ext>
            </a:extLst>
          </p:cNvPr>
          <p:cNvSpPr txBox="1">
            <a:spLocks noGrp="1" noChangeArrowheads="1"/>
          </p:cNvSpPr>
          <p:nvPr>
            <p:ph type="body" idx="1"/>
          </p:nvPr>
        </p:nvSpPr>
        <p:spPr>
          <a:xfrm>
            <a:off x="702026" y="2097062"/>
            <a:ext cx="3304934" cy="1426704"/>
          </a:xfrm>
        </p:spPr>
        <p:txBody>
          <a:bodyPr/>
          <a:lstStyle/>
          <a:p>
            <a:endParaRPr lang="en-US" altLang="en-US" sz="4400" b="1">
              <a:latin typeface="+mn-lt"/>
              <a:cs typeface="Arial" panose="020B0604020202020204" pitchFamily="34" charset="0"/>
            </a:endParaRPr>
          </a:p>
          <a:p>
            <a:r>
              <a:rPr lang="en-US" altLang="en-US" sz="4400" b="1">
                <a:latin typeface="+mn-lt"/>
                <a:cs typeface="Arial" panose="020B0604020202020204" pitchFamily="34" charset="0"/>
              </a:rPr>
              <a:t>Thank You  </a:t>
            </a:r>
            <a:endParaRPr lang="en-IN" altLang="en-US" sz="4400" b="1">
              <a:latin typeface="+mn-lt"/>
              <a:cs typeface="Arial" panose="020B0604020202020204" pitchFamily="34" charset="0"/>
            </a:endParaRPr>
          </a:p>
          <a:p>
            <a:endParaRPr lang="en-IN" sz="4400" b="1">
              <a:latin typeface="+mn-lt"/>
            </a:endParaRPr>
          </a:p>
          <a:p>
            <a:pPr eaLnBrk="1" hangingPunct="1">
              <a:spcAft>
                <a:spcPct val="0"/>
              </a:spcAft>
              <a:buClr>
                <a:srgbClr val="000000"/>
              </a:buClr>
            </a:pPr>
            <a:endParaRPr lang="en-IN" altLang="en-US" sz="4400">
              <a:latin typeface="Arial" panose="020B0604020202020204" pitchFamily="34" charset="0"/>
              <a:cs typeface="Arial" panose="020B0604020202020204" pitchFamily="34" charset="0"/>
            </a:endParaRPr>
          </a:p>
        </p:txBody>
      </p:sp>
      <p:grpSp>
        <p:nvGrpSpPr>
          <p:cNvPr id="2" name="Google Shape;846;p19">
            <a:extLst>
              <a:ext uri="{FF2B5EF4-FFF2-40B4-BE49-F238E27FC236}">
                <a16:creationId xmlns:a16="http://schemas.microsoft.com/office/drawing/2014/main" id="{BFFFC4FB-8FA9-CE5F-9927-7F3466D831CB}"/>
              </a:ext>
            </a:extLst>
          </p:cNvPr>
          <p:cNvGrpSpPr>
            <a:grpSpLocks/>
          </p:cNvGrpSpPr>
          <p:nvPr/>
        </p:nvGrpSpPr>
        <p:grpSpPr bwMode="auto">
          <a:xfrm>
            <a:off x="793750" y="2652713"/>
            <a:ext cx="2644775" cy="2557462"/>
            <a:chOff x="-9854" y="1867694"/>
            <a:chExt cx="6391604" cy="5114974"/>
          </a:xfrm>
        </p:grpSpPr>
        <p:sp>
          <p:nvSpPr>
            <p:cNvPr id="3" name="Google Shape;847;p19">
              <a:extLst>
                <a:ext uri="{FF2B5EF4-FFF2-40B4-BE49-F238E27FC236}">
                  <a16:creationId xmlns:a16="http://schemas.microsoft.com/office/drawing/2014/main" id="{DC638774-5790-4704-1351-CC6ED153C8D2}"/>
                </a:ext>
              </a:extLst>
            </p:cNvPr>
            <p:cNvSpPr>
              <a:spLocks/>
            </p:cNvSpPr>
            <p:nvPr/>
          </p:nvSpPr>
          <p:spPr bwMode="auto">
            <a:xfrm>
              <a:off x="1615709" y="1867694"/>
              <a:ext cx="2969039" cy="3674194"/>
            </a:xfrm>
            <a:custGeom>
              <a:avLst/>
              <a:gdLst>
                <a:gd name="T0" fmla="*/ 380406 w 2969039"/>
                <a:gd name="T1" fmla="*/ 1154004 h 3674194"/>
                <a:gd name="T2" fmla="*/ 0 w 2969039"/>
                <a:gd name="T3" fmla="*/ 472426 h 3674194"/>
                <a:gd name="T4" fmla="*/ 1902031 w 2969039"/>
                <a:gd name="T5" fmla="*/ 60311 h 3674194"/>
                <a:gd name="T6" fmla="*/ 2884755 w 2969039"/>
                <a:gd name="T7" fmla="*/ 1819690 h 3674194"/>
                <a:gd name="T8" fmla="*/ 2135978 w 2969039"/>
                <a:gd name="T9" fmla="*/ 2775432 h 3674194"/>
                <a:gd name="T10" fmla="*/ 1695960 w 2969039"/>
                <a:gd name="T11" fmla="*/ 3674195 h 3674194"/>
                <a:gd name="T12" fmla="*/ 852081 w 2969039"/>
                <a:gd name="T13" fmla="*/ 3674195 h 3674194"/>
                <a:gd name="T14" fmla="*/ 1291766 w 2969039"/>
                <a:gd name="T15" fmla="*/ 2303143 h 3674194"/>
                <a:gd name="T16" fmla="*/ 1981291 w 2969039"/>
                <a:gd name="T17" fmla="*/ 1375891 h 3674194"/>
                <a:gd name="T18" fmla="*/ 776654 w 2969039"/>
                <a:gd name="T19" fmla="*/ 963776 h 3674194"/>
                <a:gd name="T20" fmla="*/ 380406 w 2969039"/>
                <a:gd name="T21" fmla="*/ 1154004 h 3674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69039" h="3674194" extrusionOk="0">
                  <a:moveTo>
                    <a:pt x="380406" y="1154004"/>
                  </a:moveTo>
                  <a:lnTo>
                    <a:pt x="0" y="472426"/>
                  </a:lnTo>
                  <a:cubicBezTo>
                    <a:pt x="0" y="472426"/>
                    <a:pt x="673632" y="-201205"/>
                    <a:pt x="1902031" y="60311"/>
                  </a:cubicBezTo>
                  <a:cubicBezTo>
                    <a:pt x="2943446" y="282019"/>
                    <a:pt x="3101353" y="1320547"/>
                    <a:pt x="2884755" y="1819690"/>
                  </a:cubicBezTo>
                  <a:cubicBezTo>
                    <a:pt x="2702473" y="2239751"/>
                    <a:pt x="2385792" y="2510696"/>
                    <a:pt x="2135978" y="2775432"/>
                  </a:cubicBezTo>
                  <a:cubicBezTo>
                    <a:pt x="1886189" y="3040168"/>
                    <a:pt x="1695960" y="3119427"/>
                    <a:pt x="1695960" y="3674195"/>
                  </a:cubicBezTo>
                  <a:cubicBezTo>
                    <a:pt x="1077800" y="3674195"/>
                    <a:pt x="852081" y="3674195"/>
                    <a:pt x="852081" y="3674195"/>
                  </a:cubicBezTo>
                  <a:cubicBezTo>
                    <a:pt x="852081" y="3674195"/>
                    <a:pt x="586425" y="2897541"/>
                    <a:pt x="1291766" y="2303143"/>
                  </a:cubicBezTo>
                  <a:cubicBezTo>
                    <a:pt x="1711828" y="2025760"/>
                    <a:pt x="1964912" y="1686874"/>
                    <a:pt x="1981291" y="1375891"/>
                  </a:cubicBezTo>
                  <a:cubicBezTo>
                    <a:pt x="2005079" y="924146"/>
                    <a:pt x="1497862" y="591291"/>
                    <a:pt x="776654" y="963776"/>
                  </a:cubicBezTo>
                  <a:cubicBezTo>
                    <a:pt x="694558" y="1006216"/>
                    <a:pt x="380406" y="1154004"/>
                    <a:pt x="380406" y="1154004"/>
                  </a:cubicBezTo>
                  <a:close/>
                </a:path>
              </a:pathLst>
            </a:custGeom>
            <a:noFill/>
            <a:ln w="76200" cap="flat" cmpd="sng">
              <a:solidFill>
                <a:srgbClr val="58595B"/>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4" name="Google Shape;848;p19">
              <a:extLst>
                <a:ext uri="{FF2B5EF4-FFF2-40B4-BE49-F238E27FC236}">
                  <a16:creationId xmlns:a16="http://schemas.microsoft.com/office/drawing/2014/main" id="{E4049B41-AB49-34A4-9542-71FC056955FA}"/>
                </a:ext>
              </a:extLst>
            </p:cNvPr>
            <p:cNvSpPr>
              <a:spLocks/>
            </p:cNvSpPr>
            <p:nvPr/>
          </p:nvSpPr>
          <p:spPr bwMode="auto">
            <a:xfrm>
              <a:off x="1597720" y="5813964"/>
              <a:ext cx="3450696" cy="1027942"/>
            </a:xfrm>
            <a:custGeom>
              <a:avLst/>
              <a:gdLst>
                <a:gd name="T0" fmla="*/ 3450697 w 3450696"/>
                <a:gd name="T1" fmla="*/ 1027942 h 1027942"/>
                <a:gd name="T2" fmla="*/ 1707440 w 3450696"/>
                <a:gd name="T3" fmla="*/ 1027942 h 1027942"/>
                <a:gd name="T4" fmla="*/ 1846817 w 3450696"/>
                <a:gd name="T5" fmla="*/ 234584 h 1027942"/>
                <a:gd name="T6" fmla="*/ 1028488 w 3450696"/>
                <a:gd name="T7" fmla="*/ 107226 h 1027942"/>
                <a:gd name="T8" fmla="*/ 1028488 w 3450696"/>
                <a:gd name="T9" fmla="*/ 1027942 h 1027942"/>
                <a:gd name="T10" fmla="*/ 0 w 3450696"/>
                <a:gd name="T11" fmla="*/ 1027942 h 1027942"/>
                <a:gd name="T12" fmla="*/ 1028488 w 3450696"/>
                <a:gd name="T13" fmla="*/ 1027942 h 10279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50696" h="1027942" extrusionOk="0">
                  <a:moveTo>
                    <a:pt x="3450697" y="1027942"/>
                  </a:moveTo>
                  <a:lnTo>
                    <a:pt x="1707440" y="1027942"/>
                  </a:lnTo>
                  <a:cubicBezTo>
                    <a:pt x="1707440" y="1027942"/>
                    <a:pt x="2110888" y="577884"/>
                    <a:pt x="1846817" y="234584"/>
                  </a:cubicBezTo>
                  <a:cubicBezTo>
                    <a:pt x="1586717" y="-103573"/>
                    <a:pt x="1172822" y="-9739"/>
                    <a:pt x="1028488" y="107226"/>
                  </a:cubicBezTo>
                  <a:cubicBezTo>
                    <a:pt x="527342" y="513339"/>
                    <a:pt x="1028488" y="1027942"/>
                    <a:pt x="1028488" y="1027942"/>
                  </a:cubicBezTo>
                  <a:lnTo>
                    <a:pt x="0" y="1027942"/>
                  </a:lnTo>
                  <a:lnTo>
                    <a:pt x="1028488" y="1027942"/>
                  </a:lnTo>
                </a:path>
              </a:pathLst>
            </a:custGeom>
            <a:noFill/>
            <a:ln w="67925" cap="flat" cmpd="sng">
              <a:solidFill>
                <a:srgbClr val="58595B"/>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nvGrpSpPr>
            <p:cNvPr id="5" name="Google Shape;849;p19">
              <a:extLst>
                <a:ext uri="{FF2B5EF4-FFF2-40B4-BE49-F238E27FC236}">
                  <a16:creationId xmlns:a16="http://schemas.microsoft.com/office/drawing/2014/main" id="{9C2FA208-4138-AC6F-F74A-318ECBF48BD8}"/>
                </a:ext>
              </a:extLst>
            </p:cNvPr>
            <p:cNvGrpSpPr>
              <a:grpSpLocks/>
            </p:cNvGrpSpPr>
            <p:nvPr/>
          </p:nvGrpSpPr>
          <p:grpSpPr bwMode="auto">
            <a:xfrm>
              <a:off x="3867987" y="2618112"/>
              <a:ext cx="624870" cy="622425"/>
              <a:chOff x="5716936" y="3051333"/>
              <a:chExt cx="754761" cy="751808"/>
            </a:xfrm>
          </p:grpSpPr>
          <p:sp>
            <p:nvSpPr>
              <p:cNvPr id="57545" name="Google Shape;850;p19">
                <a:extLst>
                  <a:ext uri="{FF2B5EF4-FFF2-40B4-BE49-F238E27FC236}">
                    <a16:creationId xmlns:a16="http://schemas.microsoft.com/office/drawing/2014/main" id="{3F12C9E3-FA5A-DAE4-96B1-66D5891B6750}"/>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546" name="Google Shape;851;p19">
                <a:extLst>
                  <a:ext uri="{FF2B5EF4-FFF2-40B4-BE49-F238E27FC236}">
                    <a16:creationId xmlns:a16="http://schemas.microsoft.com/office/drawing/2014/main" id="{379110E6-DC6C-98DB-3855-2932DFFB3D94}"/>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6" name="Google Shape;852;p19">
              <a:extLst>
                <a:ext uri="{FF2B5EF4-FFF2-40B4-BE49-F238E27FC236}">
                  <a16:creationId xmlns:a16="http://schemas.microsoft.com/office/drawing/2014/main" id="{FB0D79D1-2DB6-10BD-B947-890C330D59AA}"/>
                </a:ext>
              </a:extLst>
            </p:cNvPr>
            <p:cNvGrpSpPr>
              <a:grpSpLocks/>
            </p:cNvGrpSpPr>
            <p:nvPr/>
          </p:nvGrpSpPr>
          <p:grpSpPr bwMode="auto">
            <a:xfrm>
              <a:off x="3298078" y="2081396"/>
              <a:ext cx="716050" cy="716066"/>
              <a:chOff x="5465747" y="2800335"/>
              <a:chExt cx="1253866" cy="1253894"/>
            </a:xfrm>
          </p:grpSpPr>
          <p:sp>
            <p:nvSpPr>
              <p:cNvPr id="57499" name="Google Shape;853;p19">
                <a:extLst>
                  <a:ext uri="{FF2B5EF4-FFF2-40B4-BE49-F238E27FC236}">
                    <a16:creationId xmlns:a16="http://schemas.microsoft.com/office/drawing/2014/main" id="{E538543A-D976-15DA-C9CA-261C5100B606}"/>
                  </a:ext>
                </a:extLst>
              </p:cNvPr>
              <p:cNvSpPr>
                <a:spLocks/>
              </p:cNvSpPr>
              <p:nvPr/>
            </p:nvSpPr>
            <p:spPr bwMode="auto">
              <a:xfrm>
                <a:off x="5499561" y="2834149"/>
                <a:ext cx="1186176" cy="1186176"/>
              </a:xfrm>
              <a:custGeom>
                <a:avLst/>
                <a:gdLst>
                  <a:gd name="T0" fmla="*/ 946323 w 1186176"/>
                  <a:gd name="T1" fmla="*/ 116695 h 1186176"/>
                  <a:gd name="T2" fmla="*/ 116695 w 1186176"/>
                  <a:gd name="T3" fmla="*/ 239854 h 1186176"/>
                  <a:gd name="T4" fmla="*/ 239854 w 1186176"/>
                  <a:gd name="T5" fmla="*/ 1069481 h 1186176"/>
                  <a:gd name="T6" fmla="*/ 1069481 w 1186176"/>
                  <a:gd name="T7" fmla="*/ 946323 h 1186176"/>
                  <a:gd name="T8" fmla="*/ 946323 w 1186176"/>
                  <a:gd name="T9" fmla="*/ 116695 h 1186176"/>
                  <a:gd name="T10" fmla="*/ 322340 w 1186176"/>
                  <a:gd name="T11" fmla="*/ 958229 h 1186176"/>
                  <a:gd name="T12" fmla="*/ 227947 w 1186176"/>
                  <a:gd name="T13" fmla="*/ 322340 h 1186176"/>
                  <a:gd name="T14" fmla="*/ 863836 w 1186176"/>
                  <a:gd name="T15" fmla="*/ 227947 h 1186176"/>
                  <a:gd name="T16" fmla="*/ 958229 w 1186176"/>
                  <a:gd name="T17" fmla="*/ 863836 h 1186176"/>
                  <a:gd name="T18" fmla="*/ 322340 w 1186176"/>
                  <a:gd name="T19" fmla="*/ 958229 h 11861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86176" h="1186176" extrusionOk="0">
                    <a:moveTo>
                      <a:pt x="946323" y="116695"/>
                    </a:moveTo>
                    <a:cubicBezTo>
                      <a:pt x="683242" y="-78377"/>
                      <a:pt x="311767" y="-23227"/>
                      <a:pt x="116695" y="239854"/>
                    </a:cubicBezTo>
                    <a:cubicBezTo>
                      <a:pt x="-78377" y="503029"/>
                      <a:pt x="-23227" y="874409"/>
                      <a:pt x="239854" y="1069481"/>
                    </a:cubicBezTo>
                    <a:cubicBezTo>
                      <a:pt x="502934" y="1264553"/>
                      <a:pt x="874409" y="1209404"/>
                      <a:pt x="1069481" y="946323"/>
                    </a:cubicBezTo>
                    <a:cubicBezTo>
                      <a:pt x="1264553" y="683242"/>
                      <a:pt x="1209404" y="311767"/>
                      <a:pt x="946323" y="116695"/>
                    </a:cubicBezTo>
                    <a:close/>
                    <a:moveTo>
                      <a:pt x="322340" y="958229"/>
                    </a:moveTo>
                    <a:cubicBezTo>
                      <a:pt x="120696" y="808782"/>
                      <a:pt x="78405" y="524080"/>
                      <a:pt x="227947" y="322340"/>
                    </a:cubicBezTo>
                    <a:cubicBezTo>
                      <a:pt x="377490" y="120696"/>
                      <a:pt x="662192" y="78405"/>
                      <a:pt x="863836" y="227947"/>
                    </a:cubicBezTo>
                    <a:cubicBezTo>
                      <a:pt x="1065481" y="377490"/>
                      <a:pt x="1107772" y="662192"/>
                      <a:pt x="958229" y="863836"/>
                    </a:cubicBezTo>
                    <a:cubicBezTo>
                      <a:pt x="808687" y="1065576"/>
                      <a:pt x="523984" y="1107772"/>
                      <a:pt x="322340" y="958229"/>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nvGrpSpPr>
              <p:cNvPr id="57500" name="Google Shape;854;p19">
                <a:extLst>
                  <a:ext uri="{FF2B5EF4-FFF2-40B4-BE49-F238E27FC236}">
                    <a16:creationId xmlns:a16="http://schemas.microsoft.com/office/drawing/2014/main" id="{14557608-E02F-83E4-7BB3-C29C15180FA5}"/>
                  </a:ext>
                </a:extLst>
              </p:cNvPr>
              <p:cNvGrpSpPr>
                <a:grpSpLocks/>
              </p:cNvGrpSpPr>
              <p:nvPr/>
            </p:nvGrpSpPr>
            <p:grpSpPr bwMode="auto">
              <a:xfrm>
                <a:off x="5539390" y="2873882"/>
                <a:ext cx="1106614" cy="1106710"/>
                <a:chOff x="5539390" y="2873882"/>
                <a:chExt cx="1106614" cy="1106710"/>
              </a:xfrm>
            </p:grpSpPr>
            <p:grpSp>
              <p:nvGrpSpPr>
                <p:cNvPr id="57509" name="Google Shape;855;p19">
                  <a:extLst>
                    <a:ext uri="{FF2B5EF4-FFF2-40B4-BE49-F238E27FC236}">
                      <a16:creationId xmlns:a16="http://schemas.microsoft.com/office/drawing/2014/main" id="{D639949D-F51F-0805-894B-5FDFC414E842}"/>
                    </a:ext>
                  </a:extLst>
                </p:cNvPr>
                <p:cNvGrpSpPr>
                  <a:grpSpLocks/>
                </p:cNvGrpSpPr>
                <p:nvPr/>
              </p:nvGrpSpPr>
              <p:grpSpPr bwMode="auto">
                <a:xfrm>
                  <a:off x="5739796" y="2965418"/>
                  <a:ext cx="705707" cy="923734"/>
                  <a:chOff x="5739796" y="2965418"/>
                  <a:chExt cx="705707" cy="923734"/>
                </a:xfrm>
              </p:grpSpPr>
              <p:sp>
                <p:nvSpPr>
                  <p:cNvPr id="57543" name="Google Shape;856;p19">
                    <a:extLst>
                      <a:ext uri="{FF2B5EF4-FFF2-40B4-BE49-F238E27FC236}">
                        <a16:creationId xmlns:a16="http://schemas.microsoft.com/office/drawing/2014/main" id="{1F9D9C7B-F3C4-87CC-2C71-27585D69A6EA}"/>
                      </a:ext>
                    </a:extLst>
                  </p:cNvPr>
                  <p:cNvSpPr>
                    <a:spLocks/>
                  </p:cNvSpPr>
                  <p:nvPr/>
                </p:nvSpPr>
                <p:spPr bwMode="auto">
                  <a:xfrm>
                    <a:off x="5739796" y="3545871"/>
                    <a:ext cx="268509" cy="343281"/>
                  </a:xfrm>
                  <a:custGeom>
                    <a:avLst/>
                    <a:gdLst>
                      <a:gd name="T0" fmla="*/ 113538 w 268509"/>
                      <a:gd name="T1" fmla="*/ 235363 h 343281"/>
                      <a:gd name="T2" fmla="*/ 120110 w 268509"/>
                      <a:gd name="T3" fmla="*/ 235363 h 343281"/>
                      <a:gd name="T4" fmla="*/ 268510 w 268509"/>
                      <a:gd name="T5" fmla="*/ 11525 h 343281"/>
                      <a:gd name="T6" fmla="*/ 252984 w 268509"/>
                      <a:gd name="T7" fmla="*/ 0 h 343281"/>
                      <a:gd name="T8" fmla="*/ 81820 w 268509"/>
                      <a:gd name="T9" fmla="*/ 206978 h 343281"/>
                      <a:gd name="T10" fmla="*/ 83725 w 268509"/>
                      <a:gd name="T11" fmla="*/ 213170 h 343281"/>
                      <a:gd name="T12" fmla="*/ 80296 w 268509"/>
                      <a:gd name="T13" fmla="*/ 219647 h 343281"/>
                      <a:gd name="T14" fmla="*/ 0 w 268509"/>
                      <a:gd name="T15" fmla="*/ 308896 h 343281"/>
                      <a:gd name="T16" fmla="*/ 46292 w 268509"/>
                      <a:gd name="T17" fmla="*/ 343281 h 343281"/>
                      <a:gd name="T18" fmla="*/ 108395 w 268509"/>
                      <a:gd name="T19" fmla="*/ 240506 h 343281"/>
                      <a:gd name="T20" fmla="*/ 113538 w 268509"/>
                      <a:gd name="T21" fmla="*/ 235363 h 3432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8509" h="343281" extrusionOk="0">
                        <a:moveTo>
                          <a:pt x="113538" y="235363"/>
                        </a:moveTo>
                        <a:cubicBezTo>
                          <a:pt x="117157" y="233648"/>
                          <a:pt x="120110" y="235363"/>
                          <a:pt x="120110" y="235363"/>
                        </a:cubicBezTo>
                        <a:lnTo>
                          <a:pt x="268510" y="11525"/>
                        </a:lnTo>
                        <a:lnTo>
                          <a:pt x="252984" y="0"/>
                        </a:lnTo>
                        <a:lnTo>
                          <a:pt x="81820" y="206978"/>
                        </a:lnTo>
                        <a:cubicBezTo>
                          <a:pt x="81820" y="206978"/>
                          <a:pt x="84296" y="209264"/>
                          <a:pt x="83725" y="213170"/>
                        </a:cubicBezTo>
                        <a:cubicBezTo>
                          <a:pt x="83248" y="216408"/>
                          <a:pt x="80296" y="219647"/>
                          <a:pt x="80296" y="219647"/>
                        </a:cubicBezTo>
                        <a:lnTo>
                          <a:pt x="0" y="308896"/>
                        </a:lnTo>
                        <a:lnTo>
                          <a:pt x="46292" y="343281"/>
                        </a:lnTo>
                        <a:lnTo>
                          <a:pt x="108395" y="240506"/>
                        </a:lnTo>
                        <a:cubicBezTo>
                          <a:pt x="108395" y="240506"/>
                          <a:pt x="110585" y="236696"/>
                          <a:pt x="113538" y="2353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4" name="Google Shape;857;p19">
                    <a:extLst>
                      <a:ext uri="{FF2B5EF4-FFF2-40B4-BE49-F238E27FC236}">
                        <a16:creationId xmlns:a16="http://schemas.microsoft.com/office/drawing/2014/main" id="{FA4494FB-16D5-DA06-48DB-89D2F516B3D9}"/>
                      </a:ext>
                    </a:extLst>
                  </p:cNvPr>
                  <p:cNvSpPr>
                    <a:spLocks/>
                  </p:cNvSpPr>
                  <p:nvPr/>
                </p:nvSpPr>
                <p:spPr bwMode="auto">
                  <a:xfrm>
                    <a:off x="6177089" y="2965418"/>
                    <a:ext cx="268414" cy="343280"/>
                  </a:xfrm>
                  <a:custGeom>
                    <a:avLst/>
                    <a:gdLst>
                      <a:gd name="T0" fmla="*/ 154877 w 268414"/>
                      <a:gd name="T1" fmla="*/ 107918 h 343280"/>
                      <a:gd name="T2" fmla="*/ 148400 w 268414"/>
                      <a:gd name="T3" fmla="*/ 107918 h 343280"/>
                      <a:gd name="T4" fmla="*/ 0 w 268414"/>
                      <a:gd name="T5" fmla="*/ 331756 h 343280"/>
                      <a:gd name="T6" fmla="*/ 15526 w 268414"/>
                      <a:gd name="T7" fmla="*/ 343281 h 343280"/>
                      <a:gd name="T8" fmla="*/ 186595 w 268414"/>
                      <a:gd name="T9" fmla="*/ 136303 h 343280"/>
                      <a:gd name="T10" fmla="*/ 184690 w 268414"/>
                      <a:gd name="T11" fmla="*/ 130016 h 343280"/>
                      <a:gd name="T12" fmla="*/ 188119 w 268414"/>
                      <a:gd name="T13" fmla="*/ 123634 h 343280"/>
                      <a:gd name="T14" fmla="*/ 268415 w 268414"/>
                      <a:gd name="T15" fmla="*/ 34290 h 343280"/>
                      <a:gd name="T16" fmla="*/ 222123 w 268414"/>
                      <a:gd name="T17" fmla="*/ 0 h 343280"/>
                      <a:gd name="T18" fmla="*/ 160020 w 268414"/>
                      <a:gd name="T19" fmla="*/ 102775 h 343280"/>
                      <a:gd name="T20" fmla="*/ 154877 w 268414"/>
                      <a:gd name="T21" fmla="*/ 107918 h 343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8414" h="343280" extrusionOk="0">
                        <a:moveTo>
                          <a:pt x="154877" y="107918"/>
                        </a:moveTo>
                        <a:cubicBezTo>
                          <a:pt x="151257" y="109633"/>
                          <a:pt x="148400" y="107918"/>
                          <a:pt x="148400" y="107918"/>
                        </a:cubicBezTo>
                        <a:lnTo>
                          <a:pt x="0" y="331756"/>
                        </a:lnTo>
                        <a:lnTo>
                          <a:pt x="15526" y="343281"/>
                        </a:lnTo>
                        <a:lnTo>
                          <a:pt x="186595" y="136303"/>
                        </a:lnTo>
                        <a:cubicBezTo>
                          <a:pt x="186595" y="136303"/>
                          <a:pt x="184118" y="134017"/>
                          <a:pt x="184690" y="130016"/>
                        </a:cubicBezTo>
                        <a:cubicBezTo>
                          <a:pt x="185166" y="126778"/>
                          <a:pt x="188119" y="123634"/>
                          <a:pt x="188119" y="123634"/>
                        </a:cubicBezTo>
                        <a:lnTo>
                          <a:pt x="268415" y="34290"/>
                        </a:lnTo>
                        <a:lnTo>
                          <a:pt x="222123" y="0"/>
                        </a:lnTo>
                        <a:lnTo>
                          <a:pt x="160020" y="102775"/>
                        </a:lnTo>
                        <a:cubicBezTo>
                          <a:pt x="160020" y="102775"/>
                          <a:pt x="157829" y="106585"/>
                          <a:pt x="154877" y="10791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0" name="Google Shape;858;p19">
                  <a:extLst>
                    <a:ext uri="{FF2B5EF4-FFF2-40B4-BE49-F238E27FC236}">
                      <a16:creationId xmlns:a16="http://schemas.microsoft.com/office/drawing/2014/main" id="{97EA0907-F5FF-D18B-F7B3-E14AE88270A7}"/>
                    </a:ext>
                  </a:extLst>
                </p:cNvPr>
                <p:cNvGrpSpPr>
                  <a:grpSpLocks/>
                </p:cNvGrpSpPr>
                <p:nvPr/>
              </p:nvGrpSpPr>
              <p:grpSpPr bwMode="auto">
                <a:xfrm>
                  <a:off x="5630639" y="3074384"/>
                  <a:ext cx="924020" cy="705707"/>
                  <a:chOff x="5630639" y="3074384"/>
                  <a:chExt cx="924020" cy="705707"/>
                </a:xfrm>
              </p:grpSpPr>
              <p:sp>
                <p:nvSpPr>
                  <p:cNvPr id="57541" name="Google Shape;859;p19">
                    <a:extLst>
                      <a:ext uri="{FF2B5EF4-FFF2-40B4-BE49-F238E27FC236}">
                        <a16:creationId xmlns:a16="http://schemas.microsoft.com/office/drawing/2014/main" id="{18627CD9-1964-BABE-B373-5285AE4D8B29}"/>
                      </a:ext>
                    </a:extLst>
                  </p:cNvPr>
                  <p:cNvSpPr>
                    <a:spLocks/>
                  </p:cNvSpPr>
                  <p:nvPr/>
                </p:nvSpPr>
                <p:spPr bwMode="auto">
                  <a:xfrm>
                    <a:off x="6211283" y="3511677"/>
                    <a:ext cx="343376" cy="268414"/>
                  </a:xfrm>
                  <a:custGeom>
                    <a:avLst/>
                    <a:gdLst>
                      <a:gd name="T0" fmla="*/ 235363 w 343376"/>
                      <a:gd name="T1" fmla="*/ 154972 h 268414"/>
                      <a:gd name="T2" fmla="*/ 235363 w 343376"/>
                      <a:gd name="T3" fmla="*/ 148400 h 268414"/>
                      <a:gd name="T4" fmla="*/ 11525 w 343376"/>
                      <a:gd name="T5" fmla="*/ 0 h 268414"/>
                      <a:gd name="T6" fmla="*/ 0 w 343376"/>
                      <a:gd name="T7" fmla="*/ 15526 h 268414"/>
                      <a:gd name="T8" fmla="*/ 206978 w 343376"/>
                      <a:gd name="T9" fmla="*/ 186595 h 268414"/>
                      <a:gd name="T10" fmla="*/ 213265 w 343376"/>
                      <a:gd name="T11" fmla="*/ 184690 h 268414"/>
                      <a:gd name="T12" fmla="*/ 219742 w 343376"/>
                      <a:gd name="T13" fmla="*/ 188119 h 268414"/>
                      <a:gd name="T14" fmla="*/ 308991 w 343376"/>
                      <a:gd name="T15" fmla="*/ 268415 h 268414"/>
                      <a:gd name="T16" fmla="*/ 343376 w 343376"/>
                      <a:gd name="T17" fmla="*/ 222123 h 268414"/>
                      <a:gd name="T18" fmla="*/ 240602 w 343376"/>
                      <a:gd name="T19" fmla="*/ 160020 h 268414"/>
                      <a:gd name="T20" fmla="*/ 235363 w 343376"/>
                      <a:gd name="T21" fmla="*/ 154972 h 2684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3376" h="268414" extrusionOk="0">
                        <a:moveTo>
                          <a:pt x="235363" y="154972"/>
                        </a:moveTo>
                        <a:cubicBezTo>
                          <a:pt x="233648" y="151352"/>
                          <a:pt x="235363" y="148400"/>
                          <a:pt x="235363" y="148400"/>
                        </a:cubicBezTo>
                        <a:lnTo>
                          <a:pt x="11525" y="0"/>
                        </a:lnTo>
                        <a:lnTo>
                          <a:pt x="0" y="15526"/>
                        </a:lnTo>
                        <a:lnTo>
                          <a:pt x="206978" y="186595"/>
                        </a:lnTo>
                        <a:cubicBezTo>
                          <a:pt x="206978" y="186595"/>
                          <a:pt x="209264" y="184118"/>
                          <a:pt x="213265" y="184690"/>
                        </a:cubicBezTo>
                        <a:cubicBezTo>
                          <a:pt x="216503" y="185071"/>
                          <a:pt x="219742" y="188119"/>
                          <a:pt x="219742" y="188119"/>
                        </a:cubicBezTo>
                        <a:lnTo>
                          <a:pt x="308991" y="268415"/>
                        </a:lnTo>
                        <a:lnTo>
                          <a:pt x="343376" y="222123"/>
                        </a:lnTo>
                        <a:lnTo>
                          <a:pt x="240602" y="160020"/>
                        </a:lnTo>
                        <a:cubicBezTo>
                          <a:pt x="240506" y="160115"/>
                          <a:pt x="236696" y="157925"/>
                          <a:pt x="235363" y="15497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2" name="Google Shape;860;p19">
                    <a:extLst>
                      <a:ext uri="{FF2B5EF4-FFF2-40B4-BE49-F238E27FC236}">
                        <a16:creationId xmlns:a16="http://schemas.microsoft.com/office/drawing/2014/main" id="{CE18A2AF-5A9B-7908-C4EF-5E0DA2065FAF}"/>
                      </a:ext>
                    </a:extLst>
                  </p:cNvPr>
                  <p:cNvSpPr>
                    <a:spLocks/>
                  </p:cNvSpPr>
                  <p:nvPr/>
                </p:nvSpPr>
                <p:spPr bwMode="auto">
                  <a:xfrm>
                    <a:off x="5630639" y="3074384"/>
                    <a:ext cx="343471" cy="268414"/>
                  </a:xfrm>
                  <a:custGeom>
                    <a:avLst/>
                    <a:gdLst>
                      <a:gd name="T0" fmla="*/ 108109 w 343471"/>
                      <a:gd name="T1" fmla="*/ 113538 h 268414"/>
                      <a:gd name="T2" fmla="*/ 108109 w 343471"/>
                      <a:gd name="T3" fmla="*/ 120015 h 268414"/>
                      <a:gd name="T4" fmla="*/ 331946 w 343471"/>
                      <a:gd name="T5" fmla="*/ 268415 h 268414"/>
                      <a:gd name="T6" fmla="*/ 343472 w 343471"/>
                      <a:gd name="T7" fmla="*/ 252889 h 268414"/>
                      <a:gd name="T8" fmla="*/ 136493 w 343471"/>
                      <a:gd name="T9" fmla="*/ 81915 h 268414"/>
                      <a:gd name="T10" fmla="*/ 130207 w 343471"/>
                      <a:gd name="T11" fmla="*/ 83820 h 268414"/>
                      <a:gd name="T12" fmla="*/ 123730 w 343471"/>
                      <a:gd name="T13" fmla="*/ 80296 h 268414"/>
                      <a:gd name="T14" fmla="*/ 34385 w 343471"/>
                      <a:gd name="T15" fmla="*/ 0 h 268414"/>
                      <a:gd name="T16" fmla="*/ 0 w 343471"/>
                      <a:gd name="T17" fmla="*/ 46292 h 268414"/>
                      <a:gd name="T18" fmla="*/ 102775 w 343471"/>
                      <a:gd name="T19" fmla="*/ 108395 h 268414"/>
                      <a:gd name="T20" fmla="*/ 108109 w 343471"/>
                      <a:gd name="T21" fmla="*/ 113538 h 2684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3471" h="268414" extrusionOk="0">
                        <a:moveTo>
                          <a:pt x="108109" y="113538"/>
                        </a:moveTo>
                        <a:cubicBezTo>
                          <a:pt x="109823" y="117157"/>
                          <a:pt x="108109" y="120015"/>
                          <a:pt x="108109" y="120015"/>
                        </a:cubicBezTo>
                        <a:lnTo>
                          <a:pt x="331946" y="268415"/>
                        </a:lnTo>
                        <a:lnTo>
                          <a:pt x="343472" y="252889"/>
                        </a:lnTo>
                        <a:lnTo>
                          <a:pt x="136493" y="81915"/>
                        </a:lnTo>
                        <a:cubicBezTo>
                          <a:pt x="136493" y="81915"/>
                          <a:pt x="134207" y="84392"/>
                          <a:pt x="130207" y="83820"/>
                        </a:cubicBezTo>
                        <a:cubicBezTo>
                          <a:pt x="126968" y="83439"/>
                          <a:pt x="123730" y="80296"/>
                          <a:pt x="123730" y="80296"/>
                        </a:cubicBezTo>
                        <a:lnTo>
                          <a:pt x="34385" y="0"/>
                        </a:lnTo>
                        <a:lnTo>
                          <a:pt x="0" y="46292"/>
                        </a:lnTo>
                        <a:lnTo>
                          <a:pt x="102775" y="108395"/>
                        </a:lnTo>
                        <a:cubicBezTo>
                          <a:pt x="102870" y="108395"/>
                          <a:pt x="106775" y="110585"/>
                          <a:pt x="108109" y="11353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1" name="Google Shape;861;p19">
                  <a:extLst>
                    <a:ext uri="{FF2B5EF4-FFF2-40B4-BE49-F238E27FC236}">
                      <a16:creationId xmlns:a16="http://schemas.microsoft.com/office/drawing/2014/main" id="{39DD3017-5017-D15B-AC81-C51E9FD1D2CA}"/>
                    </a:ext>
                  </a:extLst>
                </p:cNvPr>
                <p:cNvGrpSpPr>
                  <a:grpSpLocks/>
                </p:cNvGrpSpPr>
                <p:nvPr/>
              </p:nvGrpSpPr>
              <p:grpSpPr bwMode="auto">
                <a:xfrm>
                  <a:off x="5982778" y="2875407"/>
                  <a:ext cx="219741" cy="1103756"/>
                  <a:chOff x="5982778" y="2875407"/>
                  <a:chExt cx="219741" cy="1103756"/>
                </a:xfrm>
              </p:grpSpPr>
              <p:sp>
                <p:nvSpPr>
                  <p:cNvPr id="57539" name="Google Shape;862;p19">
                    <a:extLst>
                      <a:ext uri="{FF2B5EF4-FFF2-40B4-BE49-F238E27FC236}">
                        <a16:creationId xmlns:a16="http://schemas.microsoft.com/office/drawing/2014/main" id="{68053423-DB83-FC0F-C3FE-8D4FEDC37337}"/>
                      </a:ext>
                    </a:extLst>
                  </p:cNvPr>
                  <p:cNvSpPr>
                    <a:spLocks/>
                  </p:cNvSpPr>
                  <p:nvPr/>
                </p:nvSpPr>
                <p:spPr bwMode="auto">
                  <a:xfrm>
                    <a:off x="6105841" y="3579018"/>
                    <a:ext cx="96678" cy="400145"/>
                  </a:xfrm>
                  <a:custGeom>
                    <a:avLst/>
                    <a:gdLst>
                      <a:gd name="T0" fmla="*/ 67913 w 96678"/>
                      <a:gd name="T1" fmla="*/ 267748 h 400145"/>
                      <a:gd name="T2" fmla="*/ 72485 w 96678"/>
                      <a:gd name="T3" fmla="*/ 263176 h 400145"/>
                      <a:gd name="T4" fmla="*/ 19145 w 96678"/>
                      <a:gd name="T5" fmla="*/ 0 h 400145"/>
                      <a:gd name="T6" fmla="*/ 0 w 96678"/>
                      <a:gd name="T7" fmla="*/ 2858 h 400145"/>
                      <a:gd name="T8" fmla="*/ 25432 w 96678"/>
                      <a:gd name="T9" fmla="*/ 270224 h 400145"/>
                      <a:gd name="T10" fmla="*/ 31147 w 96678"/>
                      <a:gd name="T11" fmla="*/ 273272 h 400145"/>
                      <a:gd name="T12" fmla="*/ 33242 w 96678"/>
                      <a:gd name="T13" fmla="*/ 280225 h 400145"/>
                      <a:gd name="T14" fmla="*/ 39624 w 96678"/>
                      <a:gd name="T15" fmla="*/ 400145 h 400145"/>
                      <a:gd name="T16" fmla="*/ 96679 w 96678"/>
                      <a:gd name="T17" fmla="*/ 391668 h 400145"/>
                      <a:gd name="T18" fmla="*/ 67913 w 96678"/>
                      <a:gd name="T19" fmla="*/ 275082 h 400145"/>
                      <a:gd name="T20" fmla="*/ 67913 w 96678"/>
                      <a:gd name="T21" fmla="*/ 267748 h 4001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678" h="400145" extrusionOk="0">
                        <a:moveTo>
                          <a:pt x="67913" y="267748"/>
                        </a:moveTo>
                        <a:cubicBezTo>
                          <a:pt x="69247" y="263938"/>
                          <a:pt x="72485" y="263176"/>
                          <a:pt x="72485" y="263176"/>
                        </a:cubicBezTo>
                        <a:lnTo>
                          <a:pt x="19145" y="0"/>
                        </a:lnTo>
                        <a:lnTo>
                          <a:pt x="0" y="2858"/>
                        </a:lnTo>
                        <a:lnTo>
                          <a:pt x="25432" y="270224"/>
                        </a:lnTo>
                        <a:cubicBezTo>
                          <a:pt x="25432" y="270224"/>
                          <a:pt x="28766" y="270034"/>
                          <a:pt x="31147" y="273272"/>
                        </a:cubicBezTo>
                        <a:cubicBezTo>
                          <a:pt x="33147" y="275844"/>
                          <a:pt x="33242" y="280225"/>
                          <a:pt x="33242" y="280225"/>
                        </a:cubicBezTo>
                        <a:lnTo>
                          <a:pt x="39624" y="400145"/>
                        </a:lnTo>
                        <a:lnTo>
                          <a:pt x="96679" y="391668"/>
                        </a:lnTo>
                        <a:lnTo>
                          <a:pt x="67913" y="275082"/>
                        </a:lnTo>
                        <a:cubicBezTo>
                          <a:pt x="67913" y="275082"/>
                          <a:pt x="66770" y="270796"/>
                          <a:pt x="67913" y="26774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40" name="Google Shape;863;p19">
                    <a:extLst>
                      <a:ext uri="{FF2B5EF4-FFF2-40B4-BE49-F238E27FC236}">
                        <a16:creationId xmlns:a16="http://schemas.microsoft.com/office/drawing/2014/main" id="{5FAFA12C-4FAA-57E6-6A54-13F57E6F9017}"/>
                      </a:ext>
                    </a:extLst>
                  </p:cNvPr>
                  <p:cNvSpPr>
                    <a:spLocks/>
                  </p:cNvSpPr>
                  <p:nvPr/>
                </p:nvSpPr>
                <p:spPr bwMode="auto">
                  <a:xfrm>
                    <a:off x="5982778" y="2875407"/>
                    <a:ext cx="96774" cy="400145"/>
                  </a:xfrm>
                  <a:custGeom>
                    <a:avLst/>
                    <a:gdLst>
                      <a:gd name="T0" fmla="*/ 28861 w 96774"/>
                      <a:gd name="T1" fmla="*/ 132398 h 400145"/>
                      <a:gd name="T2" fmla="*/ 24289 w 96774"/>
                      <a:gd name="T3" fmla="*/ 136970 h 400145"/>
                      <a:gd name="T4" fmla="*/ 77629 w 96774"/>
                      <a:gd name="T5" fmla="*/ 400145 h 400145"/>
                      <a:gd name="T6" fmla="*/ 96774 w 96774"/>
                      <a:gd name="T7" fmla="*/ 397288 h 400145"/>
                      <a:gd name="T8" fmla="*/ 71342 w 96774"/>
                      <a:gd name="T9" fmla="*/ 129921 h 400145"/>
                      <a:gd name="T10" fmla="*/ 65627 w 96774"/>
                      <a:gd name="T11" fmla="*/ 126873 h 400145"/>
                      <a:gd name="T12" fmla="*/ 63532 w 96774"/>
                      <a:gd name="T13" fmla="*/ 119824 h 400145"/>
                      <a:gd name="T14" fmla="*/ 57055 w 96774"/>
                      <a:gd name="T15" fmla="*/ 0 h 400145"/>
                      <a:gd name="T16" fmla="*/ 0 w 96774"/>
                      <a:gd name="T17" fmla="*/ 8477 h 400145"/>
                      <a:gd name="T18" fmla="*/ 28766 w 96774"/>
                      <a:gd name="T19" fmla="*/ 125159 h 400145"/>
                      <a:gd name="T20" fmla="*/ 28861 w 96774"/>
                      <a:gd name="T21" fmla="*/ 132398 h 4001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774" h="400145" extrusionOk="0">
                        <a:moveTo>
                          <a:pt x="28861" y="132398"/>
                        </a:moveTo>
                        <a:cubicBezTo>
                          <a:pt x="27527" y="136208"/>
                          <a:pt x="24289" y="136970"/>
                          <a:pt x="24289" y="136970"/>
                        </a:cubicBezTo>
                        <a:lnTo>
                          <a:pt x="77629" y="400145"/>
                        </a:lnTo>
                        <a:lnTo>
                          <a:pt x="96774" y="397288"/>
                        </a:lnTo>
                        <a:lnTo>
                          <a:pt x="71342" y="129921"/>
                        </a:lnTo>
                        <a:cubicBezTo>
                          <a:pt x="71342" y="129921"/>
                          <a:pt x="68008" y="130112"/>
                          <a:pt x="65627" y="126873"/>
                        </a:cubicBezTo>
                        <a:cubicBezTo>
                          <a:pt x="63627" y="124301"/>
                          <a:pt x="63532" y="119824"/>
                          <a:pt x="63532" y="119824"/>
                        </a:cubicBezTo>
                        <a:lnTo>
                          <a:pt x="57055" y="0"/>
                        </a:lnTo>
                        <a:lnTo>
                          <a:pt x="0" y="8477"/>
                        </a:lnTo>
                        <a:lnTo>
                          <a:pt x="28766" y="125159"/>
                        </a:lnTo>
                        <a:cubicBezTo>
                          <a:pt x="28766" y="125063"/>
                          <a:pt x="30004" y="129349"/>
                          <a:pt x="28861" y="13239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2" name="Google Shape;864;p19">
                  <a:extLst>
                    <a:ext uri="{FF2B5EF4-FFF2-40B4-BE49-F238E27FC236}">
                      <a16:creationId xmlns:a16="http://schemas.microsoft.com/office/drawing/2014/main" id="{9EE9EF23-A9AE-ABEC-894E-D7FECC001B4D}"/>
                    </a:ext>
                  </a:extLst>
                </p:cNvPr>
                <p:cNvGrpSpPr>
                  <a:grpSpLocks/>
                </p:cNvGrpSpPr>
                <p:nvPr/>
              </p:nvGrpSpPr>
              <p:grpSpPr bwMode="auto">
                <a:xfrm>
                  <a:off x="5540723" y="3317462"/>
                  <a:ext cx="1103947" cy="219645"/>
                  <a:chOff x="5540723" y="3317462"/>
                  <a:chExt cx="1103947" cy="219645"/>
                </a:xfrm>
              </p:grpSpPr>
              <p:sp>
                <p:nvSpPr>
                  <p:cNvPr id="57537" name="Google Shape;865;p19">
                    <a:extLst>
                      <a:ext uri="{FF2B5EF4-FFF2-40B4-BE49-F238E27FC236}">
                        <a16:creationId xmlns:a16="http://schemas.microsoft.com/office/drawing/2014/main" id="{90FAA66D-6382-2E40-30C0-F5BA34B06C3B}"/>
                      </a:ext>
                    </a:extLst>
                  </p:cNvPr>
                  <p:cNvSpPr>
                    <a:spLocks/>
                  </p:cNvSpPr>
                  <p:nvPr/>
                </p:nvSpPr>
                <p:spPr bwMode="auto">
                  <a:xfrm>
                    <a:off x="5540723" y="3440429"/>
                    <a:ext cx="400145" cy="96678"/>
                  </a:xfrm>
                  <a:custGeom>
                    <a:avLst/>
                    <a:gdLst>
                      <a:gd name="T0" fmla="*/ 132398 w 400145"/>
                      <a:gd name="T1" fmla="*/ 67913 h 96678"/>
                      <a:gd name="T2" fmla="*/ 136970 w 400145"/>
                      <a:gd name="T3" fmla="*/ 72485 h 96678"/>
                      <a:gd name="T4" fmla="*/ 400145 w 400145"/>
                      <a:gd name="T5" fmla="*/ 19145 h 96678"/>
                      <a:gd name="T6" fmla="*/ 397288 w 400145"/>
                      <a:gd name="T7" fmla="*/ 0 h 96678"/>
                      <a:gd name="T8" fmla="*/ 130016 w 400145"/>
                      <a:gd name="T9" fmla="*/ 25432 h 96678"/>
                      <a:gd name="T10" fmla="*/ 126968 w 400145"/>
                      <a:gd name="T11" fmla="*/ 31147 h 96678"/>
                      <a:gd name="T12" fmla="*/ 119920 w 400145"/>
                      <a:gd name="T13" fmla="*/ 33242 h 96678"/>
                      <a:gd name="T14" fmla="*/ 0 w 400145"/>
                      <a:gd name="T15" fmla="*/ 39624 h 96678"/>
                      <a:gd name="T16" fmla="*/ 8477 w 400145"/>
                      <a:gd name="T17" fmla="*/ 96679 h 96678"/>
                      <a:gd name="T18" fmla="*/ 125063 w 400145"/>
                      <a:gd name="T19" fmla="*/ 67913 h 96678"/>
                      <a:gd name="T20" fmla="*/ 132398 w 400145"/>
                      <a:gd name="T21" fmla="*/ 67913 h 966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145" h="96678" extrusionOk="0">
                        <a:moveTo>
                          <a:pt x="132398" y="67913"/>
                        </a:moveTo>
                        <a:cubicBezTo>
                          <a:pt x="136208" y="69247"/>
                          <a:pt x="136970" y="72485"/>
                          <a:pt x="136970" y="72485"/>
                        </a:cubicBezTo>
                        <a:lnTo>
                          <a:pt x="400145" y="19145"/>
                        </a:lnTo>
                        <a:lnTo>
                          <a:pt x="397288" y="0"/>
                        </a:lnTo>
                        <a:lnTo>
                          <a:pt x="130016" y="25432"/>
                        </a:lnTo>
                        <a:cubicBezTo>
                          <a:pt x="130016" y="25432"/>
                          <a:pt x="130207" y="28766"/>
                          <a:pt x="126968" y="31147"/>
                        </a:cubicBezTo>
                        <a:cubicBezTo>
                          <a:pt x="124397" y="33147"/>
                          <a:pt x="119920" y="33242"/>
                          <a:pt x="119920" y="33242"/>
                        </a:cubicBezTo>
                        <a:lnTo>
                          <a:pt x="0" y="39624"/>
                        </a:lnTo>
                        <a:lnTo>
                          <a:pt x="8477" y="96679"/>
                        </a:lnTo>
                        <a:lnTo>
                          <a:pt x="125063" y="67913"/>
                        </a:lnTo>
                        <a:cubicBezTo>
                          <a:pt x="125159" y="67913"/>
                          <a:pt x="129445" y="66770"/>
                          <a:pt x="132398" y="6791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8" name="Google Shape;866;p19">
                    <a:extLst>
                      <a:ext uri="{FF2B5EF4-FFF2-40B4-BE49-F238E27FC236}">
                        <a16:creationId xmlns:a16="http://schemas.microsoft.com/office/drawing/2014/main" id="{76143BE7-975A-0FC2-B283-74B69B6F51F5}"/>
                      </a:ext>
                    </a:extLst>
                  </p:cNvPr>
                  <p:cNvSpPr>
                    <a:spLocks/>
                  </p:cNvSpPr>
                  <p:nvPr/>
                </p:nvSpPr>
                <p:spPr bwMode="auto">
                  <a:xfrm>
                    <a:off x="6244430" y="3317462"/>
                    <a:ext cx="400240" cy="96678"/>
                  </a:xfrm>
                  <a:custGeom>
                    <a:avLst/>
                    <a:gdLst>
                      <a:gd name="T0" fmla="*/ 267748 w 400240"/>
                      <a:gd name="T1" fmla="*/ 28766 h 96678"/>
                      <a:gd name="T2" fmla="*/ 263176 w 400240"/>
                      <a:gd name="T3" fmla="*/ 24194 h 96678"/>
                      <a:gd name="T4" fmla="*/ 0 w 400240"/>
                      <a:gd name="T5" fmla="*/ 77533 h 96678"/>
                      <a:gd name="T6" fmla="*/ 2858 w 400240"/>
                      <a:gd name="T7" fmla="*/ 96679 h 96678"/>
                      <a:gd name="T8" fmla="*/ 270224 w 400240"/>
                      <a:gd name="T9" fmla="*/ 71247 h 96678"/>
                      <a:gd name="T10" fmla="*/ 273272 w 400240"/>
                      <a:gd name="T11" fmla="*/ 65532 h 96678"/>
                      <a:gd name="T12" fmla="*/ 280225 w 400240"/>
                      <a:gd name="T13" fmla="*/ 63437 h 96678"/>
                      <a:gd name="T14" fmla="*/ 400240 w 400240"/>
                      <a:gd name="T15" fmla="*/ 57055 h 96678"/>
                      <a:gd name="T16" fmla="*/ 391763 w 400240"/>
                      <a:gd name="T17" fmla="*/ 0 h 96678"/>
                      <a:gd name="T18" fmla="*/ 275082 w 400240"/>
                      <a:gd name="T19" fmla="*/ 28766 h 96678"/>
                      <a:gd name="T20" fmla="*/ 267748 w 400240"/>
                      <a:gd name="T21" fmla="*/ 28766 h 966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240" h="96678" extrusionOk="0">
                        <a:moveTo>
                          <a:pt x="267748" y="28766"/>
                        </a:moveTo>
                        <a:cubicBezTo>
                          <a:pt x="263938" y="27432"/>
                          <a:pt x="263176" y="24194"/>
                          <a:pt x="263176" y="24194"/>
                        </a:cubicBezTo>
                        <a:lnTo>
                          <a:pt x="0" y="77533"/>
                        </a:lnTo>
                        <a:lnTo>
                          <a:pt x="2858" y="96679"/>
                        </a:lnTo>
                        <a:lnTo>
                          <a:pt x="270224" y="71247"/>
                        </a:lnTo>
                        <a:cubicBezTo>
                          <a:pt x="270224" y="71247"/>
                          <a:pt x="270034" y="67913"/>
                          <a:pt x="273272" y="65532"/>
                        </a:cubicBezTo>
                        <a:cubicBezTo>
                          <a:pt x="275844" y="63532"/>
                          <a:pt x="280225" y="63437"/>
                          <a:pt x="280225" y="63437"/>
                        </a:cubicBezTo>
                        <a:lnTo>
                          <a:pt x="400240" y="57055"/>
                        </a:lnTo>
                        <a:lnTo>
                          <a:pt x="391763" y="0"/>
                        </a:lnTo>
                        <a:lnTo>
                          <a:pt x="275082" y="28766"/>
                        </a:lnTo>
                        <a:cubicBezTo>
                          <a:pt x="275082" y="28766"/>
                          <a:pt x="270796" y="29908"/>
                          <a:pt x="267748" y="2876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3" name="Google Shape;867;p19">
                  <a:extLst>
                    <a:ext uri="{FF2B5EF4-FFF2-40B4-BE49-F238E27FC236}">
                      <a16:creationId xmlns:a16="http://schemas.microsoft.com/office/drawing/2014/main" id="{00D12089-C578-5887-FFEA-1D6CA87EBA23}"/>
                    </a:ext>
                  </a:extLst>
                </p:cNvPr>
                <p:cNvGrpSpPr>
                  <a:grpSpLocks/>
                </p:cNvGrpSpPr>
                <p:nvPr/>
              </p:nvGrpSpPr>
              <p:grpSpPr bwMode="auto">
                <a:xfrm>
                  <a:off x="5862478" y="2901696"/>
                  <a:ext cx="460342" cy="1051082"/>
                  <a:chOff x="5862478" y="2901696"/>
                  <a:chExt cx="460342" cy="1051082"/>
                </a:xfrm>
              </p:grpSpPr>
              <p:sp>
                <p:nvSpPr>
                  <p:cNvPr id="57535" name="Google Shape;868;p19">
                    <a:extLst>
                      <a:ext uri="{FF2B5EF4-FFF2-40B4-BE49-F238E27FC236}">
                        <a16:creationId xmlns:a16="http://schemas.microsoft.com/office/drawing/2014/main" id="{637B56BB-002C-DF74-241B-43EC514C8F33}"/>
                      </a:ext>
                    </a:extLst>
                  </p:cNvPr>
                  <p:cNvSpPr>
                    <a:spLocks/>
                  </p:cNvSpPr>
                  <p:nvPr/>
                </p:nvSpPr>
                <p:spPr bwMode="auto">
                  <a:xfrm>
                    <a:off x="5862478" y="3567588"/>
                    <a:ext cx="182308" cy="385190"/>
                  </a:xfrm>
                  <a:custGeom>
                    <a:avLst/>
                    <a:gdLst>
                      <a:gd name="T0" fmla="*/ 90583 w 182308"/>
                      <a:gd name="T1" fmla="*/ 263461 h 385190"/>
                      <a:gd name="T2" fmla="*/ 96869 w 182308"/>
                      <a:gd name="T3" fmla="*/ 261747 h 385190"/>
                      <a:gd name="T4" fmla="*/ 182309 w 182308"/>
                      <a:gd name="T5" fmla="*/ 7144 h 385190"/>
                      <a:gd name="T6" fmla="*/ 164306 w 182308"/>
                      <a:gd name="T7" fmla="*/ 0 h 385190"/>
                      <a:gd name="T8" fmla="*/ 52673 w 182308"/>
                      <a:gd name="T9" fmla="*/ 244316 h 385190"/>
                      <a:gd name="T10" fmla="*/ 56102 w 182308"/>
                      <a:gd name="T11" fmla="*/ 249841 h 385190"/>
                      <a:gd name="T12" fmla="*/ 54483 w 182308"/>
                      <a:gd name="T13" fmla="*/ 256984 h 385190"/>
                      <a:gd name="T14" fmla="*/ 0 w 182308"/>
                      <a:gd name="T15" fmla="*/ 364045 h 385190"/>
                      <a:gd name="T16" fmla="*/ 53626 w 182308"/>
                      <a:gd name="T17" fmla="*/ 385191 h 385190"/>
                      <a:gd name="T18" fmla="*/ 87058 w 182308"/>
                      <a:gd name="T19" fmla="*/ 269843 h 385190"/>
                      <a:gd name="T20" fmla="*/ 90583 w 182308"/>
                      <a:gd name="T21" fmla="*/ 263461 h 385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2308" h="385190" extrusionOk="0">
                        <a:moveTo>
                          <a:pt x="90583" y="263461"/>
                        </a:moveTo>
                        <a:cubicBezTo>
                          <a:pt x="93631" y="260794"/>
                          <a:pt x="96869" y="261747"/>
                          <a:pt x="96869" y="261747"/>
                        </a:cubicBezTo>
                        <a:lnTo>
                          <a:pt x="182309" y="7144"/>
                        </a:lnTo>
                        <a:lnTo>
                          <a:pt x="164306" y="0"/>
                        </a:lnTo>
                        <a:lnTo>
                          <a:pt x="52673" y="244316"/>
                        </a:lnTo>
                        <a:cubicBezTo>
                          <a:pt x="52673" y="244316"/>
                          <a:pt x="55721" y="245840"/>
                          <a:pt x="56102" y="249841"/>
                        </a:cubicBezTo>
                        <a:cubicBezTo>
                          <a:pt x="56483" y="253079"/>
                          <a:pt x="54483" y="256984"/>
                          <a:pt x="54483" y="256984"/>
                        </a:cubicBezTo>
                        <a:lnTo>
                          <a:pt x="0" y="364045"/>
                        </a:lnTo>
                        <a:lnTo>
                          <a:pt x="53626" y="385191"/>
                        </a:lnTo>
                        <a:lnTo>
                          <a:pt x="87058" y="269843"/>
                        </a:lnTo>
                        <a:cubicBezTo>
                          <a:pt x="86963" y="269843"/>
                          <a:pt x="88106" y="265557"/>
                          <a:pt x="90583" y="263461"/>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6" name="Google Shape;869;p19">
                    <a:extLst>
                      <a:ext uri="{FF2B5EF4-FFF2-40B4-BE49-F238E27FC236}">
                        <a16:creationId xmlns:a16="http://schemas.microsoft.com/office/drawing/2014/main" id="{B1A98462-0FB0-D90B-E2BB-79CC6682BA46}"/>
                      </a:ext>
                    </a:extLst>
                  </p:cNvPr>
                  <p:cNvSpPr>
                    <a:spLocks/>
                  </p:cNvSpPr>
                  <p:nvPr/>
                </p:nvSpPr>
                <p:spPr bwMode="auto">
                  <a:xfrm>
                    <a:off x="6140512" y="2901696"/>
                    <a:ext cx="182308" cy="385191"/>
                  </a:xfrm>
                  <a:custGeom>
                    <a:avLst/>
                    <a:gdLst>
                      <a:gd name="T0" fmla="*/ 91726 w 182308"/>
                      <a:gd name="T1" fmla="*/ 121730 h 385191"/>
                      <a:gd name="T2" fmla="*/ 85439 w 182308"/>
                      <a:gd name="T3" fmla="*/ 123444 h 385191"/>
                      <a:gd name="T4" fmla="*/ 0 w 182308"/>
                      <a:gd name="T5" fmla="*/ 378047 h 385191"/>
                      <a:gd name="T6" fmla="*/ 18002 w 182308"/>
                      <a:gd name="T7" fmla="*/ 385191 h 385191"/>
                      <a:gd name="T8" fmla="*/ 129635 w 182308"/>
                      <a:gd name="T9" fmla="*/ 140875 h 385191"/>
                      <a:gd name="T10" fmla="*/ 126206 w 182308"/>
                      <a:gd name="T11" fmla="*/ 135350 h 385191"/>
                      <a:gd name="T12" fmla="*/ 127826 w 182308"/>
                      <a:gd name="T13" fmla="*/ 128207 h 385191"/>
                      <a:gd name="T14" fmla="*/ 182309 w 182308"/>
                      <a:gd name="T15" fmla="*/ 21145 h 385191"/>
                      <a:gd name="T16" fmla="*/ 128683 w 182308"/>
                      <a:gd name="T17" fmla="*/ 0 h 385191"/>
                      <a:gd name="T18" fmla="*/ 95250 w 182308"/>
                      <a:gd name="T19" fmla="*/ 115348 h 385191"/>
                      <a:gd name="T20" fmla="*/ 91726 w 182308"/>
                      <a:gd name="T21" fmla="*/ 121730 h 3851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2308" h="385191" extrusionOk="0">
                        <a:moveTo>
                          <a:pt x="91726" y="121730"/>
                        </a:moveTo>
                        <a:cubicBezTo>
                          <a:pt x="88678" y="124397"/>
                          <a:pt x="85439" y="123444"/>
                          <a:pt x="85439" y="123444"/>
                        </a:cubicBezTo>
                        <a:lnTo>
                          <a:pt x="0" y="378047"/>
                        </a:lnTo>
                        <a:lnTo>
                          <a:pt x="18002" y="385191"/>
                        </a:lnTo>
                        <a:lnTo>
                          <a:pt x="129635" y="140875"/>
                        </a:lnTo>
                        <a:cubicBezTo>
                          <a:pt x="129635" y="140875"/>
                          <a:pt x="126683" y="139351"/>
                          <a:pt x="126206" y="135350"/>
                        </a:cubicBezTo>
                        <a:cubicBezTo>
                          <a:pt x="125825" y="132112"/>
                          <a:pt x="127826" y="128207"/>
                          <a:pt x="127826" y="128207"/>
                        </a:cubicBezTo>
                        <a:lnTo>
                          <a:pt x="182309" y="21145"/>
                        </a:lnTo>
                        <a:lnTo>
                          <a:pt x="128683" y="0"/>
                        </a:lnTo>
                        <a:lnTo>
                          <a:pt x="95250" y="115348"/>
                        </a:lnTo>
                        <a:cubicBezTo>
                          <a:pt x="95345" y="115443"/>
                          <a:pt x="94202" y="119729"/>
                          <a:pt x="91726" y="121730"/>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4" name="Google Shape;870;p19">
                  <a:extLst>
                    <a:ext uri="{FF2B5EF4-FFF2-40B4-BE49-F238E27FC236}">
                      <a16:creationId xmlns:a16="http://schemas.microsoft.com/office/drawing/2014/main" id="{8A7574F5-9A60-1946-D5C7-508F73B6B5BF}"/>
                    </a:ext>
                  </a:extLst>
                </p:cNvPr>
                <p:cNvGrpSpPr>
                  <a:grpSpLocks/>
                </p:cNvGrpSpPr>
                <p:nvPr/>
              </p:nvGrpSpPr>
              <p:grpSpPr bwMode="auto">
                <a:xfrm>
                  <a:off x="5567108" y="3196970"/>
                  <a:ext cx="1050987" cy="460438"/>
                  <a:chOff x="5567108" y="3196970"/>
                  <a:chExt cx="1050987" cy="460438"/>
                </a:xfrm>
              </p:grpSpPr>
              <p:sp>
                <p:nvSpPr>
                  <p:cNvPr id="57533" name="Google Shape;871;p19">
                    <a:extLst>
                      <a:ext uri="{FF2B5EF4-FFF2-40B4-BE49-F238E27FC236}">
                        <a16:creationId xmlns:a16="http://schemas.microsoft.com/office/drawing/2014/main" id="{1497288C-E431-40D6-041A-427EB1B486BF}"/>
                      </a:ext>
                    </a:extLst>
                  </p:cNvPr>
                  <p:cNvSpPr>
                    <a:spLocks/>
                  </p:cNvSpPr>
                  <p:nvPr/>
                </p:nvSpPr>
                <p:spPr bwMode="auto">
                  <a:xfrm>
                    <a:off x="6233000" y="3475100"/>
                    <a:ext cx="385095" cy="182308"/>
                  </a:xfrm>
                  <a:custGeom>
                    <a:avLst/>
                    <a:gdLst>
                      <a:gd name="T0" fmla="*/ 263461 w 385095"/>
                      <a:gd name="T1" fmla="*/ 91726 h 182308"/>
                      <a:gd name="T2" fmla="*/ 261747 w 385095"/>
                      <a:gd name="T3" fmla="*/ 85439 h 182308"/>
                      <a:gd name="T4" fmla="*/ 7144 w 385095"/>
                      <a:gd name="T5" fmla="*/ 0 h 182308"/>
                      <a:gd name="T6" fmla="*/ 0 w 385095"/>
                      <a:gd name="T7" fmla="*/ 18002 h 182308"/>
                      <a:gd name="T8" fmla="*/ 244221 w 385095"/>
                      <a:gd name="T9" fmla="*/ 129635 h 182308"/>
                      <a:gd name="T10" fmla="*/ 249745 w 385095"/>
                      <a:gd name="T11" fmla="*/ 126206 h 182308"/>
                      <a:gd name="T12" fmla="*/ 256889 w 385095"/>
                      <a:gd name="T13" fmla="*/ 127921 h 182308"/>
                      <a:gd name="T14" fmla="*/ 363950 w 385095"/>
                      <a:gd name="T15" fmla="*/ 182309 h 182308"/>
                      <a:gd name="T16" fmla="*/ 385096 w 385095"/>
                      <a:gd name="T17" fmla="*/ 128683 h 182308"/>
                      <a:gd name="T18" fmla="*/ 269653 w 385095"/>
                      <a:gd name="T19" fmla="*/ 95250 h 182308"/>
                      <a:gd name="T20" fmla="*/ 263461 w 385095"/>
                      <a:gd name="T21" fmla="*/ 91726 h 1823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5095" h="182308" extrusionOk="0">
                        <a:moveTo>
                          <a:pt x="263461" y="91726"/>
                        </a:moveTo>
                        <a:cubicBezTo>
                          <a:pt x="260794" y="88678"/>
                          <a:pt x="261747" y="85439"/>
                          <a:pt x="261747" y="85439"/>
                        </a:cubicBezTo>
                        <a:lnTo>
                          <a:pt x="7144" y="0"/>
                        </a:lnTo>
                        <a:lnTo>
                          <a:pt x="0" y="18002"/>
                        </a:lnTo>
                        <a:lnTo>
                          <a:pt x="244221" y="129635"/>
                        </a:lnTo>
                        <a:cubicBezTo>
                          <a:pt x="244221" y="129635"/>
                          <a:pt x="245745" y="126587"/>
                          <a:pt x="249745" y="126206"/>
                        </a:cubicBezTo>
                        <a:cubicBezTo>
                          <a:pt x="252984" y="125730"/>
                          <a:pt x="256889" y="127921"/>
                          <a:pt x="256889" y="127921"/>
                        </a:cubicBezTo>
                        <a:lnTo>
                          <a:pt x="363950" y="182309"/>
                        </a:lnTo>
                        <a:lnTo>
                          <a:pt x="385096" y="128683"/>
                        </a:lnTo>
                        <a:lnTo>
                          <a:pt x="269653" y="95250"/>
                        </a:lnTo>
                        <a:cubicBezTo>
                          <a:pt x="269843" y="95345"/>
                          <a:pt x="265557" y="94202"/>
                          <a:pt x="263461" y="9172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4" name="Google Shape;872;p19">
                    <a:extLst>
                      <a:ext uri="{FF2B5EF4-FFF2-40B4-BE49-F238E27FC236}">
                        <a16:creationId xmlns:a16="http://schemas.microsoft.com/office/drawing/2014/main" id="{511FE076-F00C-6A51-7801-1DC88F815AD3}"/>
                      </a:ext>
                    </a:extLst>
                  </p:cNvPr>
                  <p:cNvSpPr>
                    <a:spLocks/>
                  </p:cNvSpPr>
                  <p:nvPr/>
                </p:nvSpPr>
                <p:spPr bwMode="auto">
                  <a:xfrm>
                    <a:off x="5567108" y="3196970"/>
                    <a:ext cx="385191" cy="182498"/>
                  </a:xfrm>
                  <a:custGeom>
                    <a:avLst/>
                    <a:gdLst>
                      <a:gd name="T0" fmla="*/ 121730 w 385191"/>
                      <a:gd name="T1" fmla="*/ 90773 h 182498"/>
                      <a:gd name="T2" fmla="*/ 123444 w 385191"/>
                      <a:gd name="T3" fmla="*/ 97060 h 182498"/>
                      <a:gd name="T4" fmla="*/ 378047 w 385191"/>
                      <a:gd name="T5" fmla="*/ 182499 h 182498"/>
                      <a:gd name="T6" fmla="*/ 385191 w 385191"/>
                      <a:gd name="T7" fmla="*/ 164497 h 182498"/>
                      <a:gd name="T8" fmla="*/ 140875 w 385191"/>
                      <a:gd name="T9" fmla="*/ 52769 h 182498"/>
                      <a:gd name="T10" fmla="*/ 135350 w 385191"/>
                      <a:gd name="T11" fmla="*/ 56198 h 182498"/>
                      <a:gd name="T12" fmla="*/ 128207 w 385191"/>
                      <a:gd name="T13" fmla="*/ 54483 h 182498"/>
                      <a:gd name="T14" fmla="*/ 21145 w 385191"/>
                      <a:gd name="T15" fmla="*/ 0 h 182498"/>
                      <a:gd name="T16" fmla="*/ 0 w 385191"/>
                      <a:gd name="T17" fmla="*/ 53626 h 182498"/>
                      <a:gd name="T18" fmla="*/ 115348 w 385191"/>
                      <a:gd name="T19" fmla="*/ 87058 h 182498"/>
                      <a:gd name="T20" fmla="*/ 121730 w 385191"/>
                      <a:gd name="T21" fmla="*/ 90773 h 1824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5191" h="182498" extrusionOk="0">
                        <a:moveTo>
                          <a:pt x="121730" y="90773"/>
                        </a:moveTo>
                        <a:cubicBezTo>
                          <a:pt x="124397" y="93821"/>
                          <a:pt x="123444" y="97060"/>
                          <a:pt x="123444" y="97060"/>
                        </a:cubicBezTo>
                        <a:lnTo>
                          <a:pt x="378047" y="182499"/>
                        </a:lnTo>
                        <a:lnTo>
                          <a:pt x="385191" y="164497"/>
                        </a:lnTo>
                        <a:lnTo>
                          <a:pt x="140875" y="52769"/>
                        </a:lnTo>
                        <a:cubicBezTo>
                          <a:pt x="140875" y="52769"/>
                          <a:pt x="139351" y="55817"/>
                          <a:pt x="135350" y="56198"/>
                        </a:cubicBezTo>
                        <a:cubicBezTo>
                          <a:pt x="132112" y="56674"/>
                          <a:pt x="128207" y="54483"/>
                          <a:pt x="128207" y="54483"/>
                        </a:cubicBezTo>
                        <a:lnTo>
                          <a:pt x="21145" y="0"/>
                        </a:lnTo>
                        <a:lnTo>
                          <a:pt x="0" y="53626"/>
                        </a:lnTo>
                        <a:lnTo>
                          <a:pt x="115348" y="87058"/>
                        </a:lnTo>
                        <a:cubicBezTo>
                          <a:pt x="115443" y="87154"/>
                          <a:pt x="119729" y="88297"/>
                          <a:pt x="121730" y="9077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5" name="Google Shape;873;p19">
                  <a:extLst>
                    <a:ext uri="{FF2B5EF4-FFF2-40B4-BE49-F238E27FC236}">
                      <a16:creationId xmlns:a16="http://schemas.microsoft.com/office/drawing/2014/main" id="{4C023218-285D-4532-FD5C-22895957F09D}"/>
                    </a:ext>
                  </a:extLst>
                </p:cNvPr>
                <p:cNvGrpSpPr>
                  <a:grpSpLocks/>
                </p:cNvGrpSpPr>
                <p:nvPr/>
              </p:nvGrpSpPr>
              <p:grpSpPr bwMode="auto">
                <a:xfrm>
                  <a:off x="5846095" y="2907791"/>
                  <a:ext cx="493299" cy="1038891"/>
                  <a:chOff x="5846095" y="2907791"/>
                  <a:chExt cx="493299" cy="1038891"/>
                </a:xfrm>
              </p:grpSpPr>
              <p:sp>
                <p:nvSpPr>
                  <p:cNvPr id="57531" name="Google Shape;874;p19">
                    <a:extLst>
                      <a:ext uri="{FF2B5EF4-FFF2-40B4-BE49-F238E27FC236}">
                        <a16:creationId xmlns:a16="http://schemas.microsoft.com/office/drawing/2014/main" id="{C16C2C0D-74D8-2ADC-8DC5-BC9C33F18049}"/>
                      </a:ext>
                    </a:extLst>
                  </p:cNvPr>
                  <p:cNvSpPr>
                    <a:spLocks/>
                  </p:cNvSpPr>
                  <p:nvPr/>
                </p:nvSpPr>
                <p:spPr bwMode="auto">
                  <a:xfrm>
                    <a:off x="6145370" y="3565397"/>
                    <a:ext cx="194024" cy="381285"/>
                  </a:xfrm>
                  <a:custGeom>
                    <a:avLst/>
                    <a:gdLst>
                      <a:gd name="T0" fmla="*/ 134207 w 194024"/>
                      <a:gd name="T1" fmla="*/ 246126 h 381285"/>
                      <a:gd name="T2" fmla="*/ 137446 w 194024"/>
                      <a:gd name="T3" fmla="*/ 240506 h 381285"/>
                      <a:gd name="T4" fmla="*/ 17812 w 194024"/>
                      <a:gd name="T5" fmla="*/ 0 h 381285"/>
                      <a:gd name="T6" fmla="*/ 0 w 194024"/>
                      <a:gd name="T7" fmla="*/ 7715 h 381285"/>
                      <a:gd name="T8" fmla="*/ 93726 w 194024"/>
                      <a:gd name="T9" fmla="*/ 259366 h 381285"/>
                      <a:gd name="T10" fmla="*/ 100108 w 194024"/>
                      <a:gd name="T11" fmla="*/ 260794 h 381285"/>
                      <a:gd name="T12" fmla="*/ 103918 w 194024"/>
                      <a:gd name="T13" fmla="*/ 267081 h 381285"/>
                      <a:gd name="T14" fmla="*/ 141161 w 194024"/>
                      <a:gd name="T15" fmla="*/ 381286 h 381285"/>
                      <a:gd name="T16" fmla="*/ 194024 w 194024"/>
                      <a:gd name="T17" fmla="*/ 358331 h 381285"/>
                      <a:gd name="T18" fmla="*/ 136112 w 194024"/>
                      <a:gd name="T19" fmla="*/ 253079 h 381285"/>
                      <a:gd name="T20" fmla="*/ 134207 w 194024"/>
                      <a:gd name="T21" fmla="*/ 246126 h 3812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4024" h="381285" extrusionOk="0">
                        <a:moveTo>
                          <a:pt x="134207" y="246126"/>
                        </a:moveTo>
                        <a:cubicBezTo>
                          <a:pt x="134493" y="242125"/>
                          <a:pt x="137446" y="240506"/>
                          <a:pt x="137446" y="240506"/>
                        </a:cubicBezTo>
                        <a:lnTo>
                          <a:pt x="17812" y="0"/>
                        </a:lnTo>
                        <a:lnTo>
                          <a:pt x="0" y="7715"/>
                        </a:lnTo>
                        <a:lnTo>
                          <a:pt x="93726" y="259366"/>
                        </a:lnTo>
                        <a:cubicBezTo>
                          <a:pt x="93726" y="259366"/>
                          <a:pt x="96965" y="258318"/>
                          <a:pt x="100108" y="260794"/>
                        </a:cubicBezTo>
                        <a:cubicBezTo>
                          <a:pt x="102679" y="262795"/>
                          <a:pt x="103918" y="267081"/>
                          <a:pt x="103918" y="267081"/>
                        </a:cubicBezTo>
                        <a:lnTo>
                          <a:pt x="141161" y="381286"/>
                        </a:lnTo>
                        <a:lnTo>
                          <a:pt x="194024" y="358331"/>
                        </a:lnTo>
                        <a:lnTo>
                          <a:pt x="136112" y="253079"/>
                        </a:lnTo>
                        <a:cubicBezTo>
                          <a:pt x="136112" y="253175"/>
                          <a:pt x="133826" y="249365"/>
                          <a:pt x="134207" y="24612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2" name="Google Shape;875;p19">
                    <a:extLst>
                      <a:ext uri="{FF2B5EF4-FFF2-40B4-BE49-F238E27FC236}">
                        <a16:creationId xmlns:a16="http://schemas.microsoft.com/office/drawing/2014/main" id="{E14558FA-0995-8C9A-2240-1B352D6E410A}"/>
                      </a:ext>
                    </a:extLst>
                  </p:cNvPr>
                  <p:cNvSpPr>
                    <a:spLocks/>
                  </p:cNvSpPr>
                  <p:nvPr/>
                </p:nvSpPr>
                <p:spPr bwMode="auto">
                  <a:xfrm>
                    <a:off x="5846095" y="2907791"/>
                    <a:ext cx="193929" cy="381285"/>
                  </a:xfrm>
                  <a:custGeom>
                    <a:avLst/>
                    <a:gdLst>
                      <a:gd name="T0" fmla="*/ 59722 w 193929"/>
                      <a:gd name="T1" fmla="*/ 135255 h 381285"/>
                      <a:gd name="T2" fmla="*/ 56483 w 193929"/>
                      <a:gd name="T3" fmla="*/ 140875 h 381285"/>
                      <a:gd name="T4" fmla="*/ 176117 w 193929"/>
                      <a:gd name="T5" fmla="*/ 381286 h 381285"/>
                      <a:gd name="T6" fmla="*/ 193929 w 193929"/>
                      <a:gd name="T7" fmla="*/ 373571 h 381285"/>
                      <a:gd name="T8" fmla="*/ 100203 w 193929"/>
                      <a:gd name="T9" fmla="*/ 121920 h 381285"/>
                      <a:gd name="T10" fmla="*/ 93821 w 193929"/>
                      <a:gd name="T11" fmla="*/ 120396 h 381285"/>
                      <a:gd name="T12" fmla="*/ 90011 w 193929"/>
                      <a:gd name="T13" fmla="*/ 114205 h 381285"/>
                      <a:gd name="T14" fmla="*/ 52864 w 193929"/>
                      <a:gd name="T15" fmla="*/ 0 h 381285"/>
                      <a:gd name="T16" fmla="*/ 0 w 193929"/>
                      <a:gd name="T17" fmla="*/ 22955 h 381285"/>
                      <a:gd name="T18" fmla="*/ 57817 w 193929"/>
                      <a:gd name="T19" fmla="*/ 128207 h 381285"/>
                      <a:gd name="T20" fmla="*/ 59722 w 193929"/>
                      <a:gd name="T21" fmla="*/ 135255 h 3812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3929" h="381285" extrusionOk="0">
                        <a:moveTo>
                          <a:pt x="59722" y="135255"/>
                        </a:moveTo>
                        <a:cubicBezTo>
                          <a:pt x="59436" y="139256"/>
                          <a:pt x="56483" y="140875"/>
                          <a:pt x="56483" y="140875"/>
                        </a:cubicBezTo>
                        <a:lnTo>
                          <a:pt x="176117" y="381286"/>
                        </a:lnTo>
                        <a:lnTo>
                          <a:pt x="193929" y="373571"/>
                        </a:lnTo>
                        <a:lnTo>
                          <a:pt x="100203" y="121920"/>
                        </a:lnTo>
                        <a:cubicBezTo>
                          <a:pt x="100203" y="121920"/>
                          <a:pt x="96965" y="122968"/>
                          <a:pt x="93821" y="120396"/>
                        </a:cubicBezTo>
                        <a:cubicBezTo>
                          <a:pt x="91249" y="118396"/>
                          <a:pt x="90011" y="114205"/>
                          <a:pt x="90011" y="114205"/>
                        </a:cubicBezTo>
                        <a:lnTo>
                          <a:pt x="52864" y="0"/>
                        </a:lnTo>
                        <a:lnTo>
                          <a:pt x="0" y="22955"/>
                        </a:lnTo>
                        <a:lnTo>
                          <a:pt x="57817" y="128207"/>
                        </a:lnTo>
                        <a:cubicBezTo>
                          <a:pt x="57817" y="128207"/>
                          <a:pt x="60007" y="132112"/>
                          <a:pt x="59722" y="135255"/>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6" name="Google Shape;876;p19">
                  <a:extLst>
                    <a:ext uri="{FF2B5EF4-FFF2-40B4-BE49-F238E27FC236}">
                      <a16:creationId xmlns:a16="http://schemas.microsoft.com/office/drawing/2014/main" id="{F49A5A7B-4D61-A456-7CAB-B596B5414BCA}"/>
                    </a:ext>
                  </a:extLst>
                </p:cNvPr>
                <p:cNvGrpSpPr>
                  <a:grpSpLocks/>
                </p:cNvGrpSpPr>
                <p:nvPr/>
              </p:nvGrpSpPr>
              <p:grpSpPr bwMode="auto">
                <a:xfrm>
                  <a:off x="5573203" y="3180587"/>
                  <a:ext cx="1038796" cy="493395"/>
                  <a:chOff x="5573203" y="3180587"/>
                  <a:chExt cx="1038796" cy="493395"/>
                </a:xfrm>
              </p:grpSpPr>
              <p:sp>
                <p:nvSpPr>
                  <p:cNvPr id="57529" name="Google Shape;877;p19">
                    <a:extLst>
                      <a:ext uri="{FF2B5EF4-FFF2-40B4-BE49-F238E27FC236}">
                        <a16:creationId xmlns:a16="http://schemas.microsoft.com/office/drawing/2014/main" id="{52D300BF-5762-C01D-96B2-F370A963B85F}"/>
                      </a:ext>
                    </a:extLst>
                  </p:cNvPr>
                  <p:cNvSpPr>
                    <a:spLocks/>
                  </p:cNvSpPr>
                  <p:nvPr/>
                </p:nvSpPr>
                <p:spPr bwMode="auto">
                  <a:xfrm>
                    <a:off x="5573203" y="3479958"/>
                    <a:ext cx="381285" cy="194024"/>
                  </a:xfrm>
                  <a:custGeom>
                    <a:avLst/>
                    <a:gdLst>
                      <a:gd name="T0" fmla="*/ 135255 w 381285"/>
                      <a:gd name="T1" fmla="*/ 134112 h 194024"/>
                      <a:gd name="T2" fmla="*/ 140875 w 381285"/>
                      <a:gd name="T3" fmla="*/ 137446 h 194024"/>
                      <a:gd name="T4" fmla="*/ 381286 w 381285"/>
                      <a:gd name="T5" fmla="*/ 17812 h 194024"/>
                      <a:gd name="T6" fmla="*/ 373571 w 381285"/>
                      <a:gd name="T7" fmla="*/ 0 h 194024"/>
                      <a:gd name="T8" fmla="*/ 121920 w 381285"/>
                      <a:gd name="T9" fmla="*/ 93726 h 194024"/>
                      <a:gd name="T10" fmla="*/ 120396 w 381285"/>
                      <a:gd name="T11" fmla="*/ 100108 h 194024"/>
                      <a:gd name="T12" fmla="*/ 114205 w 381285"/>
                      <a:gd name="T13" fmla="*/ 103918 h 194024"/>
                      <a:gd name="T14" fmla="*/ 0 w 381285"/>
                      <a:gd name="T15" fmla="*/ 141161 h 194024"/>
                      <a:gd name="T16" fmla="*/ 22955 w 381285"/>
                      <a:gd name="T17" fmla="*/ 194024 h 194024"/>
                      <a:gd name="T18" fmla="*/ 128207 w 381285"/>
                      <a:gd name="T19" fmla="*/ 136112 h 194024"/>
                      <a:gd name="T20" fmla="*/ 135255 w 381285"/>
                      <a:gd name="T21" fmla="*/ 134112 h 1940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1285" h="194024" extrusionOk="0">
                        <a:moveTo>
                          <a:pt x="135255" y="134112"/>
                        </a:moveTo>
                        <a:cubicBezTo>
                          <a:pt x="139256" y="134493"/>
                          <a:pt x="140875" y="137446"/>
                          <a:pt x="140875" y="137446"/>
                        </a:cubicBezTo>
                        <a:lnTo>
                          <a:pt x="381286" y="17812"/>
                        </a:lnTo>
                        <a:lnTo>
                          <a:pt x="373571" y="0"/>
                        </a:lnTo>
                        <a:lnTo>
                          <a:pt x="121920" y="93726"/>
                        </a:lnTo>
                        <a:cubicBezTo>
                          <a:pt x="121920" y="93726"/>
                          <a:pt x="122968" y="96869"/>
                          <a:pt x="120396" y="100108"/>
                        </a:cubicBezTo>
                        <a:cubicBezTo>
                          <a:pt x="118396" y="102679"/>
                          <a:pt x="114205" y="103918"/>
                          <a:pt x="114205" y="103918"/>
                        </a:cubicBezTo>
                        <a:lnTo>
                          <a:pt x="0" y="141161"/>
                        </a:lnTo>
                        <a:lnTo>
                          <a:pt x="22955" y="194024"/>
                        </a:lnTo>
                        <a:lnTo>
                          <a:pt x="128207" y="136112"/>
                        </a:lnTo>
                        <a:cubicBezTo>
                          <a:pt x="128207" y="136112"/>
                          <a:pt x="132017" y="133826"/>
                          <a:pt x="135255" y="13411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30" name="Google Shape;878;p19">
                    <a:extLst>
                      <a:ext uri="{FF2B5EF4-FFF2-40B4-BE49-F238E27FC236}">
                        <a16:creationId xmlns:a16="http://schemas.microsoft.com/office/drawing/2014/main" id="{B98964CF-CA07-B06A-341B-8352CC440489}"/>
                      </a:ext>
                    </a:extLst>
                  </p:cNvPr>
                  <p:cNvSpPr>
                    <a:spLocks/>
                  </p:cNvSpPr>
                  <p:nvPr/>
                </p:nvSpPr>
                <p:spPr bwMode="auto">
                  <a:xfrm>
                    <a:off x="6230809" y="3180587"/>
                    <a:ext cx="381190" cy="194024"/>
                  </a:xfrm>
                  <a:custGeom>
                    <a:avLst/>
                    <a:gdLst>
                      <a:gd name="T0" fmla="*/ 246031 w 381190"/>
                      <a:gd name="T1" fmla="*/ 59817 h 194024"/>
                      <a:gd name="T2" fmla="*/ 240411 w 381190"/>
                      <a:gd name="T3" fmla="*/ 56579 h 194024"/>
                      <a:gd name="T4" fmla="*/ 0 w 381190"/>
                      <a:gd name="T5" fmla="*/ 176213 h 194024"/>
                      <a:gd name="T6" fmla="*/ 7715 w 381190"/>
                      <a:gd name="T7" fmla="*/ 194024 h 194024"/>
                      <a:gd name="T8" fmla="*/ 259366 w 381190"/>
                      <a:gd name="T9" fmla="*/ 100298 h 194024"/>
                      <a:gd name="T10" fmla="*/ 260794 w 381190"/>
                      <a:gd name="T11" fmla="*/ 93917 h 194024"/>
                      <a:gd name="T12" fmla="*/ 266986 w 381190"/>
                      <a:gd name="T13" fmla="*/ 90011 h 194024"/>
                      <a:gd name="T14" fmla="*/ 381190 w 381190"/>
                      <a:gd name="T15" fmla="*/ 52864 h 194024"/>
                      <a:gd name="T16" fmla="*/ 358235 w 381190"/>
                      <a:gd name="T17" fmla="*/ 0 h 194024"/>
                      <a:gd name="T18" fmla="*/ 253175 w 381190"/>
                      <a:gd name="T19" fmla="*/ 57912 h 194024"/>
                      <a:gd name="T20" fmla="*/ 246031 w 381190"/>
                      <a:gd name="T21" fmla="*/ 59817 h 1940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1190" h="194024" extrusionOk="0">
                        <a:moveTo>
                          <a:pt x="246031" y="59817"/>
                        </a:moveTo>
                        <a:cubicBezTo>
                          <a:pt x="242030" y="59531"/>
                          <a:pt x="240411" y="56579"/>
                          <a:pt x="240411" y="56579"/>
                        </a:cubicBezTo>
                        <a:lnTo>
                          <a:pt x="0" y="176213"/>
                        </a:lnTo>
                        <a:lnTo>
                          <a:pt x="7715" y="194024"/>
                        </a:lnTo>
                        <a:lnTo>
                          <a:pt x="259366" y="100298"/>
                        </a:lnTo>
                        <a:cubicBezTo>
                          <a:pt x="259366" y="100298"/>
                          <a:pt x="258318" y="97060"/>
                          <a:pt x="260794" y="93917"/>
                        </a:cubicBezTo>
                        <a:cubicBezTo>
                          <a:pt x="262795" y="91345"/>
                          <a:pt x="266986" y="90011"/>
                          <a:pt x="266986" y="90011"/>
                        </a:cubicBezTo>
                        <a:lnTo>
                          <a:pt x="381190" y="52864"/>
                        </a:lnTo>
                        <a:lnTo>
                          <a:pt x="358235" y="0"/>
                        </a:lnTo>
                        <a:lnTo>
                          <a:pt x="253175" y="57912"/>
                        </a:lnTo>
                        <a:cubicBezTo>
                          <a:pt x="253175" y="57912"/>
                          <a:pt x="249269" y="60198"/>
                          <a:pt x="246031" y="59817"/>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7" name="Google Shape;879;p19">
                  <a:extLst>
                    <a:ext uri="{FF2B5EF4-FFF2-40B4-BE49-F238E27FC236}">
                      <a16:creationId xmlns:a16="http://schemas.microsoft.com/office/drawing/2014/main" id="{3FAF5C09-B2E0-888A-5914-76E540F2E1BA}"/>
                    </a:ext>
                  </a:extLst>
                </p:cNvPr>
                <p:cNvGrpSpPr>
                  <a:grpSpLocks/>
                </p:cNvGrpSpPr>
                <p:nvPr/>
              </p:nvGrpSpPr>
              <p:grpSpPr bwMode="auto">
                <a:xfrm>
                  <a:off x="6000781" y="2873882"/>
                  <a:ext cx="183832" cy="1106710"/>
                  <a:chOff x="6000781" y="2873882"/>
                  <a:chExt cx="183832" cy="1106710"/>
                </a:xfrm>
              </p:grpSpPr>
              <p:sp>
                <p:nvSpPr>
                  <p:cNvPr id="57527" name="Google Shape;880;p19">
                    <a:extLst>
                      <a:ext uri="{FF2B5EF4-FFF2-40B4-BE49-F238E27FC236}">
                        <a16:creationId xmlns:a16="http://schemas.microsoft.com/office/drawing/2014/main" id="{839CD206-2E6B-4A27-F036-6F0000600910}"/>
                      </a:ext>
                    </a:extLst>
                  </p:cNvPr>
                  <p:cNvSpPr>
                    <a:spLocks/>
                  </p:cNvSpPr>
                  <p:nvPr/>
                </p:nvSpPr>
                <p:spPr bwMode="auto">
                  <a:xfrm>
                    <a:off x="6000781" y="3579971"/>
                    <a:ext cx="83820" cy="400621"/>
                  </a:xfrm>
                  <a:custGeom>
                    <a:avLst/>
                    <a:gdLst>
                      <a:gd name="T0" fmla="*/ 61627 w 83820"/>
                      <a:gd name="T1" fmla="*/ 273463 h 400621"/>
                      <a:gd name="T2" fmla="*/ 67247 w 83820"/>
                      <a:gd name="T3" fmla="*/ 270224 h 400621"/>
                      <a:gd name="T4" fmla="*/ 83820 w 83820"/>
                      <a:gd name="T5" fmla="*/ 2191 h 400621"/>
                      <a:gd name="T6" fmla="*/ 64580 w 83820"/>
                      <a:gd name="T7" fmla="*/ 0 h 400621"/>
                      <a:gd name="T8" fmla="*/ 19907 w 83820"/>
                      <a:gd name="T9" fmla="*/ 264795 h 400621"/>
                      <a:gd name="T10" fmla="*/ 24670 w 83820"/>
                      <a:gd name="T11" fmla="*/ 269177 h 400621"/>
                      <a:gd name="T12" fmla="*/ 24860 w 83820"/>
                      <a:gd name="T13" fmla="*/ 276511 h 400621"/>
                      <a:gd name="T14" fmla="*/ 0 w 83820"/>
                      <a:gd name="T15" fmla="*/ 394049 h 400621"/>
                      <a:gd name="T16" fmla="*/ 57245 w 83820"/>
                      <a:gd name="T17" fmla="*/ 400622 h 400621"/>
                      <a:gd name="T18" fmla="*/ 59627 w 83820"/>
                      <a:gd name="T19" fmla="*/ 280511 h 400621"/>
                      <a:gd name="T20" fmla="*/ 61627 w 83820"/>
                      <a:gd name="T21" fmla="*/ 273463 h 400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820" h="400621" extrusionOk="0">
                        <a:moveTo>
                          <a:pt x="61627" y="273463"/>
                        </a:moveTo>
                        <a:cubicBezTo>
                          <a:pt x="63913" y="270129"/>
                          <a:pt x="67247" y="270224"/>
                          <a:pt x="67247" y="270224"/>
                        </a:cubicBezTo>
                        <a:lnTo>
                          <a:pt x="83820" y="2191"/>
                        </a:lnTo>
                        <a:lnTo>
                          <a:pt x="64580" y="0"/>
                        </a:lnTo>
                        <a:lnTo>
                          <a:pt x="19907" y="264795"/>
                        </a:lnTo>
                        <a:cubicBezTo>
                          <a:pt x="19907" y="264795"/>
                          <a:pt x="23241" y="265462"/>
                          <a:pt x="24670" y="269177"/>
                        </a:cubicBezTo>
                        <a:cubicBezTo>
                          <a:pt x="25908" y="272225"/>
                          <a:pt x="24860" y="276511"/>
                          <a:pt x="24860" y="276511"/>
                        </a:cubicBezTo>
                        <a:lnTo>
                          <a:pt x="0" y="394049"/>
                        </a:lnTo>
                        <a:lnTo>
                          <a:pt x="57245" y="400622"/>
                        </a:lnTo>
                        <a:lnTo>
                          <a:pt x="59627" y="280511"/>
                        </a:lnTo>
                        <a:cubicBezTo>
                          <a:pt x="59722" y="280511"/>
                          <a:pt x="59722" y="276130"/>
                          <a:pt x="61627" y="2734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8" name="Google Shape;881;p19">
                    <a:extLst>
                      <a:ext uri="{FF2B5EF4-FFF2-40B4-BE49-F238E27FC236}">
                        <a16:creationId xmlns:a16="http://schemas.microsoft.com/office/drawing/2014/main" id="{4ABFBCCA-52DC-515F-EC4D-F98129134A19}"/>
                      </a:ext>
                    </a:extLst>
                  </p:cNvPr>
                  <p:cNvSpPr>
                    <a:spLocks/>
                  </p:cNvSpPr>
                  <p:nvPr/>
                </p:nvSpPr>
                <p:spPr bwMode="auto">
                  <a:xfrm>
                    <a:off x="6100793" y="2873882"/>
                    <a:ext cx="83820" cy="400716"/>
                  </a:xfrm>
                  <a:custGeom>
                    <a:avLst/>
                    <a:gdLst>
                      <a:gd name="T0" fmla="*/ 22193 w 83820"/>
                      <a:gd name="T1" fmla="*/ 127254 h 400716"/>
                      <a:gd name="T2" fmla="*/ 16574 w 83820"/>
                      <a:gd name="T3" fmla="*/ 130493 h 400716"/>
                      <a:gd name="T4" fmla="*/ 0 w 83820"/>
                      <a:gd name="T5" fmla="*/ 398526 h 400716"/>
                      <a:gd name="T6" fmla="*/ 19241 w 83820"/>
                      <a:gd name="T7" fmla="*/ 400717 h 400716"/>
                      <a:gd name="T8" fmla="*/ 63913 w 83820"/>
                      <a:gd name="T9" fmla="*/ 135922 h 400716"/>
                      <a:gd name="T10" fmla="*/ 59150 w 83820"/>
                      <a:gd name="T11" fmla="*/ 131445 h 400716"/>
                      <a:gd name="T12" fmla="*/ 58960 w 83820"/>
                      <a:gd name="T13" fmla="*/ 124111 h 400716"/>
                      <a:gd name="T14" fmla="*/ 83820 w 83820"/>
                      <a:gd name="T15" fmla="*/ 6572 h 400716"/>
                      <a:gd name="T16" fmla="*/ 26575 w 83820"/>
                      <a:gd name="T17" fmla="*/ 0 h 400716"/>
                      <a:gd name="T18" fmla="*/ 24194 w 83820"/>
                      <a:gd name="T19" fmla="*/ 120015 h 400716"/>
                      <a:gd name="T20" fmla="*/ 22193 w 83820"/>
                      <a:gd name="T21" fmla="*/ 127254 h 4007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820" h="400716" extrusionOk="0">
                        <a:moveTo>
                          <a:pt x="22193" y="127254"/>
                        </a:moveTo>
                        <a:cubicBezTo>
                          <a:pt x="19907" y="130588"/>
                          <a:pt x="16574" y="130493"/>
                          <a:pt x="16574" y="130493"/>
                        </a:cubicBezTo>
                        <a:lnTo>
                          <a:pt x="0" y="398526"/>
                        </a:lnTo>
                        <a:lnTo>
                          <a:pt x="19241" y="400717"/>
                        </a:lnTo>
                        <a:lnTo>
                          <a:pt x="63913" y="135922"/>
                        </a:lnTo>
                        <a:cubicBezTo>
                          <a:pt x="63913" y="135922"/>
                          <a:pt x="60579" y="135160"/>
                          <a:pt x="59150" y="131445"/>
                        </a:cubicBezTo>
                        <a:cubicBezTo>
                          <a:pt x="57912" y="128492"/>
                          <a:pt x="58960" y="124111"/>
                          <a:pt x="58960" y="124111"/>
                        </a:cubicBezTo>
                        <a:lnTo>
                          <a:pt x="83820" y="6572"/>
                        </a:lnTo>
                        <a:lnTo>
                          <a:pt x="26575" y="0"/>
                        </a:lnTo>
                        <a:lnTo>
                          <a:pt x="24194" y="120015"/>
                        </a:lnTo>
                        <a:cubicBezTo>
                          <a:pt x="24003" y="120110"/>
                          <a:pt x="24098" y="124587"/>
                          <a:pt x="22193" y="127254"/>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8" name="Google Shape;882;p19">
                  <a:extLst>
                    <a:ext uri="{FF2B5EF4-FFF2-40B4-BE49-F238E27FC236}">
                      <a16:creationId xmlns:a16="http://schemas.microsoft.com/office/drawing/2014/main" id="{B0B1206F-7A8A-1492-9594-ADEFC16403FD}"/>
                    </a:ext>
                  </a:extLst>
                </p:cNvPr>
                <p:cNvGrpSpPr>
                  <a:grpSpLocks/>
                </p:cNvGrpSpPr>
                <p:nvPr/>
              </p:nvGrpSpPr>
              <p:grpSpPr bwMode="auto">
                <a:xfrm>
                  <a:off x="5539390" y="3335464"/>
                  <a:ext cx="1106614" cy="183641"/>
                  <a:chOff x="5539390" y="3335464"/>
                  <a:chExt cx="1106614" cy="183641"/>
                </a:xfrm>
              </p:grpSpPr>
              <p:sp>
                <p:nvSpPr>
                  <p:cNvPr id="57525" name="Google Shape;883;p19">
                    <a:extLst>
                      <a:ext uri="{FF2B5EF4-FFF2-40B4-BE49-F238E27FC236}">
                        <a16:creationId xmlns:a16="http://schemas.microsoft.com/office/drawing/2014/main" id="{D5479953-CFDE-C92E-8A0D-7DA571DA66FD}"/>
                      </a:ext>
                    </a:extLst>
                  </p:cNvPr>
                  <p:cNvSpPr>
                    <a:spLocks/>
                  </p:cNvSpPr>
                  <p:nvPr/>
                </p:nvSpPr>
                <p:spPr bwMode="auto">
                  <a:xfrm>
                    <a:off x="6245383" y="3435381"/>
                    <a:ext cx="400621" cy="83724"/>
                  </a:xfrm>
                  <a:custGeom>
                    <a:avLst/>
                    <a:gdLst>
                      <a:gd name="T0" fmla="*/ 273463 w 400621"/>
                      <a:gd name="T1" fmla="*/ 22193 h 83724"/>
                      <a:gd name="T2" fmla="*/ 270224 w 400621"/>
                      <a:gd name="T3" fmla="*/ 16574 h 83724"/>
                      <a:gd name="T4" fmla="*/ 2191 w 400621"/>
                      <a:gd name="T5" fmla="*/ 0 h 83724"/>
                      <a:gd name="T6" fmla="*/ 0 w 400621"/>
                      <a:gd name="T7" fmla="*/ 19241 h 83724"/>
                      <a:gd name="T8" fmla="*/ 264795 w 400621"/>
                      <a:gd name="T9" fmla="*/ 63818 h 83724"/>
                      <a:gd name="T10" fmla="*/ 269272 w 400621"/>
                      <a:gd name="T11" fmla="*/ 59055 h 83724"/>
                      <a:gd name="T12" fmla="*/ 276511 w 400621"/>
                      <a:gd name="T13" fmla="*/ 58865 h 83724"/>
                      <a:gd name="T14" fmla="*/ 394049 w 400621"/>
                      <a:gd name="T15" fmla="*/ 83725 h 83724"/>
                      <a:gd name="T16" fmla="*/ 400622 w 400621"/>
                      <a:gd name="T17" fmla="*/ 26479 h 83724"/>
                      <a:gd name="T18" fmla="*/ 280511 w 400621"/>
                      <a:gd name="T19" fmla="*/ 24098 h 83724"/>
                      <a:gd name="T20" fmla="*/ 273463 w 400621"/>
                      <a:gd name="T21" fmla="*/ 22193 h 83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621" h="83724" extrusionOk="0">
                        <a:moveTo>
                          <a:pt x="273463" y="22193"/>
                        </a:moveTo>
                        <a:cubicBezTo>
                          <a:pt x="270129" y="19907"/>
                          <a:pt x="270224" y="16574"/>
                          <a:pt x="270224" y="16574"/>
                        </a:cubicBezTo>
                        <a:lnTo>
                          <a:pt x="2191" y="0"/>
                        </a:lnTo>
                        <a:lnTo>
                          <a:pt x="0" y="19241"/>
                        </a:lnTo>
                        <a:lnTo>
                          <a:pt x="264795" y="63818"/>
                        </a:lnTo>
                        <a:cubicBezTo>
                          <a:pt x="264795" y="63818"/>
                          <a:pt x="265462" y="60484"/>
                          <a:pt x="269272" y="59055"/>
                        </a:cubicBezTo>
                        <a:cubicBezTo>
                          <a:pt x="272225" y="57817"/>
                          <a:pt x="276511" y="58865"/>
                          <a:pt x="276511" y="58865"/>
                        </a:cubicBezTo>
                        <a:lnTo>
                          <a:pt x="394049" y="83725"/>
                        </a:lnTo>
                        <a:lnTo>
                          <a:pt x="400622" y="26479"/>
                        </a:lnTo>
                        <a:lnTo>
                          <a:pt x="280511" y="24098"/>
                        </a:lnTo>
                        <a:cubicBezTo>
                          <a:pt x="280511" y="24098"/>
                          <a:pt x="276130" y="24098"/>
                          <a:pt x="273463" y="2219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6" name="Google Shape;884;p19">
                    <a:extLst>
                      <a:ext uri="{FF2B5EF4-FFF2-40B4-BE49-F238E27FC236}">
                        <a16:creationId xmlns:a16="http://schemas.microsoft.com/office/drawing/2014/main" id="{A7F9D44A-7C1B-0968-BAF5-0F84BBF33030}"/>
                      </a:ext>
                    </a:extLst>
                  </p:cNvPr>
                  <p:cNvSpPr>
                    <a:spLocks/>
                  </p:cNvSpPr>
                  <p:nvPr/>
                </p:nvSpPr>
                <p:spPr bwMode="auto">
                  <a:xfrm>
                    <a:off x="5539390" y="3335464"/>
                    <a:ext cx="400621" cy="83820"/>
                  </a:xfrm>
                  <a:custGeom>
                    <a:avLst/>
                    <a:gdLst>
                      <a:gd name="T0" fmla="*/ 127064 w 400621"/>
                      <a:gd name="T1" fmla="*/ 61531 h 83820"/>
                      <a:gd name="T2" fmla="*/ 130302 w 400621"/>
                      <a:gd name="T3" fmla="*/ 67151 h 83820"/>
                      <a:gd name="T4" fmla="*/ 398336 w 400621"/>
                      <a:gd name="T5" fmla="*/ 83820 h 83820"/>
                      <a:gd name="T6" fmla="*/ 400622 w 400621"/>
                      <a:gd name="T7" fmla="*/ 64579 h 83820"/>
                      <a:gd name="T8" fmla="*/ 135827 w 400621"/>
                      <a:gd name="T9" fmla="*/ 19907 h 83820"/>
                      <a:gd name="T10" fmla="*/ 131350 w 400621"/>
                      <a:gd name="T11" fmla="*/ 24670 h 83820"/>
                      <a:gd name="T12" fmla="*/ 124016 w 400621"/>
                      <a:gd name="T13" fmla="*/ 24860 h 83820"/>
                      <a:gd name="T14" fmla="*/ 6572 w 400621"/>
                      <a:gd name="T15" fmla="*/ 0 h 83820"/>
                      <a:gd name="T16" fmla="*/ 0 w 400621"/>
                      <a:gd name="T17" fmla="*/ 57245 h 83820"/>
                      <a:gd name="T18" fmla="*/ 120110 w 400621"/>
                      <a:gd name="T19" fmla="*/ 59722 h 83820"/>
                      <a:gd name="T20" fmla="*/ 127064 w 400621"/>
                      <a:gd name="T21" fmla="*/ 61531 h 838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0621" h="83820" extrusionOk="0">
                        <a:moveTo>
                          <a:pt x="127064" y="61531"/>
                        </a:moveTo>
                        <a:cubicBezTo>
                          <a:pt x="130397" y="63818"/>
                          <a:pt x="130302" y="67151"/>
                          <a:pt x="130302" y="67151"/>
                        </a:cubicBezTo>
                        <a:lnTo>
                          <a:pt x="398336" y="83820"/>
                        </a:lnTo>
                        <a:lnTo>
                          <a:pt x="400622" y="64579"/>
                        </a:lnTo>
                        <a:lnTo>
                          <a:pt x="135827" y="19907"/>
                        </a:lnTo>
                        <a:cubicBezTo>
                          <a:pt x="135827" y="19907"/>
                          <a:pt x="135160" y="23241"/>
                          <a:pt x="131350" y="24670"/>
                        </a:cubicBezTo>
                        <a:cubicBezTo>
                          <a:pt x="128397" y="25908"/>
                          <a:pt x="124016" y="24860"/>
                          <a:pt x="124016" y="24860"/>
                        </a:cubicBezTo>
                        <a:lnTo>
                          <a:pt x="6572" y="0"/>
                        </a:lnTo>
                        <a:lnTo>
                          <a:pt x="0" y="57245"/>
                        </a:lnTo>
                        <a:lnTo>
                          <a:pt x="120110" y="59722"/>
                        </a:lnTo>
                        <a:cubicBezTo>
                          <a:pt x="120015" y="59626"/>
                          <a:pt x="124492" y="59626"/>
                          <a:pt x="127064" y="61531"/>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19" name="Google Shape;885;p19">
                  <a:extLst>
                    <a:ext uri="{FF2B5EF4-FFF2-40B4-BE49-F238E27FC236}">
                      <a16:creationId xmlns:a16="http://schemas.microsoft.com/office/drawing/2014/main" id="{71D0891F-305D-E9A9-D313-7DB114F6D494}"/>
                    </a:ext>
                  </a:extLst>
                </p:cNvPr>
                <p:cNvGrpSpPr>
                  <a:grpSpLocks/>
                </p:cNvGrpSpPr>
                <p:nvPr/>
              </p:nvGrpSpPr>
              <p:grpSpPr bwMode="auto">
                <a:xfrm>
                  <a:off x="5725889" y="2975800"/>
                  <a:ext cx="733711" cy="902969"/>
                  <a:chOff x="5725889" y="2975800"/>
                  <a:chExt cx="733711" cy="902969"/>
                </a:xfrm>
              </p:grpSpPr>
              <p:sp>
                <p:nvSpPr>
                  <p:cNvPr id="57523" name="Google Shape;886;p19">
                    <a:extLst>
                      <a:ext uri="{FF2B5EF4-FFF2-40B4-BE49-F238E27FC236}">
                        <a16:creationId xmlns:a16="http://schemas.microsoft.com/office/drawing/2014/main" id="{E18078D7-9CA8-F01B-897D-DB1A98F5E501}"/>
                      </a:ext>
                    </a:extLst>
                  </p:cNvPr>
                  <p:cNvSpPr>
                    <a:spLocks/>
                  </p:cNvSpPr>
                  <p:nvPr/>
                </p:nvSpPr>
                <p:spPr bwMode="auto">
                  <a:xfrm>
                    <a:off x="6181375" y="3542442"/>
                    <a:ext cx="278225" cy="336327"/>
                  </a:xfrm>
                  <a:custGeom>
                    <a:avLst/>
                    <a:gdLst>
                      <a:gd name="T0" fmla="*/ 191262 w 278225"/>
                      <a:gd name="T1" fmla="*/ 207550 h 336327"/>
                      <a:gd name="T2" fmla="*/ 192977 w 278225"/>
                      <a:gd name="T3" fmla="*/ 201263 h 336327"/>
                      <a:gd name="T4" fmla="*/ 15145 w 278225"/>
                      <a:gd name="T5" fmla="*/ 0 h 336327"/>
                      <a:gd name="T6" fmla="*/ 0 w 278225"/>
                      <a:gd name="T7" fmla="*/ 12097 h 336327"/>
                      <a:gd name="T8" fmla="*/ 155734 w 278225"/>
                      <a:gd name="T9" fmla="*/ 230886 h 336327"/>
                      <a:gd name="T10" fmla="*/ 162211 w 278225"/>
                      <a:gd name="T11" fmla="*/ 230695 h 336327"/>
                      <a:gd name="T12" fmla="*/ 167545 w 278225"/>
                      <a:gd name="T13" fmla="*/ 235648 h 336327"/>
                      <a:gd name="T14" fmla="*/ 233077 w 278225"/>
                      <a:gd name="T15" fmla="*/ 336328 h 336327"/>
                      <a:gd name="T16" fmla="*/ 278225 w 278225"/>
                      <a:gd name="T17" fmla="*/ 300418 h 336327"/>
                      <a:gd name="T18" fmla="*/ 195072 w 278225"/>
                      <a:gd name="T19" fmla="*/ 213836 h 336327"/>
                      <a:gd name="T20" fmla="*/ 191262 w 278225"/>
                      <a:gd name="T21" fmla="*/ 207550 h 3363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8225" h="336327" extrusionOk="0">
                        <a:moveTo>
                          <a:pt x="191262" y="207550"/>
                        </a:moveTo>
                        <a:cubicBezTo>
                          <a:pt x="190500" y="203644"/>
                          <a:pt x="192977" y="201263"/>
                          <a:pt x="192977" y="201263"/>
                        </a:cubicBezTo>
                        <a:lnTo>
                          <a:pt x="15145" y="0"/>
                        </a:lnTo>
                        <a:lnTo>
                          <a:pt x="0" y="12097"/>
                        </a:lnTo>
                        <a:lnTo>
                          <a:pt x="155734" y="230886"/>
                        </a:lnTo>
                        <a:cubicBezTo>
                          <a:pt x="155734" y="230886"/>
                          <a:pt x="158496" y="229076"/>
                          <a:pt x="162211" y="230695"/>
                        </a:cubicBezTo>
                        <a:cubicBezTo>
                          <a:pt x="165164" y="231934"/>
                          <a:pt x="167545" y="235648"/>
                          <a:pt x="167545" y="235648"/>
                        </a:cubicBezTo>
                        <a:lnTo>
                          <a:pt x="233077" y="336328"/>
                        </a:lnTo>
                        <a:lnTo>
                          <a:pt x="278225" y="300418"/>
                        </a:lnTo>
                        <a:lnTo>
                          <a:pt x="195072" y="213836"/>
                        </a:lnTo>
                        <a:cubicBezTo>
                          <a:pt x="194881" y="213931"/>
                          <a:pt x="191738" y="210788"/>
                          <a:pt x="191262" y="207550"/>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4" name="Google Shape;887;p19">
                    <a:extLst>
                      <a:ext uri="{FF2B5EF4-FFF2-40B4-BE49-F238E27FC236}">
                        <a16:creationId xmlns:a16="http://schemas.microsoft.com/office/drawing/2014/main" id="{E7A052E2-E280-53E5-9865-EE8B0FF94CD6}"/>
                      </a:ext>
                    </a:extLst>
                  </p:cNvPr>
                  <p:cNvSpPr>
                    <a:spLocks/>
                  </p:cNvSpPr>
                  <p:nvPr/>
                </p:nvSpPr>
                <p:spPr bwMode="auto">
                  <a:xfrm>
                    <a:off x="5725889" y="2975800"/>
                    <a:ext cx="278034" cy="336232"/>
                  </a:xfrm>
                  <a:custGeom>
                    <a:avLst/>
                    <a:gdLst>
                      <a:gd name="T0" fmla="*/ 86868 w 278034"/>
                      <a:gd name="T1" fmla="*/ 128683 h 336232"/>
                      <a:gd name="T2" fmla="*/ 85154 w 278034"/>
                      <a:gd name="T3" fmla="*/ 134969 h 336232"/>
                      <a:gd name="T4" fmla="*/ 262890 w 278034"/>
                      <a:gd name="T5" fmla="*/ 336233 h 336232"/>
                      <a:gd name="T6" fmla="*/ 278035 w 278034"/>
                      <a:gd name="T7" fmla="*/ 324231 h 336232"/>
                      <a:gd name="T8" fmla="*/ 122396 w 278034"/>
                      <a:gd name="T9" fmla="*/ 105442 h 336232"/>
                      <a:gd name="T10" fmla="*/ 115919 w 278034"/>
                      <a:gd name="T11" fmla="*/ 105632 h 336232"/>
                      <a:gd name="T12" fmla="*/ 110585 w 278034"/>
                      <a:gd name="T13" fmla="*/ 100679 h 336232"/>
                      <a:gd name="T14" fmla="*/ 45148 w 278034"/>
                      <a:gd name="T15" fmla="*/ 0 h 336232"/>
                      <a:gd name="T16" fmla="*/ 0 w 278034"/>
                      <a:gd name="T17" fmla="*/ 35814 h 336232"/>
                      <a:gd name="T18" fmla="*/ 83249 w 278034"/>
                      <a:gd name="T19" fmla="*/ 122492 h 336232"/>
                      <a:gd name="T20" fmla="*/ 86868 w 278034"/>
                      <a:gd name="T21" fmla="*/ 128683 h 336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8034" h="336232" extrusionOk="0">
                        <a:moveTo>
                          <a:pt x="86868" y="128683"/>
                        </a:moveTo>
                        <a:cubicBezTo>
                          <a:pt x="87630" y="132683"/>
                          <a:pt x="85154" y="134969"/>
                          <a:pt x="85154" y="134969"/>
                        </a:cubicBezTo>
                        <a:lnTo>
                          <a:pt x="262890" y="336233"/>
                        </a:lnTo>
                        <a:lnTo>
                          <a:pt x="278035" y="324231"/>
                        </a:lnTo>
                        <a:lnTo>
                          <a:pt x="122396" y="105442"/>
                        </a:lnTo>
                        <a:cubicBezTo>
                          <a:pt x="122396" y="105442"/>
                          <a:pt x="119634" y="107347"/>
                          <a:pt x="115919" y="105632"/>
                        </a:cubicBezTo>
                        <a:cubicBezTo>
                          <a:pt x="112966" y="104394"/>
                          <a:pt x="110585" y="100679"/>
                          <a:pt x="110585" y="100679"/>
                        </a:cubicBezTo>
                        <a:lnTo>
                          <a:pt x="45148" y="0"/>
                        </a:lnTo>
                        <a:lnTo>
                          <a:pt x="0" y="35814"/>
                        </a:lnTo>
                        <a:lnTo>
                          <a:pt x="83249" y="122492"/>
                        </a:lnTo>
                        <a:cubicBezTo>
                          <a:pt x="83153" y="122396"/>
                          <a:pt x="86296" y="125540"/>
                          <a:pt x="86868" y="12868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nvGrpSpPr>
                <p:cNvPr id="57520" name="Google Shape;888;p19">
                  <a:extLst>
                    <a:ext uri="{FF2B5EF4-FFF2-40B4-BE49-F238E27FC236}">
                      <a16:creationId xmlns:a16="http://schemas.microsoft.com/office/drawing/2014/main" id="{BB46A819-DBFE-A5B6-40AD-E67CC63071D1}"/>
                    </a:ext>
                  </a:extLst>
                </p:cNvPr>
                <p:cNvGrpSpPr>
                  <a:grpSpLocks/>
                </p:cNvGrpSpPr>
                <p:nvPr/>
              </p:nvGrpSpPr>
              <p:grpSpPr bwMode="auto">
                <a:xfrm>
                  <a:off x="5641021" y="3060382"/>
                  <a:ext cx="903255" cy="733615"/>
                  <a:chOff x="5641021" y="3060382"/>
                  <a:chExt cx="903255" cy="733615"/>
                </a:xfrm>
              </p:grpSpPr>
              <p:sp>
                <p:nvSpPr>
                  <p:cNvPr id="57521" name="Google Shape;889;p19">
                    <a:extLst>
                      <a:ext uri="{FF2B5EF4-FFF2-40B4-BE49-F238E27FC236}">
                        <a16:creationId xmlns:a16="http://schemas.microsoft.com/office/drawing/2014/main" id="{1AB64D2F-234E-BF5A-54D1-6202518D7F93}"/>
                      </a:ext>
                    </a:extLst>
                  </p:cNvPr>
                  <p:cNvSpPr>
                    <a:spLocks/>
                  </p:cNvSpPr>
                  <p:nvPr/>
                </p:nvSpPr>
                <p:spPr bwMode="auto">
                  <a:xfrm>
                    <a:off x="5641021" y="3515868"/>
                    <a:ext cx="336423" cy="278129"/>
                  </a:xfrm>
                  <a:custGeom>
                    <a:avLst/>
                    <a:gdLst>
                      <a:gd name="T0" fmla="*/ 128873 w 336423"/>
                      <a:gd name="T1" fmla="*/ 191357 h 278129"/>
                      <a:gd name="T2" fmla="*/ 135160 w 336423"/>
                      <a:gd name="T3" fmla="*/ 192976 h 278129"/>
                      <a:gd name="T4" fmla="*/ 336423 w 336423"/>
                      <a:gd name="T5" fmla="*/ 15240 h 278129"/>
                      <a:gd name="T6" fmla="*/ 324326 w 336423"/>
                      <a:gd name="T7" fmla="*/ 0 h 278129"/>
                      <a:gd name="T8" fmla="*/ 105537 w 336423"/>
                      <a:gd name="T9" fmla="*/ 155734 h 278129"/>
                      <a:gd name="T10" fmla="*/ 105728 w 336423"/>
                      <a:gd name="T11" fmla="*/ 162211 h 278129"/>
                      <a:gd name="T12" fmla="*/ 100679 w 336423"/>
                      <a:gd name="T13" fmla="*/ 167545 h 278129"/>
                      <a:gd name="T14" fmla="*/ 0 w 336423"/>
                      <a:gd name="T15" fmla="*/ 232981 h 278129"/>
                      <a:gd name="T16" fmla="*/ 35814 w 336423"/>
                      <a:gd name="T17" fmla="*/ 278130 h 278129"/>
                      <a:gd name="T18" fmla="*/ 122396 w 336423"/>
                      <a:gd name="T19" fmla="*/ 194977 h 278129"/>
                      <a:gd name="T20" fmla="*/ 128873 w 336423"/>
                      <a:gd name="T21" fmla="*/ 191357 h 278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6423" h="278129" extrusionOk="0">
                        <a:moveTo>
                          <a:pt x="128873" y="191357"/>
                        </a:moveTo>
                        <a:cubicBezTo>
                          <a:pt x="132874" y="190595"/>
                          <a:pt x="135160" y="192976"/>
                          <a:pt x="135160" y="192976"/>
                        </a:cubicBezTo>
                        <a:lnTo>
                          <a:pt x="336423" y="15240"/>
                        </a:lnTo>
                        <a:lnTo>
                          <a:pt x="324326" y="0"/>
                        </a:lnTo>
                        <a:lnTo>
                          <a:pt x="105537" y="155734"/>
                        </a:lnTo>
                        <a:cubicBezTo>
                          <a:pt x="105537" y="155734"/>
                          <a:pt x="107347" y="158591"/>
                          <a:pt x="105728" y="162211"/>
                        </a:cubicBezTo>
                        <a:cubicBezTo>
                          <a:pt x="104489" y="165163"/>
                          <a:pt x="100679" y="167545"/>
                          <a:pt x="100679" y="167545"/>
                        </a:cubicBezTo>
                        <a:lnTo>
                          <a:pt x="0" y="232981"/>
                        </a:lnTo>
                        <a:lnTo>
                          <a:pt x="35814" y="278130"/>
                        </a:lnTo>
                        <a:lnTo>
                          <a:pt x="122396" y="194977"/>
                        </a:lnTo>
                        <a:cubicBezTo>
                          <a:pt x="122587" y="194977"/>
                          <a:pt x="125730" y="191929"/>
                          <a:pt x="128873" y="191357"/>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22" name="Google Shape;890;p19">
                    <a:extLst>
                      <a:ext uri="{FF2B5EF4-FFF2-40B4-BE49-F238E27FC236}">
                        <a16:creationId xmlns:a16="http://schemas.microsoft.com/office/drawing/2014/main" id="{9130219D-6E71-6C64-1BDB-F937ED11A1D0}"/>
                      </a:ext>
                    </a:extLst>
                  </p:cNvPr>
                  <p:cNvSpPr>
                    <a:spLocks/>
                  </p:cNvSpPr>
                  <p:nvPr/>
                </p:nvSpPr>
                <p:spPr bwMode="auto">
                  <a:xfrm>
                    <a:off x="6207854" y="3060382"/>
                    <a:ext cx="336422" cy="278225"/>
                  </a:xfrm>
                  <a:custGeom>
                    <a:avLst/>
                    <a:gdLst>
                      <a:gd name="T0" fmla="*/ 207550 w 336422"/>
                      <a:gd name="T1" fmla="*/ 86963 h 278225"/>
                      <a:gd name="T2" fmla="*/ 201263 w 336422"/>
                      <a:gd name="T3" fmla="*/ 85249 h 278225"/>
                      <a:gd name="T4" fmla="*/ 0 w 336422"/>
                      <a:gd name="T5" fmla="*/ 263081 h 278225"/>
                      <a:gd name="T6" fmla="*/ 12097 w 336422"/>
                      <a:gd name="T7" fmla="*/ 278225 h 278225"/>
                      <a:gd name="T8" fmla="*/ 230886 w 336422"/>
                      <a:gd name="T9" fmla="*/ 122492 h 278225"/>
                      <a:gd name="T10" fmla="*/ 230695 w 336422"/>
                      <a:gd name="T11" fmla="*/ 115919 h 278225"/>
                      <a:gd name="T12" fmla="*/ 235744 w 336422"/>
                      <a:gd name="T13" fmla="*/ 110585 h 278225"/>
                      <a:gd name="T14" fmla="*/ 336423 w 336422"/>
                      <a:gd name="T15" fmla="*/ 45149 h 278225"/>
                      <a:gd name="T16" fmla="*/ 300609 w 336422"/>
                      <a:gd name="T17" fmla="*/ 0 h 278225"/>
                      <a:gd name="T18" fmla="*/ 214027 w 336422"/>
                      <a:gd name="T19" fmla="*/ 83249 h 278225"/>
                      <a:gd name="T20" fmla="*/ 207550 w 336422"/>
                      <a:gd name="T21" fmla="*/ 86963 h 278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6422" h="278225" extrusionOk="0">
                        <a:moveTo>
                          <a:pt x="207550" y="86963"/>
                        </a:moveTo>
                        <a:cubicBezTo>
                          <a:pt x="203644" y="87725"/>
                          <a:pt x="201263" y="85249"/>
                          <a:pt x="201263" y="85249"/>
                        </a:cubicBezTo>
                        <a:lnTo>
                          <a:pt x="0" y="263081"/>
                        </a:lnTo>
                        <a:lnTo>
                          <a:pt x="12097" y="278225"/>
                        </a:lnTo>
                        <a:lnTo>
                          <a:pt x="230886" y="122492"/>
                        </a:lnTo>
                        <a:cubicBezTo>
                          <a:pt x="230886" y="122492"/>
                          <a:pt x="229076" y="119634"/>
                          <a:pt x="230695" y="115919"/>
                        </a:cubicBezTo>
                        <a:cubicBezTo>
                          <a:pt x="231934" y="112967"/>
                          <a:pt x="235744" y="110585"/>
                          <a:pt x="235744" y="110585"/>
                        </a:cubicBezTo>
                        <a:lnTo>
                          <a:pt x="336423" y="45149"/>
                        </a:lnTo>
                        <a:lnTo>
                          <a:pt x="300609" y="0"/>
                        </a:lnTo>
                        <a:lnTo>
                          <a:pt x="214027" y="83249"/>
                        </a:lnTo>
                        <a:cubicBezTo>
                          <a:pt x="213931" y="83249"/>
                          <a:pt x="210788" y="86392"/>
                          <a:pt x="207550" y="86963"/>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grpSp>
          <p:sp>
            <p:nvSpPr>
              <p:cNvPr id="57501" name="Google Shape;891;p19">
                <a:extLst>
                  <a:ext uri="{FF2B5EF4-FFF2-40B4-BE49-F238E27FC236}">
                    <a16:creationId xmlns:a16="http://schemas.microsoft.com/office/drawing/2014/main" id="{522C4FA9-81C1-909D-816F-BCC6D779643E}"/>
                  </a:ext>
                </a:extLst>
              </p:cNvPr>
              <p:cNvSpPr>
                <a:spLocks/>
              </p:cNvSpPr>
              <p:nvPr/>
            </p:nvSpPr>
            <p:spPr bwMode="auto">
              <a:xfrm>
                <a:off x="5863842" y="3198458"/>
                <a:ext cx="457614" cy="457586"/>
              </a:xfrm>
              <a:custGeom>
                <a:avLst/>
                <a:gdLst>
                  <a:gd name="T0" fmla="*/ 412592 w 457614"/>
                  <a:gd name="T1" fmla="*/ 365035 h 457586"/>
                  <a:gd name="T2" fmla="*/ 92552 w 457614"/>
                  <a:gd name="T3" fmla="*/ 412564 h 457586"/>
                  <a:gd name="T4" fmla="*/ 45022 w 457614"/>
                  <a:gd name="T5" fmla="*/ 92524 h 457586"/>
                  <a:gd name="T6" fmla="*/ 365063 w 457614"/>
                  <a:gd name="T7" fmla="*/ 44995 h 457586"/>
                  <a:gd name="T8" fmla="*/ 412592 w 457614"/>
                  <a:gd name="T9" fmla="*/ 365035 h 4575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7614" h="457586" extrusionOk="0">
                    <a:moveTo>
                      <a:pt x="412592" y="365035"/>
                    </a:moveTo>
                    <a:cubicBezTo>
                      <a:pt x="337345" y="466571"/>
                      <a:pt x="193993" y="487812"/>
                      <a:pt x="92552" y="412564"/>
                    </a:cubicBezTo>
                    <a:cubicBezTo>
                      <a:pt x="-8984" y="337317"/>
                      <a:pt x="-30225" y="193966"/>
                      <a:pt x="45022" y="92524"/>
                    </a:cubicBezTo>
                    <a:cubicBezTo>
                      <a:pt x="120270" y="-8917"/>
                      <a:pt x="263621" y="-30253"/>
                      <a:pt x="365063" y="44995"/>
                    </a:cubicBezTo>
                    <a:cubicBezTo>
                      <a:pt x="466599" y="120242"/>
                      <a:pt x="487840" y="263593"/>
                      <a:pt x="412592" y="365035"/>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2" name="Google Shape;892;p19">
                <a:extLst>
                  <a:ext uri="{FF2B5EF4-FFF2-40B4-BE49-F238E27FC236}">
                    <a16:creationId xmlns:a16="http://schemas.microsoft.com/office/drawing/2014/main" id="{370226FA-E059-0170-C177-05617E54ECCD}"/>
                  </a:ext>
                </a:extLst>
              </p:cNvPr>
              <p:cNvSpPr>
                <a:spLocks/>
              </p:cNvSpPr>
              <p:nvPr/>
            </p:nvSpPr>
            <p:spPr bwMode="auto">
              <a:xfrm>
                <a:off x="5907219" y="3241848"/>
                <a:ext cx="370860" cy="370847"/>
              </a:xfrm>
              <a:custGeom>
                <a:avLst/>
                <a:gdLst>
                  <a:gd name="T0" fmla="*/ 334354 w 370860"/>
                  <a:gd name="T1" fmla="*/ 295832 h 370847"/>
                  <a:gd name="T2" fmla="*/ 74988 w 370860"/>
                  <a:gd name="T3" fmla="*/ 334313 h 370847"/>
                  <a:gd name="T4" fmla="*/ 36507 w 370860"/>
                  <a:gd name="T5" fmla="*/ 74947 h 370847"/>
                  <a:gd name="T6" fmla="*/ 295873 w 370860"/>
                  <a:gd name="T7" fmla="*/ 36466 h 370847"/>
                  <a:gd name="T8" fmla="*/ 334354 w 370860"/>
                  <a:gd name="T9" fmla="*/ 295832 h 3708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0860" h="370847" extrusionOk="0">
                    <a:moveTo>
                      <a:pt x="334354" y="295832"/>
                    </a:moveTo>
                    <a:cubicBezTo>
                      <a:pt x="273394" y="378128"/>
                      <a:pt x="157284" y="395368"/>
                      <a:pt x="74988" y="334313"/>
                    </a:cubicBezTo>
                    <a:cubicBezTo>
                      <a:pt x="-7213" y="273353"/>
                      <a:pt x="-24548" y="157243"/>
                      <a:pt x="36507" y="74947"/>
                    </a:cubicBezTo>
                    <a:cubicBezTo>
                      <a:pt x="97467" y="-7254"/>
                      <a:pt x="213577" y="-24494"/>
                      <a:pt x="295873" y="36466"/>
                    </a:cubicBezTo>
                    <a:cubicBezTo>
                      <a:pt x="378074" y="97521"/>
                      <a:pt x="395409" y="213631"/>
                      <a:pt x="334354" y="295832"/>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3" name="Google Shape;893;p19">
                <a:extLst>
                  <a:ext uri="{FF2B5EF4-FFF2-40B4-BE49-F238E27FC236}">
                    <a16:creationId xmlns:a16="http://schemas.microsoft.com/office/drawing/2014/main" id="{96348A1C-8EEF-C206-5859-CBE6C149FFC8}"/>
                  </a:ext>
                </a:extLst>
              </p:cNvPr>
              <p:cNvSpPr>
                <a:spLocks/>
              </p:cNvSpPr>
              <p:nvPr/>
            </p:nvSpPr>
            <p:spPr bwMode="auto">
              <a:xfrm>
                <a:off x="5977584" y="3312131"/>
                <a:ext cx="230220" cy="230308"/>
              </a:xfrm>
              <a:custGeom>
                <a:avLst/>
                <a:gdLst>
                  <a:gd name="T0" fmla="*/ 207601 w 230220"/>
                  <a:gd name="T1" fmla="*/ 183734 h 230308"/>
                  <a:gd name="T2" fmla="*/ 46533 w 230220"/>
                  <a:gd name="T3" fmla="*/ 207642 h 230308"/>
                  <a:gd name="T4" fmla="*/ 22626 w 230220"/>
                  <a:gd name="T5" fmla="*/ 46574 h 230308"/>
                  <a:gd name="T6" fmla="*/ 183598 w 230220"/>
                  <a:gd name="T7" fmla="*/ 22667 h 230308"/>
                  <a:gd name="T8" fmla="*/ 207601 w 230220"/>
                  <a:gd name="T9" fmla="*/ 183734 h 2303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0220" h="230308" extrusionOk="0">
                    <a:moveTo>
                      <a:pt x="207601" y="183734"/>
                    </a:moveTo>
                    <a:cubicBezTo>
                      <a:pt x="169692" y="234788"/>
                      <a:pt x="97587" y="245552"/>
                      <a:pt x="46533" y="207642"/>
                    </a:cubicBezTo>
                    <a:cubicBezTo>
                      <a:pt x="-4521" y="169733"/>
                      <a:pt x="-15189" y="97628"/>
                      <a:pt x="22626" y="46574"/>
                    </a:cubicBezTo>
                    <a:cubicBezTo>
                      <a:pt x="60440" y="-4480"/>
                      <a:pt x="132544" y="-15243"/>
                      <a:pt x="183598" y="22667"/>
                    </a:cubicBezTo>
                    <a:cubicBezTo>
                      <a:pt x="234747" y="60481"/>
                      <a:pt x="245415" y="132680"/>
                      <a:pt x="207601" y="183734"/>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4" name="Google Shape;894;p19">
                <a:extLst>
                  <a:ext uri="{FF2B5EF4-FFF2-40B4-BE49-F238E27FC236}">
                    <a16:creationId xmlns:a16="http://schemas.microsoft.com/office/drawing/2014/main" id="{E11875F2-4835-5A50-6762-4487E5B9EF0A}"/>
                  </a:ext>
                </a:extLst>
              </p:cNvPr>
              <p:cNvSpPr>
                <a:spLocks/>
              </p:cNvSpPr>
              <p:nvPr/>
            </p:nvSpPr>
            <p:spPr bwMode="auto">
              <a:xfrm>
                <a:off x="5465747" y="2800335"/>
                <a:ext cx="1253866" cy="1253894"/>
              </a:xfrm>
              <a:custGeom>
                <a:avLst/>
                <a:gdLst>
                  <a:gd name="T0" fmla="*/ 1000235 w 1253866"/>
                  <a:gd name="T1" fmla="*/ 123363 h 1253894"/>
                  <a:gd name="T2" fmla="*/ 123363 w 1253866"/>
                  <a:gd name="T3" fmla="*/ 253570 h 1253894"/>
                  <a:gd name="T4" fmla="*/ 253570 w 1253866"/>
                  <a:gd name="T5" fmla="*/ 1130537 h 1253894"/>
                  <a:gd name="T6" fmla="*/ 1130537 w 1253866"/>
                  <a:gd name="T7" fmla="*/ 1000235 h 1253894"/>
                  <a:gd name="T8" fmla="*/ 1000235 w 1253866"/>
                  <a:gd name="T9" fmla="*/ 123363 h 1253894"/>
                  <a:gd name="T10" fmla="*/ 303957 w 1253866"/>
                  <a:gd name="T11" fmla="*/ 1062529 h 1253894"/>
                  <a:gd name="T12" fmla="*/ 191372 w 1253866"/>
                  <a:gd name="T13" fmla="*/ 303957 h 1253894"/>
                  <a:gd name="T14" fmla="*/ 949848 w 1253866"/>
                  <a:gd name="T15" fmla="*/ 191372 h 1253894"/>
                  <a:gd name="T16" fmla="*/ 1062529 w 1253866"/>
                  <a:gd name="T17" fmla="*/ 949848 h 1253894"/>
                  <a:gd name="T18" fmla="*/ 303957 w 1253866"/>
                  <a:gd name="T19" fmla="*/ 1062529 h 12538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53866" h="1253894" extrusionOk="0">
                    <a:moveTo>
                      <a:pt x="1000235" y="123363"/>
                    </a:moveTo>
                    <a:cubicBezTo>
                      <a:pt x="722200" y="-82853"/>
                      <a:pt x="329580" y="-24560"/>
                      <a:pt x="123363" y="253570"/>
                    </a:cubicBezTo>
                    <a:cubicBezTo>
                      <a:pt x="-82853" y="531700"/>
                      <a:pt x="-24560" y="924321"/>
                      <a:pt x="253570" y="1130537"/>
                    </a:cubicBezTo>
                    <a:cubicBezTo>
                      <a:pt x="531700" y="1336753"/>
                      <a:pt x="924321" y="1278460"/>
                      <a:pt x="1130537" y="1000235"/>
                    </a:cubicBezTo>
                    <a:cubicBezTo>
                      <a:pt x="1336753" y="722200"/>
                      <a:pt x="1278365" y="329580"/>
                      <a:pt x="1000235" y="123363"/>
                    </a:cubicBezTo>
                    <a:close/>
                    <a:moveTo>
                      <a:pt x="303957" y="1062529"/>
                    </a:moveTo>
                    <a:cubicBezTo>
                      <a:pt x="63451" y="884125"/>
                      <a:pt x="12969" y="544559"/>
                      <a:pt x="191372" y="303957"/>
                    </a:cubicBezTo>
                    <a:cubicBezTo>
                      <a:pt x="369680" y="63356"/>
                      <a:pt x="709342" y="12969"/>
                      <a:pt x="949848" y="191372"/>
                    </a:cubicBezTo>
                    <a:cubicBezTo>
                      <a:pt x="1190449" y="369775"/>
                      <a:pt x="1240837" y="709342"/>
                      <a:pt x="1062529" y="949848"/>
                    </a:cubicBezTo>
                    <a:cubicBezTo>
                      <a:pt x="884125" y="1190449"/>
                      <a:pt x="544559" y="1240837"/>
                      <a:pt x="303957" y="1062529"/>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nvGrpSpPr>
              <p:cNvPr id="57505" name="Google Shape;895;p19">
                <a:extLst>
                  <a:ext uri="{FF2B5EF4-FFF2-40B4-BE49-F238E27FC236}">
                    <a16:creationId xmlns:a16="http://schemas.microsoft.com/office/drawing/2014/main" id="{B8024F38-6DAF-F57E-5A96-6480FC9E2778}"/>
                  </a:ext>
                </a:extLst>
              </p:cNvPr>
              <p:cNvGrpSpPr>
                <a:grpSpLocks/>
              </p:cNvGrpSpPr>
              <p:nvPr/>
            </p:nvGrpSpPr>
            <p:grpSpPr bwMode="auto">
              <a:xfrm>
                <a:off x="5495097" y="2829686"/>
                <a:ext cx="1195104" cy="1195203"/>
                <a:chOff x="5495097" y="2829686"/>
                <a:chExt cx="1195104" cy="1195203"/>
              </a:xfrm>
            </p:grpSpPr>
            <p:sp>
              <p:nvSpPr>
                <p:cNvPr id="57507" name="Google Shape;896;p19">
                  <a:extLst>
                    <a:ext uri="{FF2B5EF4-FFF2-40B4-BE49-F238E27FC236}">
                      <a16:creationId xmlns:a16="http://schemas.microsoft.com/office/drawing/2014/main" id="{99D2A654-A644-F837-F041-636D95798792}"/>
                    </a:ext>
                  </a:extLst>
                </p:cNvPr>
                <p:cNvSpPr>
                  <a:spLocks/>
                </p:cNvSpPr>
                <p:nvPr/>
              </p:nvSpPr>
              <p:spPr bwMode="auto">
                <a:xfrm>
                  <a:off x="5495097" y="2829686"/>
                  <a:ext cx="1195104" cy="1195203"/>
                </a:xfrm>
                <a:custGeom>
                  <a:avLst/>
                  <a:gdLst>
                    <a:gd name="T0" fmla="*/ 226410 w 1195104"/>
                    <a:gd name="T1" fmla="*/ 1034225 h 1195203"/>
                    <a:gd name="T2" fmla="*/ 301944 w 1195104"/>
                    <a:gd name="T3" fmla="*/ 1103090 h 1195203"/>
                    <a:gd name="T4" fmla="*/ 199455 w 1195104"/>
                    <a:gd name="T5" fmla="*/ 1009936 h 1195203"/>
                    <a:gd name="T6" fmla="*/ 155164 w 1195104"/>
                    <a:gd name="T7" fmla="*/ 999649 h 1195203"/>
                    <a:gd name="T8" fmla="*/ 146972 w 1195104"/>
                    <a:gd name="T9" fmla="*/ 971931 h 1195203"/>
                    <a:gd name="T10" fmla="*/ 430246 w 1195104"/>
                    <a:gd name="T11" fmla="*/ 1158716 h 1195203"/>
                    <a:gd name="T12" fmla="*/ 442723 w 1195104"/>
                    <a:gd name="T13" fmla="*/ 1162526 h 1195203"/>
                    <a:gd name="T14" fmla="*/ 101823 w 1195104"/>
                    <a:gd name="T15" fmla="*/ 909447 h 1195203"/>
                    <a:gd name="T16" fmla="*/ 65438 w 1195104"/>
                    <a:gd name="T17" fmla="*/ 870204 h 1195203"/>
                    <a:gd name="T18" fmla="*/ 522448 w 1195104"/>
                    <a:gd name="T19" fmla="*/ 1189006 h 1195203"/>
                    <a:gd name="T20" fmla="*/ 568644 w 1195104"/>
                    <a:gd name="T21" fmla="*/ 1194721 h 1195203"/>
                    <a:gd name="T22" fmla="*/ 605982 w 1195104"/>
                    <a:gd name="T23" fmla="*/ 1170623 h 1195203"/>
                    <a:gd name="T24" fmla="*/ 27528 w 1195104"/>
                    <a:gd name="T25" fmla="*/ 768953 h 1195203"/>
                    <a:gd name="T26" fmla="*/ 13336 w 1195104"/>
                    <a:gd name="T27" fmla="*/ 723138 h 1195203"/>
                    <a:gd name="T28" fmla="*/ 11336 w 1195104"/>
                    <a:gd name="T29" fmla="*/ 694182 h 1195203"/>
                    <a:gd name="T30" fmla="*/ 733426 w 1195104"/>
                    <a:gd name="T31" fmla="*/ 1167194 h 1195203"/>
                    <a:gd name="T32" fmla="*/ 745523 w 1195104"/>
                    <a:gd name="T33" fmla="*/ 1164146 h 1195203"/>
                    <a:gd name="T34" fmla="*/ 12574 w 1195104"/>
                    <a:gd name="T35" fmla="*/ 619697 h 1195203"/>
                    <a:gd name="T36" fmla="*/ 573 w 1195104"/>
                    <a:gd name="T37" fmla="*/ 567881 h 1195203"/>
                    <a:gd name="T38" fmla="*/ 822104 w 1195104"/>
                    <a:gd name="T39" fmla="*/ 1145000 h 1195203"/>
                    <a:gd name="T40" fmla="*/ 870967 w 1195104"/>
                    <a:gd name="T41" fmla="*/ 1129189 h 1195203"/>
                    <a:gd name="T42" fmla="*/ 891732 w 1195104"/>
                    <a:gd name="T43" fmla="*/ 1089565 h 1195203"/>
                    <a:gd name="T44" fmla="*/ 922688 w 1195104"/>
                    <a:gd name="T45" fmla="*/ 1089470 h 1195203"/>
                    <a:gd name="T46" fmla="*/ 51912 w 1195104"/>
                    <a:gd name="T47" fmla="*/ 422148 h 1195203"/>
                    <a:gd name="T48" fmla="*/ 45245 w 1195104"/>
                    <a:gd name="T49" fmla="*/ 392621 h 1195203"/>
                    <a:gd name="T50" fmla="*/ 999079 w 1195104"/>
                    <a:gd name="T51" fmla="*/ 1040416 h 1195203"/>
                    <a:gd name="T52" fmla="*/ 1008794 w 1195104"/>
                    <a:gd name="T53" fmla="*/ 996791 h 1195203"/>
                    <a:gd name="T54" fmla="*/ 97537 w 1195104"/>
                    <a:gd name="T55" fmla="*/ 291275 h 1195203"/>
                    <a:gd name="T56" fmla="*/ 1053466 w 1195104"/>
                    <a:gd name="T57" fmla="*/ 984123 h 1195203"/>
                    <a:gd name="T58" fmla="*/ 1078136 w 1195104"/>
                    <a:gd name="T59" fmla="*/ 952976 h 1195203"/>
                    <a:gd name="T60" fmla="*/ 1079755 w 1195104"/>
                    <a:gd name="T61" fmla="*/ 907256 h 1195203"/>
                    <a:gd name="T62" fmla="*/ 185453 w 1195104"/>
                    <a:gd name="T63" fmla="*/ 199358 h 1195203"/>
                    <a:gd name="T64" fmla="*/ 195740 w 1195104"/>
                    <a:gd name="T65" fmla="*/ 154972 h 1195203"/>
                    <a:gd name="T66" fmla="*/ 225172 w 1195104"/>
                    <a:gd name="T67" fmla="*/ 149733 h 1195203"/>
                    <a:gd name="T68" fmla="*/ 1153955 w 1195104"/>
                    <a:gd name="T69" fmla="*/ 816102 h 1195203"/>
                    <a:gd name="T70" fmla="*/ 1143668 w 1195104"/>
                    <a:gd name="T71" fmla="*/ 771716 h 1195203"/>
                    <a:gd name="T72" fmla="*/ 302801 w 1195104"/>
                    <a:gd name="T73" fmla="*/ 106013 h 1195203"/>
                    <a:gd name="T74" fmla="*/ 324613 w 1195104"/>
                    <a:gd name="T75" fmla="*/ 65723 h 1195203"/>
                    <a:gd name="T76" fmla="*/ 356332 w 1195104"/>
                    <a:gd name="T77" fmla="*/ 70485 h 1195203"/>
                    <a:gd name="T78" fmla="*/ 1191579 w 1195104"/>
                    <a:gd name="T79" fmla="*/ 664750 h 1195203"/>
                    <a:gd name="T80" fmla="*/ 1170052 w 1195104"/>
                    <a:gd name="T81" fmla="*/ 624935 h 1195203"/>
                    <a:gd name="T82" fmla="*/ 439961 w 1195104"/>
                    <a:gd name="T83" fmla="*/ 46768 h 1195203"/>
                    <a:gd name="T84" fmla="*/ 471203 w 1195104"/>
                    <a:gd name="T85" fmla="*/ 13430 h 1195203"/>
                    <a:gd name="T86" fmla="*/ 503398 w 1195104"/>
                    <a:gd name="T87" fmla="*/ 28385 h 1195203"/>
                    <a:gd name="T88" fmla="*/ 1188721 w 1195104"/>
                    <a:gd name="T89" fmla="*/ 509016 h 1195203"/>
                    <a:gd name="T90" fmla="*/ 1157479 w 1195104"/>
                    <a:gd name="T91" fmla="*/ 475679 h 1195203"/>
                    <a:gd name="T92" fmla="*/ 579979 w 1195104"/>
                    <a:gd name="T93" fmla="*/ 22003 h 1195203"/>
                    <a:gd name="T94" fmla="*/ 626746 w 1195104"/>
                    <a:gd name="T95" fmla="*/ 572 h 1195203"/>
                    <a:gd name="T96" fmla="*/ 650749 w 1195104"/>
                    <a:gd name="T97" fmla="*/ 14192 h 1195203"/>
                    <a:gd name="T98" fmla="*/ 1139096 w 1195104"/>
                    <a:gd name="T99" fmla="*/ 375476 h 1195203"/>
                    <a:gd name="T100" fmla="*/ 1112045 w 1195104"/>
                    <a:gd name="T101" fmla="*/ 317945 h 1195203"/>
                    <a:gd name="T102" fmla="*/ 730854 w 1195104"/>
                    <a:gd name="T103" fmla="*/ 39053 h 1195203"/>
                    <a:gd name="T104" fmla="*/ 787814 w 1195104"/>
                    <a:gd name="T105" fmla="*/ 43720 h 1195203"/>
                    <a:gd name="T106" fmla="*/ 815532 w 1195104"/>
                    <a:gd name="T107" fmla="*/ 40862 h 1195203"/>
                    <a:gd name="T108" fmla="*/ 839916 w 1195104"/>
                    <a:gd name="T109" fmla="*/ 77915 h 1195203"/>
                    <a:gd name="T110" fmla="*/ 1039083 w 1195104"/>
                    <a:gd name="T111" fmla="*/ 212884 h 1195203"/>
                    <a:gd name="T112" fmla="*/ 994697 w 1195104"/>
                    <a:gd name="T113" fmla="*/ 184309 h 1195203"/>
                    <a:gd name="T114" fmla="*/ 906686 w 1195104"/>
                    <a:gd name="T115" fmla="*/ 114967 h 1195203"/>
                    <a:gd name="T116" fmla="*/ 953073 w 1195104"/>
                    <a:gd name="T117" fmla="*/ 117158 h 11952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95104" h="1195203" extrusionOk="0">
                      <a:moveTo>
                        <a:pt x="242127" y="1078040"/>
                      </a:moveTo>
                      <a:lnTo>
                        <a:pt x="241651" y="1077659"/>
                      </a:lnTo>
                      <a:cubicBezTo>
                        <a:pt x="236221" y="1073658"/>
                        <a:pt x="234792" y="1065752"/>
                        <a:pt x="238793" y="1060323"/>
                      </a:cubicBezTo>
                      <a:cubicBezTo>
                        <a:pt x="242889" y="1054799"/>
                        <a:pt x="250318" y="1053560"/>
                        <a:pt x="255747" y="1057561"/>
                      </a:cubicBezTo>
                      <a:lnTo>
                        <a:pt x="256700" y="1058323"/>
                      </a:lnTo>
                      <a:cubicBezTo>
                        <a:pt x="262129" y="1062323"/>
                        <a:pt x="263272" y="1070039"/>
                        <a:pt x="259272" y="1075563"/>
                      </a:cubicBezTo>
                      <a:cubicBezTo>
                        <a:pt x="255271" y="1080992"/>
                        <a:pt x="247556" y="1082135"/>
                        <a:pt x="242127" y="1078040"/>
                      </a:cubicBezTo>
                      <a:close/>
                      <a:moveTo>
                        <a:pt x="212028" y="1054322"/>
                      </a:moveTo>
                      <a:cubicBezTo>
                        <a:pt x="211837" y="1054227"/>
                        <a:pt x="211647" y="1054037"/>
                        <a:pt x="211456" y="1053846"/>
                      </a:cubicBezTo>
                      <a:lnTo>
                        <a:pt x="210408" y="1052894"/>
                      </a:lnTo>
                      <a:cubicBezTo>
                        <a:pt x="205265" y="1048512"/>
                        <a:pt x="204693" y="1040701"/>
                        <a:pt x="209075" y="1035558"/>
                      </a:cubicBezTo>
                      <a:cubicBezTo>
                        <a:pt x="213456" y="1030415"/>
                        <a:pt x="221077" y="1029748"/>
                        <a:pt x="226410" y="1034225"/>
                      </a:cubicBezTo>
                      <a:cubicBezTo>
                        <a:pt x="231649" y="1038606"/>
                        <a:pt x="232697" y="1046702"/>
                        <a:pt x="228411" y="1051941"/>
                      </a:cubicBezTo>
                      <a:cubicBezTo>
                        <a:pt x="224220" y="1056989"/>
                        <a:pt x="217266" y="1058132"/>
                        <a:pt x="212028" y="1054322"/>
                      </a:cubicBezTo>
                      <a:close/>
                      <a:moveTo>
                        <a:pt x="272512" y="1099185"/>
                      </a:moveTo>
                      <a:cubicBezTo>
                        <a:pt x="267368" y="1095375"/>
                        <a:pt x="266035" y="1088136"/>
                        <a:pt x="269464" y="1082707"/>
                      </a:cubicBezTo>
                      <a:cubicBezTo>
                        <a:pt x="273083" y="1076992"/>
                        <a:pt x="280703" y="1075277"/>
                        <a:pt x="286418" y="1078897"/>
                      </a:cubicBezTo>
                      <a:lnTo>
                        <a:pt x="287561" y="1079659"/>
                      </a:lnTo>
                      <a:cubicBezTo>
                        <a:pt x="293371" y="1083374"/>
                        <a:pt x="294895" y="1090994"/>
                        <a:pt x="291085" y="1096709"/>
                      </a:cubicBezTo>
                      <a:cubicBezTo>
                        <a:pt x="287371" y="1102328"/>
                        <a:pt x="279751" y="1103948"/>
                        <a:pt x="274036" y="1100233"/>
                      </a:cubicBezTo>
                      <a:lnTo>
                        <a:pt x="273083" y="1099661"/>
                      </a:lnTo>
                      <a:cubicBezTo>
                        <a:pt x="273083" y="1099471"/>
                        <a:pt x="272797" y="1099376"/>
                        <a:pt x="272512" y="1099185"/>
                      </a:cubicBezTo>
                      <a:close/>
                      <a:moveTo>
                        <a:pt x="305373" y="1118902"/>
                      </a:moveTo>
                      <a:cubicBezTo>
                        <a:pt x="300515" y="1115282"/>
                        <a:pt x="298896" y="1108520"/>
                        <a:pt x="301944" y="1103090"/>
                      </a:cubicBezTo>
                      <a:cubicBezTo>
                        <a:pt x="305278" y="1097090"/>
                        <a:pt x="312707" y="1094994"/>
                        <a:pt x="318708" y="1098328"/>
                      </a:cubicBezTo>
                      <a:lnTo>
                        <a:pt x="319756" y="1098899"/>
                      </a:lnTo>
                      <a:cubicBezTo>
                        <a:pt x="325756" y="1102138"/>
                        <a:pt x="327852" y="1109663"/>
                        <a:pt x="324518" y="1115663"/>
                      </a:cubicBezTo>
                      <a:cubicBezTo>
                        <a:pt x="321184" y="1121664"/>
                        <a:pt x="313755" y="1123760"/>
                        <a:pt x="307754" y="1120426"/>
                      </a:cubicBezTo>
                      <a:lnTo>
                        <a:pt x="306706" y="1119759"/>
                      </a:lnTo>
                      <a:cubicBezTo>
                        <a:pt x="306230" y="1119473"/>
                        <a:pt x="305754" y="1119283"/>
                        <a:pt x="305373" y="1118902"/>
                      </a:cubicBezTo>
                      <a:close/>
                      <a:moveTo>
                        <a:pt x="183643" y="1028700"/>
                      </a:moveTo>
                      <a:cubicBezTo>
                        <a:pt x="183262" y="1028414"/>
                        <a:pt x="182786" y="1028033"/>
                        <a:pt x="182405" y="1027652"/>
                      </a:cubicBezTo>
                      <a:lnTo>
                        <a:pt x="181548" y="1026795"/>
                      </a:lnTo>
                      <a:cubicBezTo>
                        <a:pt x="176690" y="1022033"/>
                        <a:pt x="176595" y="1014317"/>
                        <a:pt x="181262" y="1009364"/>
                      </a:cubicBezTo>
                      <a:cubicBezTo>
                        <a:pt x="185929" y="1004507"/>
                        <a:pt x="193740" y="1004221"/>
                        <a:pt x="198597" y="1009079"/>
                      </a:cubicBezTo>
                      <a:lnTo>
                        <a:pt x="199455" y="1009936"/>
                      </a:lnTo>
                      <a:cubicBezTo>
                        <a:pt x="204312" y="1014698"/>
                        <a:pt x="204503" y="1022414"/>
                        <a:pt x="199740" y="1027367"/>
                      </a:cubicBezTo>
                      <a:cubicBezTo>
                        <a:pt x="195454" y="1031843"/>
                        <a:pt x="188501" y="1032320"/>
                        <a:pt x="183643" y="1028700"/>
                      </a:cubicBezTo>
                      <a:close/>
                      <a:moveTo>
                        <a:pt x="339377" y="1136428"/>
                      </a:moveTo>
                      <a:cubicBezTo>
                        <a:pt x="334805" y="1133094"/>
                        <a:pt x="333090" y="1126808"/>
                        <a:pt x="335567" y="1121474"/>
                      </a:cubicBezTo>
                      <a:cubicBezTo>
                        <a:pt x="338425" y="1115282"/>
                        <a:pt x="345663" y="1112615"/>
                        <a:pt x="351855" y="1115473"/>
                      </a:cubicBezTo>
                      <a:lnTo>
                        <a:pt x="353188" y="1116140"/>
                      </a:lnTo>
                      <a:cubicBezTo>
                        <a:pt x="359284" y="1119092"/>
                        <a:pt x="361856" y="1126427"/>
                        <a:pt x="358903" y="1132523"/>
                      </a:cubicBezTo>
                      <a:cubicBezTo>
                        <a:pt x="355951" y="1138619"/>
                        <a:pt x="348616" y="1141190"/>
                        <a:pt x="342425" y="1138238"/>
                      </a:cubicBezTo>
                      <a:lnTo>
                        <a:pt x="341568" y="1137761"/>
                      </a:lnTo>
                      <a:cubicBezTo>
                        <a:pt x="340806" y="1137380"/>
                        <a:pt x="340044" y="1136999"/>
                        <a:pt x="339377" y="1136428"/>
                      </a:cubicBezTo>
                      <a:close/>
                      <a:moveTo>
                        <a:pt x="156878" y="1001173"/>
                      </a:moveTo>
                      <a:cubicBezTo>
                        <a:pt x="156306" y="1000697"/>
                        <a:pt x="155735" y="1000220"/>
                        <a:pt x="155164" y="999649"/>
                      </a:cubicBezTo>
                      <a:lnTo>
                        <a:pt x="154211" y="998601"/>
                      </a:lnTo>
                      <a:cubicBezTo>
                        <a:pt x="149734" y="993553"/>
                        <a:pt x="150210" y="985742"/>
                        <a:pt x="155259" y="981266"/>
                      </a:cubicBezTo>
                      <a:cubicBezTo>
                        <a:pt x="160307" y="976789"/>
                        <a:pt x="168117" y="977265"/>
                        <a:pt x="172594" y="982313"/>
                      </a:cubicBezTo>
                      <a:cubicBezTo>
                        <a:pt x="177166" y="987362"/>
                        <a:pt x="177261" y="995458"/>
                        <a:pt x="172213" y="1000030"/>
                      </a:cubicBezTo>
                      <a:cubicBezTo>
                        <a:pt x="167832" y="1004126"/>
                        <a:pt x="161545" y="1004602"/>
                        <a:pt x="156878" y="1001173"/>
                      </a:cubicBezTo>
                      <a:close/>
                      <a:moveTo>
                        <a:pt x="132113" y="972122"/>
                      </a:moveTo>
                      <a:cubicBezTo>
                        <a:pt x="131256" y="971455"/>
                        <a:pt x="130494" y="970693"/>
                        <a:pt x="129732" y="969836"/>
                      </a:cubicBezTo>
                      <a:lnTo>
                        <a:pt x="129065" y="968978"/>
                      </a:lnTo>
                      <a:cubicBezTo>
                        <a:pt x="124779" y="963644"/>
                        <a:pt x="125636" y="955929"/>
                        <a:pt x="130875" y="951738"/>
                      </a:cubicBezTo>
                      <a:cubicBezTo>
                        <a:pt x="136114" y="947452"/>
                        <a:pt x="144019" y="948309"/>
                        <a:pt x="148210" y="953548"/>
                      </a:cubicBezTo>
                      <a:lnTo>
                        <a:pt x="149067" y="954691"/>
                      </a:lnTo>
                      <a:cubicBezTo>
                        <a:pt x="153258" y="960025"/>
                        <a:pt x="152306" y="967740"/>
                        <a:pt x="146972" y="971931"/>
                      </a:cubicBezTo>
                      <a:cubicBezTo>
                        <a:pt x="142590" y="975455"/>
                        <a:pt x="136494" y="975360"/>
                        <a:pt x="132113" y="972122"/>
                      </a:cubicBezTo>
                      <a:close/>
                      <a:moveTo>
                        <a:pt x="374429" y="1151763"/>
                      </a:moveTo>
                      <a:cubicBezTo>
                        <a:pt x="370048" y="1148525"/>
                        <a:pt x="368238" y="1142524"/>
                        <a:pt x="370333" y="1137285"/>
                      </a:cubicBezTo>
                      <a:cubicBezTo>
                        <a:pt x="372905" y="1130999"/>
                        <a:pt x="380049" y="1127951"/>
                        <a:pt x="386335" y="1130522"/>
                      </a:cubicBezTo>
                      <a:cubicBezTo>
                        <a:pt x="392717" y="1132999"/>
                        <a:pt x="396241" y="1140333"/>
                        <a:pt x="393860" y="1146620"/>
                      </a:cubicBezTo>
                      <a:cubicBezTo>
                        <a:pt x="391383" y="1153001"/>
                        <a:pt x="384716" y="1156240"/>
                        <a:pt x="378430" y="1153859"/>
                      </a:cubicBezTo>
                      <a:lnTo>
                        <a:pt x="377191" y="1153287"/>
                      </a:lnTo>
                      <a:cubicBezTo>
                        <a:pt x="376143" y="1152906"/>
                        <a:pt x="375286" y="1152335"/>
                        <a:pt x="374429" y="1151763"/>
                      </a:cubicBezTo>
                      <a:close/>
                      <a:moveTo>
                        <a:pt x="410529" y="1164717"/>
                      </a:moveTo>
                      <a:cubicBezTo>
                        <a:pt x="406433" y="1161669"/>
                        <a:pt x="404528" y="1156145"/>
                        <a:pt x="406147" y="1151001"/>
                      </a:cubicBezTo>
                      <a:cubicBezTo>
                        <a:pt x="408243" y="1144524"/>
                        <a:pt x="415196" y="1141000"/>
                        <a:pt x="421673" y="1143095"/>
                      </a:cubicBezTo>
                      <a:cubicBezTo>
                        <a:pt x="428150" y="1145191"/>
                        <a:pt x="432246" y="1152239"/>
                        <a:pt x="430246" y="1158716"/>
                      </a:cubicBezTo>
                      <a:cubicBezTo>
                        <a:pt x="428245" y="1165193"/>
                        <a:pt x="421863" y="1169003"/>
                        <a:pt x="415386" y="1167003"/>
                      </a:cubicBezTo>
                      <a:lnTo>
                        <a:pt x="414148" y="1166527"/>
                      </a:lnTo>
                      <a:cubicBezTo>
                        <a:pt x="412719" y="1166146"/>
                        <a:pt x="411481" y="1165479"/>
                        <a:pt x="410529" y="1164717"/>
                      </a:cubicBezTo>
                      <a:close/>
                      <a:moveTo>
                        <a:pt x="109158" y="941261"/>
                      </a:moveTo>
                      <a:cubicBezTo>
                        <a:pt x="108205" y="940499"/>
                        <a:pt x="107253" y="939641"/>
                        <a:pt x="106491" y="938498"/>
                      </a:cubicBezTo>
                      <a:lnTo>
                        <a:pt x="105729" y="937451"/>
                      </a:lnTo>
                      <a:cubicBezTo>
                        <a:pt x="101919" y="931831"/>
                        <a:pt x="103347" y="924211"/>
                        <a:pt x="108967" y="920306"/>
                      </a:cubicBezTo>
                      <a:cubicBezTo>
                        <a:pt x="114587" y="916496"/>
                        <a:pt x="122207" y="917829"/>
                        <a:pt x="126017" y="923449"/>
                      </a:cubicBezTo>
                      <a:cubicBezTo>
                        <a:pt x="129922" y="928973"/>
                        <a:pt x="128874" y="937165"/>
                        <a:pt x="123350" y="941070"/>
                      </a:cubicBezTo>
                      <a:cubicBezTo>
                        <a:pt x="118873" y="944213"/>
                        <a:pt x="113253" y="944309"/>
                        <a:pt x="109158" y="941261"/>
                      </a:cubicBezTo>
                      <a:close/>
                      <a:moveTo>
                        <a:pt x="447295" y="1175290"/>
                      </a:moveTo>
                      <a:cubicBezTo>
                        <a:pt x="443390" y="1172432"/>
                        <a:pt x="441485" y="1167479"/>
                        <a:pt x="442723" y="1162526"/>
                      </a:cubicBezTo>
                      <a:cubicBezTo>
                        <a:pt x="444342" y="1155954"/>
                        <a:pt x="451010" y="1151858"/>
                        <a:pt x="457582" y="1153478"/>
                      </a:cubicBezTo>
                      <a:lnTo>
                        <a:pt x="458916" y="1153859"/>
                      </a:lnTo>
                      <a:cubicBezTo>
                        <a:pt x="465488" y="1155478"/>
                        <a:pt x="469488" y="1162241"/>
                        <a:pt x="467774" y="1168813"/>
                      </a:cubicBezTo>
                      <a:cubicBezTo>
                        <a:pt x="466059" y="1175385"/>
                        <a:pt x="459392" y="1179386"/>
                        <a:pt x="452820" y="1177671"/>
                      </a:cubicBezTo>
                      <a:lnTo>
                        <a:pt x="451677" y="1177385"/>
                      </a:lnTo>
                      <a:cubicBezTo>
                        <a:pt x="450058" y="1176909"/>
                        <a:pt x="448533" y="1176242"/>
                        <a:pt x="447295" y="1175290"/>
                      </a:cubicBezTo>
                      <a:close/>
                      <a:moveTo>
                        <a:pt x="88298" y="909066"/>
                      </a:moveTo>
                      <a:cubicBezTo>
                        <a:pt x="87155" y="908209"/>
                        <a:pt x="86107" y="907066"/>
                        <a:pt x="85250" y="905732"/>
                      </a:cubicBezTo>
                      <a:lnTo>
                        <a:pt x="84488" y="904399"/>
                      </a:lnTo>
                      <a:cubicBezTo>
                        <a:pt x="81059" y="898493"/>
                        <a:pt x="83154" y="890969"/>
                        <a:pt x="88965" y="887635"/>
                      </a:cubicBezTo>
                      <a:cubicBezTo>
                        <a:pt x="94870" y="884206"/>
                        <a:pt x="102395" y="886206"/>
                        <a:pt x="105729" y="892207"/>
                      </a:cubicBezTo>
                      <a:cubicBezTo>
                        <a:pt x="109253" y="898017"/>
                        <a:pt x="107729" y="906018"/>
                        <a:pt x="101823" y="909447"/>
                      </a:cubicBezTo>
                      <a:cubicBezTo>
                        <a:pt x="97442" y="912114"/>
                        <a:pt x="92108" y="911924"/>
                        <a:pt x="88298" y="909066"/>
                      </a:cubicBezTo>
                      <a:close/>
                      <a:moveTo>
                        <a:pt x="484633" y="1183386"/>
                      </a:moveTo>
                      <a:cubicBezTo>
                        <a:pt x="481014" y="1180719"/>
                        <a:pt x="479013" y="1176242"/>
                        <a:pt x="479776" y="1171575"/>
                      </a:cubicBezTo>
                      <a:cubicBezTo>
                        <a:pt x="480823" y="1164908"/>
                        <a:pt x="487205" y="1160336"/>
                        <a:pt x="493873" y="1161383"/>
                      </a:cubicBezTo>
                      <a:lnTo>
                        <a:pt x="495397" y="1161574"/>
                      </a:lnTo>
                      <a:cubicBezTo>
                        <a:pt x="502159" y="1162907"/>
                        <a:pt x="506446" y="1169289"/>
                        <a:pt x="505207" y="1175957"/>
                      </a:cubicBezTo>
                      <a:cubicBezTo>
                        <a:pt x="503969" y="1182624"/>
                        <a:pt x="497492" y="1187006"/>
                        <a:pt x="490825" y="1185767"/>
                      </a:cubicBezTo>
                      <a:lnTo>
                        <a:pt x="489967" y="1185577"/>
                      </a:lnTo>
                      <a:cubicBezTo>
                        <a:pt x="487967" y="1185291"/>
                        <a:pt x="486157" y="1184529"/>
                        <a:pt x="484633" y="1183386"/>
                      </a:cubicBezTo>
                      <a:close/>
                      <a:moveTo>
                        <a:pt x="69629" y="875538"/>
                      </a:moveTo>
                      <a:cubicBezTo>
                        <a:pt x="68200" y="874490"/>
                        <a:pt x="67057" y="873157"/>
                        <a:pt x="66200" y="871538"/>
                      </a:cubicBezTo>
                      <a:lnTo>
                        <a:pt x="65438" y="870204"/>
                      </a:lnTo>
                      <a:cubicBezTo>
                        <a:pt x="62485" y="864108"/>
                        <a:pt x="64962" y="856679"/>
                        <a:pt x="71058" y="853726"/>
                      </a:cubicBezTo>
                      <a:cubicBezTo>
                        <a:pt x="77154" y="850678"/>
                        <a:pt x="84583" y="853250"/>
                        <a:pt x="87536" y="859346"/>
                      </a:cubicBezTo>
                      <a:cubicBezTo>
                        <a:pt x="90679" y="865346"/>
                        <a:pt x="88584" y="873252"/>
                        <a:pt x="82488" y="876395"/>
                      </a:cubicBezTo>
                      <a:cubicBezTo>
                        <a:pt x="78297" y="878586"/>
                        <a:pt x="73248" y="878205"/>
                        <a:pt x="69629" y="875538"/>
                      </a:cubicBezTo>
                      <a:close/>
                      <a:moveTo>
                        <a:pt x="522448" y="1189006"/>
                      </a:moveTo>
                      <a:cubicBezTo>
                        <a:pt x="519114" y="1186529"/>
                        <a:pt x="517113" y="1182434"/>
                        <a:pt x="517494" y="1177957"/>
                      </a:cubicBezTo>
                      <a:cubicBezTo>
                        <a:pt x="518161" y="1171194"/>
                        <a:pt x="524162" y="1166241"/>
                        <a:pt x="530925" y="1166908"/>
                      </a:cubicBezTo>
                      <a:lnTo>
                        <a:pt x="532544" y="1167098"/>
                      </a:lnTo>
                      <a:cubicBezTo>
                        <a:pt x="539307" y="1167956"/>
                        <a:pt x="544069" y="1174052"/>
                        <a:pt x="543212" y="1180814"/>
                      </a:cubicBezTo>
                      <a:cubicBezTo>
                        <a:pt x="542450" y="1187482"/>
                        <a:pt x="536259" y="1192340"/>
                        <a:pt x="529496" y="1191482"/>
                      </a:cubicBezTo>
                      <a:lnTo>
                        <a:pt x="528544" y="1191387"/>
                      </a:lnTo>
                      <a:cubicBezTo>
                        <a:pt x="526353" y="1191197"/>
                        <a:pt x="524257" y="1190244"/>
                        <a:pt x="522448" y="1189006"/>
                      </a:cubicBezTo>
                      <a:close/>
                      <a:moveTo>
                        <a:pt x="53246" y="840867"/>
                      </a:moveTo>
                      <a:cubicBezTo>
                        <a:pt x="51722" y="839724"/>
                        <a:pt x="50388" y="838200"/>
                        <a:pt x="49531" y="836200"/>
                      </a:cubicBezTo>
                      <a:lnTo>
                        <a:pt x="48864" y="834771"/>
                      </a:lnTo>
                      <a:cubicBezTo>
                        <a:pt x="46293" y="828485"/>
                        <a:pt x="49341" y="821341"/>
                        <a:pt x="55532" y="818674"/>
                      </a:cubicBezTo>
                      <a:cubicBezTo>
                        <a:pt x="61818" y="816102"/>
                        <a:pt x="68962" y="819055"/>
                        <a:pt x="71534" y="825341"/>
                      </a:cubicBezTo>
                      <a:cubicBezTo>
                        <a:pt x="74296" y="831533"/>
                        <a:pt x="71629" y="839248"/>
                        <a:pt x="65438" y="842010"/>
                      </a:cubicBezTo>
                      <a:cubicBezTo>
                        <a:pt x="61247" y="843915"/>
                        <a:pt x="56580" y="843344"/>
                        <a:pt x="53246" y="840867"/>
                      </a:cubicBezTo>
                      <a:close/>
                      <a:moveTo>
                        <a:pt x="560643" y="1192149"/>
                      </a:moveTo>
                      <a:cubicBezTo>
                        <a:pt x="557404" y="1189768"/>
                        <a:pt x="555404" y="1185863"/>
                        <a:pt x="555690" y="1181576"/>
                      </a:cubicBezTo>
                      <a:cubicBezTo>
                        <a:pt x="556071" y="1174814"/>
                        <a:pt x="561881" y="1169670"/>
                        <a:pt x="568644" y="1170051"/>
                      </a:cubicBezTo>
                      <a:cubicBezTo>
                        <a:pt x="575407" y="1170432"/>
                        <a:pt x="581217" y="1176242"/>
                        <a:pt x="580836" y="1183005"/>
                      </a:cubicBezTo>
                      <a:cubicBezTo>
                        <a:pt x="580455" y="1189768"/>
                        <a:pt x="575407" y="1195006"/>
                        <a:pt x="568644" y="1194721"/>
                      </a:cubicBezTo>
                      <a:cubicBezTo>
                        <a:pt x="568549" y="1194721"/>
                        <a:pt x="567310" y="1194626"/>
                        <a:pt x="567215" y="1194626"/>
                      </a:cubicBezTo>
                      <a:cubicBezTo>
                        <a:pt x="564739" y="1194435"/>
                        <a:pt x="562453" y="1193483"/>
                        <a:pt x="560643" y="1192149"/>
                      </a:cubicBezTo>
                      <a:close/>
                      <a:moveTo>
                        <a:pt x="39054" y="805148"/>
                      </a:moveTo>
                      <a:cubicBezTo>
                        <a:pt x="37339" y="803815"/>
                        <a:pt x="35910" y="802100"/>
                        <a:pt x="35053" y="799814"/>
                      </a:cubicBezTo>
                      <a:lnTo>
                        <a:pt x="34482" y="798290"/>
                      </a:lnTo>
                      <a:cubicBezTo>
                        <a:pt x="32291" y="791909"/>
                        <a:pt x="35815" y="784860"/>
                        <a:pt x="42197" y="782765"/>
                      </a:cubicBezTo>
                      <a:cubicBezTo>
                        <a:pt x="48674" y="780574"/>
                        <a:pt x="55627" y="784098"/>
                        <a:pt x="57818" y="790480"/>
                      </a:cubicBezTo>
                      <a:cubicBezTo>
                        <a:pt x="60199" y="796862"/>
                        <a:pt x="57056" y="804291"/>
                        <a:pt x="50674" y="806672"/>
                      </a:cubicBezTo>
                      <a:cubicBezTo>
                        <a:pt x="46578" y="808196"/>
                        <a:pt x="42292" y="807530"/>
                        <a:pt x="39054" y="805148"/>
                      </a:cubicBezTo>
                      <a:close/>
                      <a:moveTo>
                        <a:pt x="598838" y="1192816"/>
                      </a:moveTo>
                      <a:cubicBezTo>
                        <a:pt x="595885" y="1190625"/>
                        <a:pt x="593885" y="1187101"/>
                        <a:pt x="593885" y="1183005"/>
                      </a:cubicBezTo>
                      <a:cubicBezTo>
                        <a:pt x="593790" y="1176242"/>
                        <a:pt x="599219" y="1170623"/>
                        <a:pt x="605982" y="1170623"/>
                      </a:cubicBezTo>
                      <a:cubicBezTo>
                        <a:pt x="612745" y="1170527"/>
                        <a:pt x="618936" y="1175861"/>
                        <a:pt x="619031" y="1182719"/>
                      </a:cubicBezTo>
                      <a:cubicBezTo>
                        <a:pt x="619221" y="1189482"/>
                        <a:pt x="614459" y="1195006"/>
                        <a:pt x="607696" y="1195197"/>
                      </a:cubicBezTo>
                      <a:cubicBezTo>
                        <a:pt x="607696" y="1195197"/>
                        <a:pt x="606363" y="1195197"/>
                        <a:pt x="606363" y="1195197"/>
                      </a:cubicBezTo>
                      <a:cubicBezTo>
                        <a:pt x="603505" y="1195292"/>
                        <a:pt x="600933" y="1194340"/>
                        <a:pt x="598838" y="1192816"/>
                      </a:cubicBezTo>
                      <a:close/>
                      <a:moveTo>
                        <a:pt x="27528" y="768953"/>
                      </a:moveTo>
                      <a:cubicBezTo>
                        <a:pt x="25433" y="767429"/>
                        <a:pt x="23814" y="765143"/>
                        <a:pt x="22956" y="762381"/>
                      </a:cubicBezTo>
                      <a:lnTo>
                        <a:pt x="22766" y="761524"/>
                      </a:lnTo>
                      <a:cubicBezTo>
                        <a:pt x="20766" y="755047"/>
                        <a:pt x="24385" y="748189"/>
                        <a:pt x="30862" y="746189"/>
                      </a:cubicBezTo>
                      <a:cubicBezTo>
                        <a:pt x="37339" y="744188"/>
                        <a:pt x="44197" y="747808"/>
                        <a:pt x="46293" y="754285"/>
                      </a:cubicBezTo>
                      <a:lnTo>
                        <a:pt x="46769" y="755809"/>
                      </a:lnTo>
                      <a:cubicBezTo>
                        <a:pt x="48579" y="762381"/>
                        <a:pt x="44769" y="769144"/>
                        <a:pt x="38196" y="770954"/>
                      </a:cubicBezTo>
                      <a:cubicBezTo>
                        <a:pt x="34386" y="772001"/>
                        <a:pt x="30481" y="771144"/>
                        <a:pt x="27528" y="768953"/>
                      </a:cubicBezTo>
                      <a:close/>
                      <a:moveTo>
                        <a:pt x="637129" y="1190911"/>
                      </a:moveTo>
                      <a:cubicBezTo>
                        <a:pt x="634462" y="1188911"/>
                        <a:pt x="632556" y="1185767"/>
                        <a:pt x="632175" y="1182243"/>
                      </a:cubicBezTo>
                      <a:cubicBezTo>
                        <a:pt x="631509" y="1175480"/>
                        <a:pt x="636557" y="1169480"/>
                        <a:pt x="643225" y="1168813"/>
                      </a:cubicBezTo>
                      <a:cubicBezTo>
                        <a:pt x="643320" y="1168813"/>
                        <a:pt x="644653" y="1168718"/>
                        <a:pt x="644653" y="1168718"/>
                      </a:cubicBezTo>
                      <a:cubicBezTo>
                        <a:pt x="651416" y="1168146"/>
                        <a:pt x="657321" y="1173194"/>
                        <a:pt x="657893" y="1180052"/>
                      </a:cubicBezTo>
                      <a:cubicBezTo>
                        <a:pt x="658369" y="1186815"/>
                        <a:pt x="653321" y="1192721"/>
                        <a:pt x="646558" y="1193197"/>
                      </a:cubicBezTo>
                      <a:lnTo>
                        <a:pt x="645606" y="1180910"/>
                      </a:lnTo>
                      <a:lnTo>
                        <a:pt x="645606" y="1193292"/>
                      </a:lnTo>
                      <a:cubicBezTo>
                        <a:pt x="642463" y="1193673"/>
                        <a:pt x="639415" y="1192721"/>
                        <a:pt x="637129" y="1190911"/>
                      </a:cubicBezTo>
                      <a:close/>
                      <a:moveTo>
                        <a:pt x="18003" y="731520"/>
                      </a:moveTo>
                      <a:cubicBezTo>
                        <a:pt x="15813" y="729901"/>
                        <a:pt x="14193" y="727520"/>
                        <a:pt x="13622" y="724662"/>
                      </a:cubicBezTo>
                      <a:lnTo>
                        <a:pt x="13336" y="723138"/>
                      </a:lnTo>
                      <a:cubicBezTo>
                        <a:pt x="12098" y="716471"/>
                        <a:pt x="16384" y="709994"/>
                        <a:pt x="23052" y="708755"/>
                      </a:cubicBezTo>
                      <a:cubicBezTo>
                        <a:pt x="29719" y="707517"/>
                        <a:pt x="36196" y="711899"/>
                        <a:pt x="37434" y="718566"/>
                      </a:cubicBezTo>
                      <a:cubicBezTo>
                        <a:pt x="38958" y="725138"/>
                        <a:pt x="34863" y="732187"/>
                        <a:pt x="28195" y="733616"/>
                      </a:cubicBezTo>
                      <a:cubicBezTo>
                        <a:pt x="24385" y="734378"/>
                        <a:pt x="20766" y="733520"/>
                        <a:pt x="18003" y="731520"/>
                      </a:cubicBezTo>
                      <a:close/>
                      <a:moveTo>
                        <a:pt x="675133" y="1186625"/>
                      </a:moveTo>
                      <a:cubicBezTo>
                        <a:pt x="672562" y="1184720"/>
                        <a:pt x="670752" y="1181862"/>
                        <a:pt x="670275" y="1178433"/>
                      </a:cubicBezTo>
                      <a:cubicBezTo>
                        <a:pt x="669323" y="1171670"/>
                        <a:pt x="673990" y="1165479"/>
                        <a:pt x="680753" y="1164527"/>
                      </a:cubicBezTo>
                      <a:cubicBezTo>
                        <a:pt x="687421" y="1163479"/>
                        <a:pt x="694279" y="1168051"/>
                        <a:pt x="695326" y="1174814"/>
                      </a:cubicBezTo>
                      <a:cubicBezTo>
                        <a:pt x="696279" y="1181576"/>
                        <a:pt x="692183" y="1187672"/>
                        <a:pt x="685516" y="1188720"/>
                      </a:cubicBezTo>
                      <a:lnTo>
                        <a:pt x="684182" y="1188911"/>
                      </a:lnTo>
                      <a:cubicBezTo>
                        <a:pt x="680753" y="1189387"/>
                        <a:pt x="677610" y="1188530"/>
                        <a:pt x="675133" y="1186625"/>
                      </a:cubicBezTo>
                      <a:close/>
                      <a:moveTo>
                        <a:pt x="11336" y="694182"/>
                      </a:moveTo>
                      <a:cubicBezTo>
                        <a:pt x="8764" y="692277"/>
                        <a:pt x="7050" y="689420"/>
                        <a:pt x="6478" y="686086"/>
                      </a:cubicBezTo>
                      <a:lnTo>
                        <a:pt x="6288" y="684943"/>
                      </a:lnTo>
                      <a:cubicBezTo>
                        <a:pt x="5240" y="678275"/>
                        <a:pt x="9812" y="671894"/>
                        <a:pt x="16479" y="670846"/>
                      </a:cubicBezTo>
                      <a:cubicBezTo>
                        <a:pt x="23242" y="669798"/>
                        <a:pt x="29433" y="674370"/>
                        <a:pt x="30576" y="681133"/>
                      </a:cubicBezTo>
                      <a:lnTo>
                        <a:pt x="30767" y="682466"/>
                      </a:lnTo>
                      <a:cubicBezTo>
                        <a:pt x="31719" y="689229"/>
                        <a:pt x="27147" y="695420"/>
                        <a:pt x="20385" y="696468"/>
                      </a:cubicBezTo>
                      <a:cubicBezTo>
                        <a:pt x="17146" y="696944"/>
                        <a:pt x="13812" y="696087"/>
                        <a:pt x="11336" y="694182"/>
                      </a:cubicBezTo>
                      <a:close/>
                      <a:moveTo>
                        <a:pt x="712852" y="1179862"/>
                      </a:moveTo>
                      <a:cubicBezTo>
                        <a:pt x="710566" y="1178147"/>
                        <a:pt x="708852" y="1175671"/>
                        <a:pt x="708185" y="1172718"/>
                      </a:cubicBezTo>
                      <a:cubicBezTo>
                        <a:pt x="706756" y="1166051"/>
                        <a:pt x="710852" y="1159478"/>
                        <a:pt x="717520" y="1157954"/>
                      </a:cubicBezTo>
                      <a:lnTo>
                        <a:pt x="718853" y="1157669"/>
                      </a:lnTo>
                      <a:cubicBezTo>
                        <a:pt x="725521" y="1156240"/>
                        <a:pt x="731998" y="1160526"/>
                        <a:pt x="733426" y="1167194"/>
                      </a:cubicBezTo>
                      <a:cubicBezTo>
                        <a:pt x="734855" y="1173861"/>
                        <a:pt x="730569" y="1180338"/>
                        <a:pt x="723901" y="1181767"/>
                      </a:cubicBezTo>
                      <a:lnTo>
                        <a:pt x="722854" y="1181957"/>
                      </a:lnTo>
                      <a:cubicBezTo>
                        <a:pt x="719234" y="1182815"/>
                        <a:pt x="715615" y="1181957"/>
                        <a:pt x="712852" y="1179862"/>
                      </a:cubicBezTo>
                      <a:close/>
                      <a:moveTo>
                        <a:pt x="6669" y="655701"/>
                      </a:moveTo>
                      <a:cubicBezTo>
                        <a:pt x="4097" y="653796"/>
                        <a:pt x="2382" y="650939"/>
                        <a:pt x="2001" y="647414"/>
                      </a:cubicBezTo>
                      <a:lnTo>
                        <a:pt x="1906" y="645795"/>
                      </a:lnTo>
                      <a:cubicBezTo>
                        <a:pt x="1430" y="639032"/>
                        <a:pt x="6573" y="633127"/>
                        <a:pt x="13431" y="632746"/>
                      </a:cubicBezTo>
                      <a:cubicBezTo>
                        <a:pt x="20194" y="632270"/>
                        <a:pt x="26100" y="637413"/>
                        <a:pt x="26481" y="644176"/>
                      </a:cubicBezTo>
                      <a:cubicBezTo>
                        <a:pt x="27147" y="650939"/>
                        <a:pt x="22194" y="657320"/>
                        <a:pt x="15432" y="657987"/>
                      </a:cubicBezTo>
                      <a:cubicBezTo>
                        <a:pt x="12098" y="658368"/>
                        <a:pt x="9050" y="657511"/>
                        <a:pt x="6669" y="655701"/>
                      </a:cubicBezTo>
                      <a:close/>
                      <a:moveTo>
                        <a:pt x="750000" y="1170623"/>
                      </a:moveTo>
                      <a:cubicBezTo>
                        <a:pt x="747904" y="1169099"/>
                        <a:pt x="746285" y="1166813"/>
                        <a:pt x="745523" y="1164146"/>
                      </a:cubicBezTo>
                      <a:cubicBezTo>
                        <a:pt x="743618" y="1157669"/>
                        <a:pt x="747428" y="1150811"/>
                        <a:pt x="753905" y="1148906"/>
                      </a:cubicBezTo>
                      <a:lnTo>
                        <a:pt x="755239" y="1148525"/>
                      </a:lnTo>
                      <a:cubicBezTo>
                        <a:pt x="761811" y="1146715"/>
                        <a:pt x="768573" y="1150525"/>
                        <a:pt x="770383" y="1157002"/>
                      </a:cubicBezTo>
                      <a:cubicBezTo>
                        <a:pt x="772193" y="1163479"/>
                        <a:pt x="768383" y="1170337"/>
                        <a:pt x="761811" y="1172147"/>
                      </a:cubicBezTo>
                      <a:lnTo>
                        <a:pt x="760763" y="1172432"/>
                      </a:lnTo>
                      <a:cubicBezTo>
                        <a:pt x="756858" y="1173671"/>
                        <a:pt x="752952" y="1172813"/>
                        <a:pt x="750000" y="1170623"/>
                      </a:cubicBezTo>
                      <a:close/>
                      <a:moveTo>
                        <a:pt x="4573" y="617315"/>
                      </a:moveTo>
                      <a:cubicBezTo>
                        <a:pt x="1811" y="615315"/>
                        <a:pt x="96" y="612076"/>
                        <a:pt x="1" y="608267"/>
                      </a:cubicBezTo>
                      <a:lnTo>
                        <a:pt x="1" y="606933"/>
                      </a:lnTo>
                      <a:cubicBezTo>
                        <a:pt x="-94" y="600170"/>
                        <a:pt x="5335" y="594551"/>
                        <a:pt x="12098" y="594455"/>
                      </a:cubicBezTo>
                      <a:cubicBezTo>
                        <a:pt x="18861" y="594360"/>
                        <a:pt x="24480" y="599789"/>
                        <a:pt x="24576" y="606552"/>
                      </a:cubicBezTo>
                      <a:cubicBezTo>
                        <a:pt x="24766" y="613315"/>
                        <a:pt x="19337" y="619506"/>
                        <a:pt x="12574" y="619697"/>
                      </a:cubicBezTo>
                      <a:cubicBezTo>
                        <a:pt x="9526" y="619792"/>
                        <a:pt x="6764" y="618935"/>
                        <a:pt x="4573" y="617315"/>
                      </a:cubicBezTo>
                      <a:close/>
                      <a:moveTo>
                        <a:pt x="786481" y="1159002"/>
                      </a:moveTo>
                      <a:cubicBezTo>
                        <a:pt x="784575" y="1157573"/>
                        <a:pt x="783147" y="1155668"/>
                        <a:pt x="782194" y="1153287"/>
                      </a:cubicBezTo>
                      <a:cubicBezTo>
                        <a:pt x="779908" y="1146905"/>
                        <a:pt x="783242" y="1139857"/>
                        <a:pt x="789624" y="1137571"/>
                      </a:cubicBezTo>
                      <a:lnTo>
                        <a:pt x="790767" y="1137190"/>
                      </a:lnTo>
                      <a:cubicBezTo>
                        <a:pt x="797148" y="1134904"/>
                        <a:pt x="804197" y="1138238"/>
                        <a:pt x="806483" y="1144619"/>
                      </a:cubicBezTo>
                      <a:cubicBezTo>
                        <a:pt x="808769" y="1151001"/>
                        <a:pt x="805435" y="1158050"/>
                        <a:pt x="799054" y="1160336"/>
                      </a:cubicBezTo>
                      <a:lnTo>
                        <a:pt x="797911" y="1160717"/>
                      </a:lnTo>
                      <a:cubicBezTo>
                        <a:pt x="793910" y="1162145"/>
                        <a:pt x="789624" y="1161383"/>
                        <a:pt x="786481" y="1159002"/>
                      </a:cubicBezTo>
                      <a:close/>
                      <a:moveTo>
                        <a:pt x="5526" y="579596"/>
                      </a:moveTo>
                      <a:cubicBezTo>
                        <a:pt x="2382" y="577215"/>
                        <a:pt x="287" y="573405"/>
                        <a:pt x="573" y="569119"/>
                      </a:cubicBezTo>
                      <a:lnTo>
                        <a:pt x="573" y="567881"/>
                      </a:lnTo>
                      <a:cubicBezTo>
                        <a:pt x="954" y="561118"/>
                        <a:pt x="6669" y="555879"/>
                        <a:pt x="13527" y="556165"/>
                      </a:cubicBezTo>
                      <a:cubicBezTo>
                        <a:pt x="20289" y="556546"/>
                        <a:pt x="25528" y="562261"/>
                        <a:pt x="25242" y="569024"/>
                      </a:cubicBezTo>
                      <a:lnTo>
                        <a:pt x="25147" y="570262"/>
                      </a:lnTo>
                      <a:cubicBezTo>
                        <a:pt x="24766" y="577120"/>
                        <a:pt x="19051" y="582263"/>
                        <a:pt x="12288" y="581978"/>
                      </a:cubicBezTo>
                      <a:cubicBezTo>
                        <a:pt x="9717" y="581882"/>
                        <a:pt x="7335" y="581025"/>
                        <a:pt x="5526" y="579596"/>
                      </a:cubicBezTo>
                      <a:close/>
                      <a:moveTo>
                        <a:pt x="822104" y="1145000"/>
                      </a:moveTo>
                      <a:cubicBezTo>
                        <a:pt x="820390" y="1143762"/>
                        <a:pt x="818961" y="1141952"/>
                        <a:pt x="818104" y="1139857"/>
                      </a:cubicBezTo>
                      <a:cubicBezTo>
                        <a:pt x="815532" y="1133570"/>
                        <a:pt x="818485" y="1126427"/>
                        <a:pt x="824771" y="1123760"/>
                      </a:cubicBezTo>
                      <a:cubicBezTo>
                        <a:pt x="831058" y="1121093"/>
                        <a:pt x="838773" y="1123664"/>
                        <a:pt x="841440" y="1129951"/>
                      </a:cubicBezTo>
                      <a:cubicBezTo>
                        <a:pt x="844107" y="1136142"/>
                        <a:pt x="841725" y="1143191"/>
                        <a:pt x="835534" y="1145953"/>
                      </a:cubicBezTo>
                      <a:lnTo>
                        <a:pt x="834201" y="1146524"/>
                      </a:lnTo>
                      <a:cubicBezTo>
                        <a:pt x="830010" y="1148239"/>
                        <a:pt x="825533" y="1147477"/>
                        <a:pt x="822104" y="1145000"/>
                      </a:cubicBezTo>
                      <a:close/>
                      <a:moveTo>
                        <a:pt x="8193" y="540830"/>
                      </a:moveTo>
                      <a:cubicBezTo>
                        <a:pt x="4954" y="538448"/>
                        <a:pt x="3049" y="534543"/>
                        <a:pt x="3621" y="530162"/>
                      </a:cubicBezTo>
                      <a:lnTo>
                        <a:pt x="3716" y="528828"/>
                      </a:lnTo>
                      <a:cubicBezTo>
                        <a:pt x="4573" y="522065"/>
                        <a:pt x="10669" y="517303"/>
                        <a:pt x="17432" y="518160"/>
                      </a:cubicBezTo>
                      <a:cubicBezTo>
                        <a:pt x="24195" y="519017"/>
                        <a:pt x="28957" y="525113"/>
                        <a:pt x="28100" y="531876"/>
                      </a:cubicBezTo>
                      <a:cubicBezTo>
                        <a:pt x="27338" y="538639"/>
                        <a:pt x="21147" y="544068"/>
                        <a:pt x="14384" y="543306"/>
                      </a:cubicBezTo>
                      <a:cubicBezTo>
                        <a:pt x="12098" y="543020"/>
                        <a:pt x="10002" y="542163"/>
                        <a:pt x="8193" y="540830"/>
                      </a:cubicBezTo>
                      <a:close/>
                      <a:moveTo>
                        <a:pt x="856870" y="1128713"/>
                      </a:moveTo>
                      <a:cubicBezTo>
                        <a:pt x="855346" y="1127570"/>
                        <a:pt x="854013" y="1126046"/>
                        <a:pt x="853156" y="1124236"/>
                      </a:cubicBezTo>
                      <a:cubicBezTo>
                        <a:pt x="850203" y="1118140"/>
                        <a:pt x="852775" y="1110710"/>
                        <a:pt x="858871" y="1107853"/>
                      </a:cubicBezTo>
                      <a:cubicBezTo>
                        <a:pt x="864871" y="1104710"/>
                        <a:pt x="872682" y="1106805"/>
                        <a:pt x="875825" y="1112806"/>
                      </a:cubicBezTo>
                      <a:cubicBezTo>
                        <a:pt x="878968" y="1118807"/>
                        <a:pt x="877063" y="1126046"/>
                        <a:pt x="870967" y="1129189"/>
                      </a:cubicBezTo>
                      <a:lnTo>
                        <a:pt x="869539" y="1129951"/>
                      </a:lnTo>
                      <a:cubicBezTo>
                        <a:pt x="865252" y="1132046"/>
                        <a:pt x="860395" y="1131380"/>
                        <a:pt x="856870" y="1128713"/>
                      </a:cubicBezTo>
                      <a:close/>
                      <a:moveTo>
                        <a:pt x="13812" y="503015"/>
                      </a:moveTo>
                      <a:cubicBezTo>
                        <a:pt x="10383" y="500444"/>
                        <a:pt x="8478" y="496157"/>
                        <a:pt x="9336" y="491585"/>
                      </a:cubicBezTo>
                      <a:lnTo>
                        <a:pt x="9526" y="490347"/>
                      </a:lnTo>
                      <a:cubicBezTo>
                        <a:pt x="10764" y="483680"/>
                        <a:pt x="17241" y="479298"/>
                        <a:pt x="23909" y="480536"/>
                      </a:cubicBezTo>
                      <a:cubicBezTo>
                        <a:pt x="30576" y="481870"/>
                        <a:pt x="34958" y="488252"/>
                        <a:pt x="33720" y="494919"/>
                      </a:cubicBezTo>
                      <a:cubicBezTo>
                        <a:pt x="32481" y="501587"/>
                        <a:pt x="25909" y="506635"/>
                        <a:pt x="19337" y="505397"/>
                      </a:cubicBezTo>
                      <a:cubicBezTo>
                        <a:pt x="17146" y="504920"/>
                        <a:pt x="15336" y="504158"/>
                        <a:pt x="13812" y="503015"/>
                      </a:cubicBezTo>
                      <a:close/>
                      <a:moveTo>
                        <a:pt x="890398" y="1110234"/>
                      </a:moveTo>
                      <a:cubicBezTo>
                        <a:pt x="889065" y="1109282"/>
                        <a:pt x="887922" y="1107948"/>
                        <a:pt x="887065" y="1106329"/>
                      </a:cubicBezTo>
                      <a:cubicBezTo>
                        <a:pt x="883731" y="1100423"/>
                        <a:pt x="885826" y="1092899"/>
                        <a:pt x="891732" y="1089565"/>
                      </a:cubicBezTo>
                      <a:cubicBezTo>
                        <a:pt x="897542" y="1086041"/>
                        <a:pt x="905448" y="1087660"/>
                        <a:pt x="908972" y="1093470"/>
                      </a:cubicBezTo>
                      <a:cubicBezTo>
                        <a:pt x="912496" y="1099280"/>
                        <a:pt x="910972" y="1106615"/>
                        <a:pt x="905257" y="1110139"/>
                      </a:cubicBezTo>
                      <a:lnTo>
                        <a:pt x="903829" y="1110996"/>
                      </a:lnTo>
                      <a:cubicBezTo>
                        <a:pt x="899447" y="1113473"/>
                        <a:pt x="894113" y="1112996"/>
                        <a:pt x="890398" y="1110234"/>
                      </a:cubicBezTo>
                      <a:close/>
                      <a:moveTo>
                        <a:pt x="21813" y="465487"/>
                      </a:moveTo>
                      <a:cubicBezTo>
                        <a:pt x="18099" y="462725"/>
                        <a:pt x="16194" y="458153"/>
                        <a:pt x="17432" y="453390"/>
                      </a:cubicBezTo>
                      <a:lnTo>
                        <a:pt x="17718" y="452152"/>
                      </a:lnTo>
                      <a:cubicBezTo>
                        <a:pt x="19337" y="445580"/>
                        <a:pt x="26100" y="441579"/>
                        <a:pt x="32672" y="443198"/>
                      </a:cubicBezTo>
                      <a:cubicBezTo>
                        <a:pt x="39244" y="444913"/>
                        <a:pt x="43245" y="451580"/>
                        <a:pt x="41625" y="458153"/>
                      </a:cubicBezTo>
                      <a:cubicBezTo>
                        <a:pt x="39911" y="464725"/>
                        <a:pt x="33053" y="469297"/>
                        <a:pt x="26481" y="467678"/>
                      </a:cubicBezTo>
                      <a:cubicBezTo>
                        <a:pt x="24766" y="467297"/>
                        <a:pt x="23147" y="466535"/>
                        <a:pt x="21813" y="465487"/>
                      </a:cubicBezTo>
                      <a:close/>
                      <a:moveTo>
                        <a:pt x="922688" y="1089470"/>
                      </a:moveTo>
                      <a:cubicBezTo>
                        <a:pt x="921640" y="1088708"/>
                        <a:pt x="920688" y="1087755"/>
                        <a:pt x="919926" y="1086612"/>
                      </a:cubicBezTo>
                      <a:cubicBezTo>
                        <a:pt x="916021" y="1081088"/>
                        <a:pt x="917354" y="1073372"/>
                        <a:pt x="922974" y="1069467"/>
                      </a:cubicBezTo>
                      <a:lnTo>
                        <a:pt x="924021" y="1068705"/>
                      </a:lnTo>
                      <a:cubicBezTo>
                        <a:pt x="929641" y="1064800"/>
                        <a:pt x="937261" y="1066229"/>
                        <a:pt x="941167" y="1071848"/>
                      </a:cubicBezTo>
                      <a:cubicBezTo>
                        <a:pt x="945072" y="1077373"/>
                        <a:pt x="943643" y="1085088"/>
                        <a:pt x="938023" y="1088993"/>
                      </a:cubicBezTo>
                      <a:lnTo>
                        <a:pt x="937071" y="1089660"/>
                      </a:lnTo>
                      <a:cubicBezTo>
                        <a:pt x="932594" y="1092803"/>
                        <a:pt x="926784" y="1092518"/>
                        <a:pt x="922688" y="1089470"/>
                      </a:cubicBezTo>
                      <a:close/>
                      <a:moveTo>
                        <a:pt x="32481" y="429387"/>
                      </a:moveTo>
                      <a:cubicBezTo>
                        <a:pt x="28386" y="426339"/>
                        <a:pt x="26481" y="420910"/>
                        <a:pt x="28100" y="415766"/>
                      </a:cubicBezTo>
                      <a:lnTo>
                        <a:pt x="28481" y="414623"/>
                      </a:lnTo>
                      <a:cubicBezTo>
                        <a:pt x="30576" y="408146"/>
                        <a:pt x="37530" y="404622"/>
                        <a:pt x="44007" y="406718"/>
                      </a:cubicBezTo>
                      <a:cubicBezTo>
                        <a:pt x="50388" y="408813"/>
                        <a:pt x="53913" y="415671"/>
                        <a:pt x="51912" y="422148"/>
                      </a:cubicBezTo>
                      <a:lnTo>
                        <a:pt x="51531" y="423291"/>
                      </a:lnTo>
                      <a:cubicBezTo>
                        <a:pt x="49436" y="429768"/>
                        <a:pt x="42483" y="433292"/>
                        <a:pt x="36006" y="431292"/>
                      </a:cubicBezTo>
                      <a:cubicBezTo>
                        <a:pt x="34672" y="430816"/>
                        <a:pt x="33529" y="430244"/>
                        <a:pt x="32481" y="429387"/>
                      </a:cubicBezTo>
                      <a:close/>
                      <a:moveTo>
                        <a:pt x="953454" y="1066705"/>
                      </a:moveTo>
                      <a:cubicBezTo>
                        <a:pt x="952596" y="1066133"/>
                        <a:pt x="951835" y="1065371"/>
                        <a:pt x="951168" y="1064419"/>
                      </a:cubicBezTo>
                      <a:cubicBezTo>
                        <a:pt x="946977" y="1059085"/>
                        <a:pt x="947834" y="1051370"/>
                        <a:pt x="953168" y="1047179"/>
                      </a:cubicBezTo>
                      <a:lnTo>
                        <a:pt x="954216" y="1046417"/>
                      </a:lnTo>
                      <a:cubicBezTo>
                        <a:pt x="959550" y="1042226"/>
                        <a:pt x="967265" y="1043178"/>
                        <a:pt x="971551" y="1048417"/>
                      </a:cubicBezTo>
                      <a:cubicBezTo>
                        <a:pt x="975742" y="1053751"/>
                        <a:pt x="974790" y="1061466"/>
                        <a:pt x="969456" y="1065657"/>
                      </a:cubicBezTo>
                      <a:lnTo>
                        <a:pt x="968503" y="1066419"/>
                      </a:lnTo>
                      <a:cubicBezTo>
                        <a:pt x="963931" y="1070039"/>
                        <a:pt x="957740" y="1069943"/>
                        <a:pt x="953454" y="1066705"/>
                      </a:cubicBezTo>
                      <a:close/>
                      <a:moveTo>
                        <a:pt x="45245" y="392621"/>
                      </a:moveTo>
                      <a:cubicBezTo>
                        <a:pt x="41054" y="389477"/>
                        <a:pt x="39149" y="384143"/>
                        <a:pt x="41149" y="379000"/>
                      </a:cubicBezTo>
                      <a:lnTo>
                        <a:pt x="41625" y="377762"/>
                      </a:lnTo>
                      <a:cubicBezTo>
                        <a:pt x="44102" y="371475"/>
                        <a:pt x="51246" y="368332"/>
                        <a:pt x="57627" y="370808"/>
                      </a:cubicBezTo>
                      <a:cubicBezTo>
                        <a:pt x="64009" y="373285"/>
                        <a:pt x="67057" y="380429"/>
                        <a:pt x="64581" y="386715"/>
                      </a:cubicBezTo>
                      <a:cubicBezTo>
                        <a:pt x="62104" y="393002"/>
                        <a:pt x="54770" y="396716"/>
                        <a:pt x="48483" y="394240"/>
                      </a:cubicBezTo>
                      <a:cubicBezTo>
                        <a:pt x="47150" y="393954"/>
                        <a:pt x="46197" y="393383"/>
                        <a:pt x="45245" y="392621"/>
                      </a:cubicBezTo>
                      <a:close/>
                      <a:moveTo>
                        <a:pt x="982696" y="1041940"/>
                      </a:moveTo>
                      <a:cubicBezTo>
                        <a:pt x="982124" y="1041559"/>
                        <a:pt x="981648" y="1041083"/>
                        <a:pt x="981076" y="1040511"/>
                      </a:cubicBezTo>
                      <a:cubicBezTo>
                        <a:pt x="976409" y="1035653"/>
                        <a:pt x="976600" y="1027843"/>
                        <a:pt x="981552" y="1023176"/>
                      </a:cubicBezTo>
                      <a:lnTo>
                        <a:pt x="982791" y="1022033"/>
                      </a:lnTo>
                      <a:cubicBezTo>
                        <a:pt x="987839" y="1017556"/>
                        <a:pt x="995554" y="1017937"/>
                        <a:pt x="1000126" y="1023080"/>
                      </a:cubicBezTo>
                      <a:cubicBezTo>
                        <a:pt x="1004698" y="1028129"/>
                        <a:pt x="1004222" y="1035939"/>
                        <a:pt x="999079" y="1040416"/>
                      </a:cubicBezTo>
                      <a:lnTo>
                        <a:pt x="998507" y="1040987"/>
                      </a:lnTo>
                      <a:cubicBezTo>
                        <a:pt x="994030" y="1045178"/>
                        <a:pt x="987363" y="1045464"/>
                        <a:pt x="982696" y="1041940"/>
                      </a:cubicBezTo>
                      <a:close/>
                      <a:moveTo>
                        <a:pt x="60485" y="357759"/>
                      </a:moveTo>
                      <a:cubicBezTo>
                        <a:pt x="56008" y="354425"/>
                        <a:pt x="54198" y="348520"/>
                        <a:pt x="56675" y="343186"/>
                      </a:cubicBezTo>
                      <a:lnTo>
                        <a:pt x="57342" y="341662"/>
                      </a:lnTo>
                      <a:cubicBezTo>
                        <a:pt x="60390" y="335566"/>
                        <a:pt x="67819" y="333089"/>
                        <a:pt x="73820" y="336137"/>
                      </a:cubicBezTo>
                      <a:cubicBezTo>
                        <a:pt x="79916" y="339185"/>
                        <a:pt x="82392" y="346520"/>
                        <a:pt x="79344" y="352616"/>
                      </a:cubicBezTo>
                      <a:cubicBezTo>
                        <a:pt x="76487" y="358807"/>
                        <a:pt x="69057" y="361855"/>
                        <a:pt x="62866" y="358997"/>
                      </a:cubicBezTo>
                      <a:cubicBezTo>
                        <a:pt x="62009" y="358712"/>
                        <a:pt x="61247" y="358331"/>
                        <a:pt x="60485" y="357759"/>
                      </a:cubicBezTo>
                      <a:close/>
                      <a:moveTo>
                        <a:pt x="1010223" y="1015365"/>
                      </a:moveTo>
                      <a:cubicBezTo>
                        <a:pt x="1009746" y="1014984"/>
                        <a:pt x="1009270" y="1014603"/>
                        <a:pt x="1008889" y="1014222"/>
                      </a:cubicBezTo>
                      <a:cubicBezTo>
                        <a:pt x="1004031" y="1009364"/>
                        <a:pt x="1004031" y="1001649"/>
                        <a:pt x="1008794" y="996791"/>
                      </a:cubicBezTo>
                      <a:cubicBezTo>
                        <a:pt x="1013461" y="991838"/>
                        <a:pt x="1021367" y="991267"/>
                        <a:pt x="1026511" y="995934"/>
                      </a:cubicBezTo>
                      <a:cubicBezTo>
                        <a:pt x="1031464" y="1000601"/>
                        <a:pt x="1031940" y="1008031"/>
                        <a:pt x="1027368" y="1012984"/>
                      </a:cubicBezTo>
                      <a:lnTo>
                        <a:pt x="1026225" y="1014127"/>
                      </a:lnTo>
                      <a:cubicBezTo>
                        <a:pt x="1021843" y="1018508"/>
                        <a:pt x="1014985" y="1018985"/>
                        <a:pt x="1010223" y="1015365"/>
                      </a:cubicBezTo>
                      <a:close/>
                      <a:moveTo>
                        <a:pt x="78011" y="323660"/>
                      </a:moveTo>
                      <a:cubicBezTo>
                        <a:pt x="73248" y="320135"/>
                        <a:pt x="71534" y="313849"/>
                        <a:pt x="74391" y="308420"/>
                      </a:cubicBezTo>
                      <a:lnTo>
                        <a:pt x="75153" y="307086"/>
                      </a:lnTo>
                      <a:cubicBezTo>
                        <a:pt x="78487" y="301181"/>
                        <a:pt x="86012" y="299180"/>
                        <a:pt x="91917" y="302514"/>
                      </a:cubicBezTo>
                      <a:cubicBezTo>
                        <a:pt x="97823" y="305943"/>
                        <a:pt x="99823" y="313468"/>
                        <a:pt x="96489" y="319373"/>
                      </a:cubicBezTo>
                      <a:cubicBezTo>
                        <a:pt x="93251" y="325374"/>
                        <a:pt x="85631" y="327946"/>
                        <a:pt x="79630" y="324803"/>
                      </a:cubicBezTo>
                      <a:cubicBezTo>
                        <a:pt x="79059" y="324422"/>
                        <a:pt x="78487" y="324041"/>
                        <a:pt x="78011" y="323660"/>
                      </a:cubicBezTo>
                      <a:close/>
                      <a:moveTo>
                        <a:pt x="97537" y="291275"/>
                      </a:moveTo>
                      <a:cubicBezTo>
                        <a:pt x="92394" y="287465"/>
                        <a:pt x="90965" y="280130"/>
                        <a:pt x="94584" y="274701"/>
                      </a:cubicBezTo>
                      <a:lnTo>
                        <a:pt x="95061" y="273939"/>
                      </a:lnTo>
                      <a:cubicBezTo>
                        <a:pt x="98585" y="268129"/>
                        <a:pt x="106205" y="266319"/>
                        <a:pt x="112015" y="269939"/>
                      </a:cubicBezTo>
                      <a:cubicBezTo>
                        <a:pt x="117730" y="273368"/>
                        <a:pt x="119635" y="281083"/>
                        <a:pt x="116016" y="286798"/>
                      </a:cubicBezTo>
                      <a:lnTo>
                        <a:pt x="115158" y="288131"/>
                      </a:lnTo>
                      <a:cubicBezTo>
                        <a:pt x="111444" y="293846"/>
                        <a:pt x="103824" y="295370"/>
                        <a:pt x="98109" y="291656"/>
                      </a:cubicBezTo>
                      <a:cubicBezTo>
                        <a:pt x="98013" y="291560"/>
                        <a:pt x="97728" y="291465"/>
                        <a:pt x="97537" y="291275"/>
                      </a:cubicBezTo>
                      <a:close/>
                      <a:moveTo>
                        <a:pt x="1035940" y="987076"/>
                      </a:moveTo>
                      <a:cubicBezTo>
                        <a:pt x="1035654" y="986885"/>
                        <a:pt x="1035369" y="986600"/>
                        <a:pt x="1035083" y="986409"/>
                      </a:cubicBezTo>
                      <a:cubicBezTo>
                        <a:pt x="1029940" y="981932"/>
                        <a:pt x="1029558" y="974122"/>
                        <a:pt x="1034035" y="969074"/>
                      </a:cubicBezTo>
                      <a:cubicBezTo>
                        <a:pt x="1038417" y="963835"/>
                        <a:pt x="1046608" y="962978"/>
                        <a:pt x="1051657" y="967169"/>
                      </a:cubicBezTo>
                      <a:cubicBezTo>
                        <a:pt x="1056800" y="971550"/>
                        <a:pt x="1057848" y="978884"/>
                        <a:pt x="1053466" y="984123"/>
                      </a:cubicBezTo>
                      <a:lnTo>
                        <a:pt x="1052419" y="985361"/>
                      </a:lnTo>
                      <a:cubicBezTo>
                        <a:pt x="1048227" y="990124"/>
                        <a:pt x="1040989" y="990791"/>
                        <a:pt x="1035940" y="987076"/>
                      </a:cubicBezTo>
                      <a:close/>
                      <a:moveTo>
                        <a:pt x="1059753" y="957072"/>
                      </a:moveTo>
                      <a:cubicBezTo>
                        <a:pt x="1054324" y="953072"/>
                        <a:pt x="1053181" y="945356"/>
                        <a:pt x="1057181" y="939832"/>
                      </a:cubicBezTo>
                      <a:lnTo>
                        <a:pt x="1057943" y="938784"/>
                      </a:lnTo>
                      <a:cubicBezTo>
                        <a:pt x="1058038" y="938689"/>
                        <a:pt x="1058229" y="938498"/>
                        <a:pt x="1058324" y="938308"/>
                      </a:cubicBezTo>
                      <a:cubicBezTo>
                        <a:pt x="1058419" y="938117"/>
                        <a:pt x="1058610" y="937927"/>
                        <a:pt x="1058705" y="937832"/>
                      </a:cubicBezTo>
                      <a:lnTo>
                        <a:pt x="1059467" y="936784"/>
                      </a:lnTo>
                      <a:cubicBezTo>
                        <a:pt x="1063468" y="931355"/>
                        <a:pt x="1071183" y="930212"/>
                        <a:pt x="1076707" y="934212"/>
                      </a:cubicBezTo>
                      <a:cubicBezTo>
                        <a:pt x="1082137" y="938308"/>
                        <a:pt x="1083280" y="945928"/>
                        <a:pt x="1079279" y="951452"/>
                      </a:cubicBezTo>
                      <a:lnTo>
                        <a:pt x="1078517" y="952500"/>
                      </a:lnTo>
                      <a:cubicBezTo>
                        <a:pt x="1078422" y="952691"/>
                        <a:pt x="1078231" y="952786"/>
                        <a:pt x="1078136" y="952976"/>
                      </a:cubicBezTo>
                      <a:cubicBezTo>
                        <a:pt x="1078041" y="953167"/>
                        <a:pt x="1077946" y="953357"/>
                        <a:pt x="1077755" y="953453"/>
                      </a:cubicBezTo>
                      <a:lnTo>
                        <a:pt x="1076993" y="954500"/>
                      </a:lnTo>
                      <a:cubicBezTo>
                        <a:pt x="1072897" y="959930"/>
                        <a:pt x="1065182" y="961073"/>
                        <a:pt x="1059753" y="957072"/>
                      </a:cubicBezTo>
                      <a:close/>
                      <a:moveTo>
                        <a:pt x="143257" y="229362"/>
                      </a:moveTo>
                      <a:cubicBezTo>
                        <a:pt x="143067" y="229267"/>
                        <a:pt x="142876" y="229076"/>
                        <a:pt x="142686" y="228886"/>
                      </a:cubicBezTo>
                      <a:cubicBezTo>
                        <a:pt x="137542" y="224504"/>
                        <a:pt x="136494" y="217170"/>
                        <a:pt x="140876" y="211931"/>
                      </a:cubicBezTo>
                      <a:lnTo>
                        <a:pt x="141924" y="210693"/>
                      </a:lnTo>
                      <a:cubicBezTo>
                        <a:pt x="146401" y="205550"/>
                        <a:pt x="154306" y="205073"/>
                        <a:pt x="159259" y="209645"/>
                      </a:cubicBezTo>
                      <a:cubicBezTo>
                        <a:pt x="164307" y="214122"/>
                        <a:pt x="164784" y="221933"/>
                        <a:pt x="160307" y="226981"/>
                      </a:cubicBezTo>
                      <a:cubicBezTo>
                        <a:pt x="156211" y="232124"/>
                        <a:pt x="148496" y="233267"/>
                        <a:pt x="143257" y="229362"/>
                      </a:cubicBezTo>
                      <a:close/>
                      <a:moveTo>
                        <a:pt x="1082899" y="923544"/>
                      </a:moveTo>
                      <a:cubicBezTo>
                        <a:pt x="1077850" y="919829"/>
                        <a:pt x="1076422" y="912686"/>
                        <a:pt x="1079755" y="907256"/>
                      </a:cubicBezTo>
                      <a:lnTo>
                        <a:pt x="1080613" y="905923"/>
                      </a:lnTo>
                      <a:cubicBezTo>
                        <a:pt x="1084327" y="900303"/>
                        <a:pt x="1091947" y="898684"/>
                        <a:pt x="1097662" y="902399"/>
                      </a:cubicBezTo>
                      <a:cubicBezTo>
                        <a:pt x="1103282" y="905923"/>
                        <a:pt x="1104997" y="913733"/>
                        <a:pt x="1101187" y="919448"/>
                      </a:cubicBezTo>
                      <a:lnTo>
                        <a:pt x="1100710" y="920210"/>
                      </a:lnTo>
                      <a:cubicBezTo>
                        <a:pt x="1097186" y="926021"/>
                        <a:pt x="1089566" y="927830"/>
                        <a:pt x="1083851" y="924211"/>
                      </a:cubicBezTo>
                      <a:cubicBezTo>
                        <a:pt x="1083565" y="924020"/>
                        <a:pt x="1083184" y="923830"/>
                        <a:pt x="1082899" y="923544"/>
                      </a:cubicBezTo>
                      <a:close/>
                      <a:moveTo>
                        <a:pt x="168879" y="200978"/>
                      </a:moveTo>
                      <a:cubicBezTo>
                        <a:pt x="168498" y="200692"/>
                        <a:pt x="168213" y="200406"/>
                        <a:pt x="167832" y="200120"/>
                      </a:cubicBezTo>
                      <a:cubicBezTo>
                        <a:pt x="162879" y="195453"/>
                        <a:pt x="162307" y="188024"/>
                        <a:pt x="166974" y="183071"/>
                      </a:cubicBezTo>
                      <a:lnTo>
                        <a:pt x="168117" y="181928"/>
                      </a:lnTo>
                      <a:cubicBezTo>
                        <a:pt x="172880" y="177165"/>
                        <a:pt x="180690" y="177070"/>
                        <a:pt x="185453" y="181928"/>
                      </a:cubicBezTo>
                      <a:cubicBezTo>
                        <a:pt x="190311" y="186785"/>
                        <a:pt x="190311" y="194501"/>
                        <a:pt x="185453" y="199358"/>
                      </a:cubicBezTo>
                      <a:cubicBezTo>
                        <a:pt x="181167" y="203835"/>
                        <a:pt x="173832" y="204597"/>
                        <a:pt x="168879" y="200978"/>
                      </a:cubicBezTo>
                      <a:close/>
                      <a:moveTo>
                        <a:pt x="1102615" y="890683"/>
                      </a:moveTo>
                      <a:cubicBezTo>
                        <a:pt x="1097662" y="887063"/>
                        <a:pt x="1096138" y="880110"/>
                        <a:pt x="1099282" y="874681"/>
                      </a:cubicBezTo>
                      <a:cubicBezTo>
                        <a:pt x="1102425" y="868680"/>
                        <a:pt x="1110140" y="866108"/>
                        <a:pt x="1116046" y="869251"/>
                      </a:cubicBezTo>
                      <a:cubicBezTo>
                        <a:pt x="1122142" y="872490"/>
                        <a:pt x="1124523" y="879539"/>
                        <a:pt x="1121284" y="885539"/>
                      </a:cubicBezTo>
                      <a:lnTo>
                        <a:pt x="1120522" y="886968"/>
                      </a:lnTo>
                      <a:cubicBezTo>
                        <a:pt x="1117189" y="892778"/>
                        <a:pt x="1109664" y="894874"/>
                        <a:pt x="1103758" y="891540"/>
                      </a:cubicBezTo>
                      <a:cubicBezTo>
                        <a:pt x="1103377" y="891254"/>
                        <a:pt x="1102996" y="890969"/>
                        <a:pt x="1102615" y="890683"/>
                      </a:cubicBezTo>
                      <a:close/>
                      <a:moveTo>
                        <a:pt x="196026" y="174593"/>
                      </a:moveTo>
                      <a:cubicBezTo>
                        <a:pt x="195359" y="174117"/>
                        <a:pt x="194692" y="173546"/>
                        <a:pt x="194121" y="172879"/>
                      </a:cubicBezTo>
                      <a:cubicBezTo>
                        <a:pt x="189644" y="167831"/>
                        <a:pt x="190120" y="160020"/>
                        <a:pt x="195168" y="155543"/>
                      </a:cubicBezTo>
                      <a:lnTo>
                        <a:pt x="195740" y="154972"/>
                      </a:lnTo>
                      <a:cubicBezTo>
                        <a:pt x="200693" y="150305"/>
                        <a:pt x="208503" y="150495"/>
                        <a:pt x="213171" y="155448"/>
                      </a:cubicBezTo>
                      <a:cubicBezTo>
                        <a:pt x="217838" y="160401"/>
                        <a:pt x="217647" y="168212"/>
                        <a:pt x="212694" y="172879"/>
                      </a:cubicBezTo>
                      <a:lnTo>
                        <a:pt x="211552" y="174022"/>
                      </a:lnTo>
                      <a:cubicBezTo>
                        <a:pt x="207075" y="177832"/>
                        <a:pt x="200598" y="177927"/>
                        <a:pt x="196026" y="174593"/>
                      </a:cubicBezTo>
                      <a:close/>
                      <a:moveTo>
                        <a:pt x="1120046" y="856679"/>
                      </a:moveTo>
                      <a:cubicBezTo>
                        <a:pt x="1115379" y="853154"/>
                        <a:pt x="1113664" y="846677"/>
                        <a:pt x="1116427" y="841343"/>
                      </a:cubicBezTo>
                      <a:cubicBezTo>
                        <a:pt x="1119284" y="835152"/>
                        <a:pt x="1126714" y="832104"/>
                        <a:pt x="1132905" y="834962"/>
                      </a:cubicBezTo>
                      <a:cubicBezTo>
                        <a:pt x="1139001" y="837724"/>
                        <a:pt x="1141954" y="844772"/>
                        <a:pt x="1139096" y="850868"/>
                      </a:cubicBezTo>
                      <a:lnTo>
                        <a:pt x="1138429" y="852392"/>
                      </a:lnTo>
                      <a:cubicBezTo>
                        <a:pt x="1135381" y="858488"/>
                        <a:pt x="1128047" y="860870"/>
                        <a:pt x="1121951" y="857822"/>
                      </a:cubicBezTo>
                      <a:cubicBezTo>
                        <a:pt x="1121189" y="857441"/>
                        <a:pt x="1120618" y="857060"/>
                        <a:pt x="1120046" y="856679"/>
                      </a:cubicBezTo>
                      <a:close/>
                      <a:moveTo>
                        <a:pt x="225172" y="149733"/>
                      </a:moveTo>
                      <a:cubicBezTo>
                        <a:pt x="224315" y="149066"/>
                        <a:pt x="223458" y="148304"/>
                        <a:pt x="222791" y="147447"/>
                      </a:cubicBezTo>
                      <a:cubicBezTo>
                        <a:pt x="218600" y="142113"/>
                        <a:pt x="219552" y="134398"/>
                        <a:pt x="224791" y="130207"/>
                      </a:cubicBezTo>
                      <a:lnTo>
                        <a:pt x="225458" y="129635"/>
                      </a:lnTo>
                      <a:cubicBezTo>
                        <a:pt x="230697" y="125254"/>
                        <a:pt x="238412" y="126016"/>
                        <a:pt x="242793" y="131159"/>
                      </a:cubicBezTo>
                      <a:cubicBezTo>
                        <a:pt x="247175" y="136303"/>
                        <a:pt x="246413" y="144113"/>
                        <a:pt x="241269" y="148495"/>
                      </a:cubicBezTo>
                      <a:lnTo>
                        <a:pt x="240031" y="149447"/>
                      </a:lnTo>
                      <a:cubicBezTo>
                        <a:pt x="235650" y="152972"/>
                        <a:pt x="229554" y="152972"/>
                        <a:pt x="225172" y="149733"/>
                      </a:cubicBezTo>
                      <a:close/>
                      <a:moveTo>
                        <a:pt x="1135191" y="821531"/>
                      </a:moveTo>
                      <a:cubicBezTo>
                        <a:pt x="1130809" y="818293"/>
                        <a:pt x="1129000" y="812387"/>
                        <a:pt x="1131095" y="807149"/>
                      </a:cubicBezTo>
                      <a:cubicBezTo>
                        <a:pt x="1133572" y="800862"/>
                        <a:pt x="1140906" y="797147"/>
                        <a:pt x="1147192" y="799624"/>
                      </a:cubicBezTo>
                      <a:cubicBezTo>
                        <a:pt x="1153479" y="802100"/>
                        <a:pt x="1156908" y="808673"/>
                        <a:pt x="1154431" y="814959"/>
                      </a:cubicBezTo>
                      <a:lnTo>
                        <a:pt x="1153955" y="816102"/>
                      </a:lnTo>
                      <a:cubicBezTo>
                        <a:pt x="1151479" y="822389"/>
                        <a:pt x="1144335" y="825532"/>
                        <a:pt x="1138048" y="823055"/>
                      </a:cubicBezTo>
                      <a:cubicBezTo>
                        <a:pt x="1137001" y="822674"/>
                        <a:pt x="1136048" y="822103"/>
                        <a:pt x="1135191" y="821531"/>
                      </a:cubicBezTo>
                      <a:close/>
                      <a:moveTo>
                        <a:pt x="255843" y="126873"/>
                      </a:moveTo>
                      <a:cubicBezTo>
                        <a:pt x="254795" y="126111"/>
                        <a:pt x="253842" y="125158"/>
                        <a:pt x="253080" y="124016"/>
                      </a:cubicBezTo>
                      <a:cubicBezTo>
                        <a:pt x="249175" y="118396"/>
                        <a:pt x="250604" y="110776"/>
                        <a:pt x="256128" y="106966"/>
                      </a:cubicBezTo>
                      <a:lnTo>
                        <a:pt x="257081" y="106299"/>
                      </a:lnTo>
                      <a:cubicBezTo>
                        <a:pt x="262605" y="102394"/>
                        <a:pt x="270226" y="103727"/>
                        <a:pt x="274226" y="109252"/>
                      </a:cubicBezTo>
                      <a:cubicBezTo>
                        <a:pt x="278131" y="114872"/>
                        <a:pt x="276798" y="122492"/>
                        <a:pt x="271178" y="126397"/>
                      </a:cubicBezTo>
                      <a:lnTo>
                        <a:pt x="270130" y="127159"/>
                      </a:lnTo>
                      <a:cubicBezTo>
                        <a:pt x="265749" y="130112"/>
                        <a:pt x="259939" y="129921"/>
                        <a:pt x="255843" y="126873"/>
                      </a:cubicBezTo>
                      <a:close/>
                      <a:moveTo>
                        <a:pt x="1148050" y="785432"/>
                      </a:moveTo>
                      <a:cubicBezTo>
                        <a:pt x="1143954" y="782384"/>
                        <a:pt x="1142049" y="776954"/>
                        <a:pt x="1143668" y="771716"/>
                      </a:cubicBezTo>
                      <a:lnTo>
                        <a:pt x="1144049" y="770573"/>
                      </a:lnTo>
                      <a:cubicBezTo>
                        <a:pt x="1146145" y="764191"/>
                        <a:pt x="1153098" y="760571"/>
                        <a:pt x="1159480" y="762667"/>
                      </a:cubicBezTo>
                      <a:cubicBezTo>
                        <a:pt x="1165957" y="764762"/>
                        <a:pt x="1169481" y="771716"/>
                        <a:pt x="1167385" y="778097"/>
                      </a:cubicBezTo>
                      <a:lnTo>
                        <a:pt x="1167004" y="779240"/>
                      </a:lnTo>
                      <a:cubicBezTo>
                        <a:pt x="1164909" y="785717"/>
                        <a:pt x="1157956" y="789242"/>
                        <a:pt x="1151479" y="787146"/>
                      </a:cubicBezTo>
                      <a:cubicBezTo>
                        <a:pt x="1150336" y="786860"/>
                        <a:pt x="1149097" y="786194"/>
                        <a:pt x="1148050" y="785432"/>
                      </a:cubicBezTo>
                      <a:close/>
                      <a:moveTo>
                        <a:pt x="288323" y="105442"/>
                      </a:moveTo>
                      <a:cubicBezTo>
                        <a:pt x="287180" y="104585"/>
                        <a:pt x="286132" y="103442"/>
                        <a:pt x="285370" y="102203"/>
                      </a:cubicBezTo>
                      <a:cubicBezTo>
                        <a:pt x="281846" y="96393"/>
                        <a:pt x="283180" y="89154"/>
                        <a:pt x="288990" y="85630"/>
                      </a:cubicBezTo>
                      <a:lnTo>
                        <a:pt x="290133" y="84963"/>
                      </a:lnTo>
                      <a:cubicBezTo>
                        <a:pt x="295943" y="81439"/>
                        <a:pt x="303563" y="83344"/>
                        <a:pt x="306992" y="89154"/>
                      </a:cubicBezTo>
                      <a:cubicBezTo>
                        <a:pt x="310516" y="94964"/>
                        <a:pt x="308611" y="102489"/>
                        <a:pt x="302801" y="106013"/>
                      </a:cubicBezTo>
                      <a:cubicBezTo>
                        <a:pt x="298229" y="108680"/>
                        <a:pt x="292324" y="108395"/>
                        <a:pt x="288323" y="105442"/>
                      </a:cubicBezTo>
                      <a:close/>
                      <a:moveTo>
                        <a:pt x="1158527" y="748665"/>
                      </a:moveTo>
                      <a:cubicBezTo>
                        <a:pt x="1154622" y="745808"/>
                        <a:pt x="1152622" y="740759"/>
                        <a:pt x="1153955" y="735806"/>
                      </a:cubicBezTo>
                      <a:cubicBezTo>
                        <a:pt x="1155670" y="729234"/>
                        <a:pt x="1162432" y="724662"/>
                        <a:pt x="1169005" y="726281"/>
                      </a:cubicBezTo>
                      <a:cubicBezTo>
                        <a:pt x="1175577" y="727901"/>
                        <a:pt x="1179673" y="734092"/>
                        <a:pt x="1178053" y="740664"/>
                      </a:cubicBezTo>
                      <a:lnTo>
                        <a:pt x="1177768" y="741902"/>
                      </a:lnTo>
                      <a:cubicBezTo>
                        <a:pt x="1176053" y="748475"/>
                        <a:pt x="1169386" y="752475"/>
                        <a:pt x="1162813" y="750856"/>
                      </a:cubicBezTo>
                      <a:cubicBezTo>
                        <a:pt x="1161194" y="750284"/>
                        <a:pt x="1159765" y="749618"/>
                        <a:pt x="1158527" y="748665"/>
                      </a:cubicBezTo>
                      <a:close/>
                      <a:moveTo>
                        <a:pt x="321756" y="86868"/>
                      </a:moveTo>
                      <a:cubicBezTo>
                        <a:pt x="320327" y="85820"/>
                        <a:pt x="319184" y="84487"/>
                        <a:pt x="318327" y="82868"/>
                      </a:cubicBezTo>
                      <a:cubicBezTo>
                        <a:pt x="315183" y="76867"/>
                        <a:pt x="317088" y="69628"/>
                        <a:pt x="323184" y="66485"/>
                      </a:cubicBezTo>
                      <a:lnTo>
                        <a:pt x="324613" y="65723"/>
                      </a:lnTo>
                      <a:cubicBezTo>
                        <a:pt x="330709" y="62770"/>
                        <a:pt x="338043" y="65341"/>
                        <a:pt x="341091" y="71438"/>
                      </a:cubicBezTo>
                      <a:cubicBezTo>
                        <a:pt x="344044" y="77534"/>
                        <a:pt x="341473" y="84868"/>
                        <a:pt x="335377" y="87821"/>
                      </a:cubicBezTo>
                      <a:cubicBezTo>
                        <a:pt x="330900" y="90202"/>
                        <a:pt x="325566" y="89726"/>
                        <a:pt x="321756" y="86868"/>
                      </a:cubicBezTo>
                      <a:close/>
                      <a:moveTo>
                        <a:pt x="1166528" y="711232"/>
                      </a:moveTo>
                      <a:cubicBezTo>
                        <a:pt x="1162909" y="708565"/>
                        <a:pt x="1160908" y="704088"/>
                        <a:pt x="1161670" y="699421"/>
                      </a:cubicBezTo>
                      <a:lnTo>
                        <a:pt x="1161956" y="697992"/>
                      </a:lnTo>
                      <a:cubicBezTo>
                        <a:pt x="1163194" y="691325"/>
                        <a:pt x="1169576" y="686848"/>
                        <a:pt x="1176244" y="688086"/>
                      </a:cubicBezTo>
                      <a:cubicBezTo>
                        <a:pt x="1182911" y="689324"/>
                        <a:pt x="1187293" y="695706"/>
                        <a:pt x="1186150" y="702374"/>
                      </a:cubicBezTo>
                      <a:lnTo>
                        <a:pt x="1185959" y="703326"/>
                      </a:lnTo>
                      <a:cubicBezTo>
                        <a:pt x="1184911" y="709994"/>
                        <a:pt x="1178530" y="714566"/>
                        <a:pt x="1171862" y="713423"/>
                      </a:cubicBezTo>
                      <a:cubicBezTo>
                        <a:pt x="1169767" y="713232"/>
                        <a:pt x="1168052" y="712375"/>
                        <a:pt x="1166528" y="711232"/>
                      </a:cubicBezTo>
                      <a:close/>
                      <a:moveTo>
                        <a:pt x="356332" y="70485"/>
                      </a:moveTo>
                      <a:cubicBezTo>
                        <a:pt x="354712" y="69247"/>
                        <a:pt x="353474" y="67723"/>
                        <a:pt x="352617" y="65818"/>
                      </a:cubicBezTo>
                      <a:cubicBezTo>
                        <a:pt x="349855" y="59627"/>
                        <a:pt x="352236" y="52483"/>
                        <a:pt x="358522" y="49721"/>
                      </a:cubicBezTo>
                      <a:lnTo>
                        <a:pt x="360046" y="49054"/>
                      </a:lnTo>
                      <a:cubicBezTo>
                        <a:pt x="366333" y="46482"/>
                        <a:pt x="373477" y="49530"/>
                        <a:pt x="376048" y="55816"/>
                      </a:cubicBezTo>
                      <a:cubicBezTo>
                        <a:pt x="378620" y="62103"/>
                        <a:pt x="375572" y="69247"/>
                        <a:pt x="369285" y="71819"/>
                      </a:cubicBezTo>
                      <a:cubicBezTo>
                        <a:pt x="364904" y="73819"/>
                        <a:pt x="359951" y="73152"/>
                        <a:pt x="356332" y="70485"/>
                      </a:cubicBezTo>
                      <a:close/>
                      <a:moveTo>
                        <a:pt x="1172053" y="673418"/>
                      </a:moveTo>
                      <a:cubicBezTo>
                        <a:pt x="1168719" y="670941"/>
                        <a:pt x="1166719" y="666845"/>
                        <a:pt x="1167100" y="662464"/>
                      </a:cubicBezTo>
                      <a:lnTo>
                        <a:pt x="1167290" y="660940"/>
                      </a:lnTo>
                      <a:cubicBezTo>
                        <a:pt x="1168052" y="654177"/>
                        <a:pt x="1174148" y="649319"/>
                        <a:pt x="1180911" y="650176"/>
                      </a:cubicBezTo>
                      <a:cubicBezTo>
                        <a:pt x="1187674" y="650939"/>
                        <a:pt x="1192531" y="657130"/>
                        <a:pt x="1191674" y="663797"/>
                      </a:cubicBezTo>
                      <a:lnTo>
                        <a:pt x="1191579" y="664750"/>
                      </a:lnTo>
                      <a:cubicBezTo>
                        <a:pt x="1191007" y="671513"/>
                        <a:pt x="1185007" y="676561"/>
                        <a:pt x="1178244" y="675894"/>
                      </a:cubicBezTo>
                      <a:cubicBezTo>
                        <a:pt x="1175863" y="675608"/>
                        <a:pt x="1173767" y="674751"/>
                        <a:pt x="1172053" y="673418"/>
                      </a:cubicBezTo>
                      <a:close/>
                      <a:moveTo>
                        <a:pt x="391764" y="56674"/>
                      </a:moveTo>
                      <a:cubicBezTo>
                        <a:pt x="389859" y="55245"/>
                        <a:pt x="388335" y="53340"/>
                        <a:pt x="387574" y="50959"/>
                      </a:cubicBezTo>
                      <a:cubicBezTo>
                        <a:pt x="385287" y="44577"/>
                        <a:pt x="388621" y="37529"/>
                        <a:pt x="395003" y="35243"/>
                      </a:cubicBezTo>
                      <a:lnTo>
                        <a:pt x="396146" y="34862"/>
                      </a:lnTo>
                      <a:cubicBezTo>
                        <a:pt x="402528" y="32576"/>
                        <a:pt x="409576" y="35909"/>
                        <a:pt x="411862" y="42291"/>
                      </a:cubicBezTo>
                      <a:cubicBezTo>
                        <a:pt x="414148" y="48673"/>
                        <a:pt x="410814" y="55721"/>
                        <a:pt x="404433" y="58007"/>
                      </a:cubicBezTo>
                      <a:lnTo>
                        <a:pt x="403290" y="58388"/>
                      </a:lnTo>
                      <a:cubicBezTo>
                        <a:pt x="399194" y="59817"/>
                        <a:pt x="394908" y="59055"/>
                        <a:pt x="391764" y="56674"/>
                      </a:cubicBezTo>
                      <a:close/>
                      <a:moveTo>
                        <a:pt x="1175005" y="635318"/>
                      </a:moveTo>
                      <a:cubicBezTo>
                        <a:pt x="1171862" y="632936"/>
                        <a:pt x="1169862" y="629126"/>
                        <a:pt x="1170052" y="624935"/>
                      </a:cubicBezTo>
                      <a:cubicBezTo>
                        <a:pt x="1170052" y="624935"/>
                        <a:pt x="1170148" y="623602"/>
                        <a:pt x="1170148" y="623602"/>
                      </a:cubicBezTo>
                      <a:cubicBezTo>
                        <a:pt x="1170433" y="616839"/>
                        <a:pt x="1176244" y="611600"/>
                        <a:pt x="1183102" y="611981"/>
                      </a:cubicBezTo>
                      <a:cubicBezTo>
                        <a:pt x="1189864" y="612267"/>
                        <a:pt x="1195103" y="618077"/>
                        <a:pt x="1194722" y="624840"/>
                      </a:cubicBezTo>
                      <a:lnTo>
                        <a:pt x="1194627" y="625983"/>
                      </a:lnTo>
                      <a:cubicBezTo>
                        <a:pt x="1194341" y="632746"/>
                        <a:pt x="1188626" y="638080"/>
                        <a:pt x="1181863" y="637794"/>
                      </a:cubicBezTo>
                      <a:cubicBezTo>
                        <a:pt x="1179292" y="637604"/>
                        <a:pt x="1176910" y="636746"/>
                        <a:pt x="1175005" y="635318"/>
                      </a:cubicBezTo>
                      <a:close/>
                      <a:moveTo>
                        <a:pt x="428531" y="44482"/>
                      </a:moveTo>
                      <a:cubicBezTo>
                        <a:pt x="426531" y="42958"/>
                        <a:pt x="425007" y="40862"/>
                        <a:pt x="424245" y="38386"/>
                      </a:cubicBezTo>
                      <a:cubicBezTo>
                        <a:pt x="422340" y="31814"/>
                        <a:pt x="425578" y="25241"/>
                        <a:pt x="432151" y="23336"/>
                      </a:cubicBezTo>
                      <a:lnTo>
                        <a:pt x="433389" y="23051"/>
                      </a:lnTo>
                      <a:cubicBezTo>
                        <a:pt x="439961" y="21241"/>
                        <a:pt x="446724" y="24955"/>
                        <a:pt x="448533" y="31623"/>
                      </a:cubicBezTo>
                      <a:cubicBezTo>
                        <a:pt x="450343" y="38195"/>
                        <a:pt x="446533" y="44958"/>
                        <a:pt x="439961" y="46768"/>
                      </a:cubicBezTo>
                      <a:cubicBezTo>
                        <a:pt x="436056" y="47720"/>
                        <a:pt x="431769" y="46863"/>
                        <a:pt x="428531" y="44482"/>
                      </a:cubicBezTo>
                      <a:close/>
                      <a:moveTo>
                        <a:pt x="1175577" y="597027"/>
                      </a:moveTo>
                      <a:cubicBezTo>
                        <a:pt x="1172624" y="594836"/>
                        <a:pt x="1170624" y="591312"/>
                        <a:pt x="1170529" y="587312"/>
                      </a:cubicBezTo>
                      <a:cubicBezTo>
                        <a:pt x="1170433" y="580549"/>
                        <a:pt x="1175767" y="574358"/>
                        <a:pt x="1182530" y="574167"/>
                      </a:cubicBezTo>
                      <a:cubicBezTo>
                        <a:pt x="1189293" y="574072"/>
                        <a:pt x="1194913" y="578834"/>
                        <a:pt x="1195103" y="585597"/>
                      </a:cubicBezTo>
                      <a:lnTo>
                        <a:pt x="1195103" y="586931"/>
                      </a:lnTo>
                      <a:cubicBezTo>
                        <a:pt x="1195198" y="593693"/>
                        <a:pt x="1189769" y="599313"/>
                        <a:pt x="1183006" y="599408"/>
                      </a:cubicBezTo>
                      <a:cubicBezTo>
                        <a:pt x="1180244" y="599504"/>
                        <a:pt x="1177672" y="598551"/>
                        <a:pt x="1175577" y="597027"/>
                      </a:cubicBezTo>
                      <a:close/>
                      <a:moveTo>
                        <a:pt x="465393" y="35624"/>
                      </a:moveTo>
                      <a:cubicBezTo>
                        <a:pt x="463011" y="33909"/>
                        <a:pt x="461297" y="31337"/>
                        <a:pt x="460630" y="28289"/>
                      </a:cubicBezTo>
                      <a:cubicBezTo>
                        <a:pt x="459202" y="21622"/>
                        <a:pt x="463488" y="15049"/>
                        <a:pt x="470155" y="13716"/>
                      </a:cubicBezTo>
                      <a:lnTo>
                        <a:pt x="471203" y="13430"/>
                      </a:lnTo>
                      <a:cubicBezTo>
                        <a:pt x="477775" y="11906"/>
                        <a:pt x="484348" y="16097"/>
                        <a:pt x="485872" y="22765"/>
                      </a:cubicBezTo>
                      <a:cubicBezTo>
                        <a:pt x="487396" y="29432"/>
                        <a:pt x="483205" y="36005"/>
                        <a:pt x="476537" y="37529"/>
                      </a:cubicBezTo>
                      <a:lnTo>
                        <a:pt x="475204" y="37814"/>
                      </a:lnTo>
                      <a:cubicBezTo>
                        <a:pt x="471584" y="38481"/>
                        <a:pt x="468060" y="37624"/>
                        <a:pt x="465393" y="35624"/>
                      </a:cubicBezTo>
                      <a:close/>
                      <a:moveTo>
                        <a:pt x="1173577" y="558832"/>
                      </a:moveTo>
                      <a:cubicBezTo>
                        <a:pt x="1170814" y="556736"/>
                        <a:pt x="1168909" y="553498"/>
                        <a:pt x="1168624" y="549783"/>
                      </a:cubicBezTo>
                      <a:cubicBezTo>
                        <a:pt x="1167957" y="543020"/>
                        <a:pt x="1172910" y="536639"/>
                        <a:pt x="1179673" y="535877"/>
                      </a:cubicBezTo>
                      <a:cubicBezTo>
                        <a:pt x="1186435" y="535305"/>
                        <a:pt x="1192341" y="539782"/>
                        <a:pt x="1193008" y="546545"/>
                      </a:cubicBezTo>
                      <a:lnTo>
                        <a:pt x="1193103" y="548164"/>
                      </a:lnTo>
                      <a:cubicBezTo>
                        <a:pt x="1193579" y="554927"/>
                        <a:pt x="1188436" y="560832"/>
                        <a:pt x="1181578" y="561213"/>
                      </a:cubicBezTo>
                      <a:cubicBezTo>
                        <a:pt x="1178720" y="561404"/>
                        <a:pt x="1175863" y="560451"/>
                        <a:pt x="1173577" y="558832"/>
                      </a:cubicBezTo>
                      <a:close/>
                      <a:moveTo>
                        <a:pt x="503398" y="28385"/>
                      </a:moveTo>
                      <a:cubicBezTo>
                        <a:pt x="500921" y="26575"/>
                        <a:pt x="499111" y="23908"/>
                        <a:pt x="498635" y="20669"/>
                      </a:cubicBezTo>
                      <a:cubicBezTo>
                        <a:pt x="497587" y="13907"/>
                        <a:pt x="501683" y="7715"/>
                        <a:pt x="508446" y="6668"/>
                      </a:cubicBezTo>
                      <a:lnTo>
                        <a:pt x="510065" y="6477"/>
                      </a:lnTo>
                      <a:cubicBezTo>
                        <a:pt x="516828" y="5525"/>
                        <a:pt x="523019" y="10382"/>
                        <a:pt x="523876" y="17050"/>
                      </a:cubicBezTo>
                      <a:cubicBezTo>
                        <a:pt x="524733" y="23813"/>
                        <a:pt x="519971" y="29908"/>
                        <a:pt x="513208" y="30861"/>
                      </a:cubicBezTo>
                      <a:cubicBezTo>
                        <a:pt x="509589" y="31337"/>
                        <a:pt x="506064" y="30385"/>
                        <a:pt x="503398" y="28385"/>
                      </a:cubicBezTo>
                      <a:close/>
                      <a:moveTo>
                        <a:pt x="1169195" y="520732"/>
                      </a:moveTo>
                      <a:cubicBezTo>
                        <a:pt x="1166719" y="518827"/>
                        <a:pt x="1164909" y="516160"/>
                        <a:pt x="1164337" y="512826"/>
                      </a:cubicBezTo>
                      <a:lnTo>
                        <a:pt x="1164147" y="511493"/>
                      </a:lnTo>
                      <a:cubicBezTo>
                        <a:pt x="1163194" y="504730"/>
                        <a:pt x="1167766" y="498538"/>
                        <a:pt x="1174529" y="497491"/>
                      </a:cubicBezTo>
                      <a:cubicBezTo>
                        <a:pt x="1181292" y="496443"/>
                        <a:pt x="1187483" y="501110"/>
                        <a:pt x="1188531" y="507873"/>
                      </a:cubicBezTo>
                      <a:lnTo>
                        <a:pt x="1188721" y="509016"/>
                      </a:lnTo>
                      <a:cubicBezTo>
                        <a:pt x="1189769" y="515779"/>
                        <a:pt x="1185197" y="521970"/>
                        <a:pt x="1178530" y="523113"/>
                      </a:cubicBezTo>
                      <a:cubicBezTo>
                        <a:pt x="1175005" y="523589"/>
                        <a:pt x="1171767" y="522637"/>
                        <a:pt x="1169195" y="520732"/>
                      </a:cubicBezTo>
                      <a:close/>
                      <a:moveTo>
                        <a:pt x="541021" y="24194"/>
                      </a:moveTo>
                      <a:cubicBezTo>
                        <a:pt x="538259" y="22193"/>
                        <a:pt x="536354" y="18955"/>
                        <a:pt x="536068" y="15240"/>
                      </a:cubicBezTo>
                      <a:cubicBezTo>
                        <a:pt x="535592" y="8477"/>
                        <a:pt x="540640" y="2572"/>
                        <a:pt x="547403" y="2096"/>
                      </a:cubicBezTo>
                      <a:lnTo>
                        <a:pt x="548260" y="2000"/>
                      </a:lnTo>
                      <a:cubicBezTo>
                        <a:pt x="555023" y="1238"/>
                        <a:pt x="561119" y="6191"/>
                        <a:pt x="561786" y="12954"/>
                      </a:cubicBezTo>
                      <a:cubicBezTo>
                        <a:pt x="562453" y="19717"/>
                        <a:pt x="557595" y="25718"/>
                        <a:pt x="550832" y="26480"/>
                      </a:cubicBezTo>
                      <a:lnTo>
                        <a:pt x="549213" y="26670"/>
                      </a:lnTo>
                      <a:cubicBezTo>
                        <a:pt x="546165" y="26765"/>
                        <a:pt x="543307" y="25908"/>
                        <a:pt x="541021" y="24194"/>
                      </a:cubicBezTo>
                      <a:close/>
                      <a:moveTo>
                        <a:pt x="1162242" y="483108"/>
                      </a:moveTo>
                      <a:cubicBezTo>
                        <a:pt x="1159861" y="481394"/>
                        <a:pt x="1158146" y="478822"/>
                        <a:pt x="1157479" y="475679"/>
                      </a:cubicBezTo>
                      <a:cubicBezTo>
                        <a:pt x="1156146" y="469106"/>
                        <a:pt x="1160242" y="462058"/>
                        <a:pt x="1166814" y="460629"/>
                      </a:cubicBezTo>
                      <a:cubicBezTo>
                        <a:pt x="1173386" y="459200"/>
                        <a:pt x="1179768" y="462725"/>
                        <a:pt x="1181197" y="469392"/>
                      </a:cubicBezTo>
                      <a:cubicBezTo>
                        <a:pt x="1181197" y="469487"/>
                        <a:pt x="1181482" y="470726"/>
                        <a:pt x="1181482" y="470821"/>
                      </a:cubicBezTo>
                      <a:cubicBezTo>
                        <a:pt x="1182816" y="477488"/>
                        <a:pt x="1178530" y="483965"/>
                        <a:pt x="1171862" y="485299"/>
                      </a:cubicBezTo>
                      <a:cubicBezTo>
                        <a:pt x="1168528" y="486061"/>
                        <a:pt x="1165004" y="485108"/>
                        <a:pt x="1162242" y="483108"/>
                      </a:cubicBezTo>
                      <a:close/>
                      <a:moveTo>
                        <a:pt x="579979" y="22003"/>
                      </a:moveTo>
                      <a:cubicBezTo>
                        <a:pt x="577026" y="19812"/>
                        <a:pt x="575026" y="16383"/>
                        <a:pt x="574930" y="12478"/>
                      </a:cubicBezTo>
                      <a:cubicBezTo>
                        <a:pt x="574835" y="5715"/>
                        <a:pt x="579598" y="95"/>
                        <a:pt x="586360" y="0"/>
                      </a:cubicBezTo>
                      <a:cubicBezTo>
                        <a:pt x="586360" y="0"/>
                        <a:pt x="587694" y="0"/>
                        <a:pt x="587789" y="0"/>
                      </a:cubicBezTo>
                      <a:cubicBezTo>
                        <a:pt x="594552" y="0"/>
                        <a:pt x="600171" y="5334"/>
                        <a:pt x="600171" y="12192"/>
                      </a:cubicBezTo>
                      <a:cubicBezTo>
                        <a:pt x="600267" y="18955"/>
                        <a:pt x="594838" y="24575"/>
                        <a:pt x="588075" y="24670"/>
                      </a:cubicBezTo>
                      <a:cubicBezTo>
                        <a:pt x="585027" y="24575"/>
                        <a:pt x="582169" y="23622"/>
                        <a:pt x="579979" y="22003"/>
                      </a:cubicBezTo>
                      <a:close/>
                      <a:moveTo>
                        <a:pt x="1152907" y="445961"/>
                      </a:moveTo>
                      <a:cubicBezTo>
                        <a:pt x="1150907" y="444437"/>
                        <a:pt x="1149288" y="442341"/>
                        <a:pt x="1148526" y="439769"/>
                      </a:cubicBezTo>
                      <a:lnTo>
                        <a:pt x="1148050" y="438245"/>
                      </a:lnTo>
                      <a:cubicBezTo>
                        <a:pt x="1146240" y="431673"/>
                        <a:pt x="1150050" y="424910"/>
                        <a:pt x="1156622" y="423101"/>
                      </a:cubicBezTo>
                      <a:cubicBezTo>
                        <a:pt x="1163194" y="421291"/>
                        <a:pt x="1169957" y="425101"/>
                        <a:pt x="1171767" y="431673"/>
                      </a:cubicBezTo>
                      <a:lnTo>
                        <a:pt x="1172053" y="432530"/>
                      </a:lnTo>
                      <a:cubicBezTo>
                        <a:pt x="1174053" y="439007"/>
                        <a:pt x="1170433" y="445961"/>
                        <a:pt x="1163956" y="447961"/>
                      </a:cubicBezTo>
                      <a:cubicBezTo>
                        <a:pt x="1160051" y="449104"/>
                        <a:pt x="1155955" y="448247"/>
                        <a:pt x="1152907" y="445961"/>
                      </a:cubicBezTo>
                      <a:close/>
                      <a:moveTo>
                        <a:pt x="618269" y="22574"/>
                      </a:moveTo>
                      <a:cubicBezTo>
                        <a:pt x="615031" y="20193"/>
                        <a:pt x="612935" y="16383"/>
                        <a:pt x="613125" y="12192"/>
                      </a:cubicBezTo>
                      <a:cubicBezTo>
                        <a:pt x="613506" y="5429"/>
                        <a:pt x="618555" y="190"/>
                        <a:pt x="625318" y="572"/>
                      </a:cubicBezTo>
                      <a:cubicBezTo>
                        <a:pt x="625413" y="572"/>
                        <a:pt x="626651" y="572"/>
                        <a:pt x="626746" y="572"/>
                      </a:cubicBezTo>
                      <a:cubicBezTo>
                        <a:pt x="633509" y="953"/>
                        <a:pt x="638652" y="6763"/>
                        <a:pt x="638271" y="13526"/>
                      </a:cubicBezTo>
                      <a:cubicBezTo>
                        <a:pt x="637891" y="20288"/>
                        <a:pt x="632080" y="25527"/>
                        <a:pt x="625318" y="25051"/>
                      </a:cubicBezTo>
                      <a:cubicBezTo>
                        <a:pt x="622746" y="24955"/>
                        <a:pt x="620269" y="24003"/>
                        <a:pt x="618269" y="22574"/>
                      </a:cubicBezTo>
                      <a:close/>
                      <a:moveTo>
                        <a:pt x="1141192" y="409480"/>
                      </a:moveTo>
                      <a:cubicBezTo>
                        <a:pt x="1139287" y="408051"/>
                        <a:pt x="1137763" y="406146"/>
                        <a:pt x="1136905" y="403670"/>
                      </a:cubicBezTo>
                      <a:cubicBezTo>
                        <a:pt x="1134619" y="397288"/>
                        <a:pt x="1137667" y="389763"/>
                        <a:pt x="1144049" y="387382"/>
                      </a:cubicBezTo>
                      <a:cubicBezTo>
                        <a:pt x="1150431" y="385001"/>
                        <a:pt x="1157289" y="387763"/>
                        <a:pt x="1159670" y="394240"/>
                      </a:cubicBezTo>
                      <a:lnTo>
                        <a:pt x="1160146" y="395573"/>
                      </a:lnTo>
                      <a:cubicBezTo>
                        <a:pt x="1162432" y="401955"/>
                        <a:pt x="1159003" y="409004"/>
                        <a:pt x="1152622" y="411290"/>
                      </a:cubicBezTo>
                      <a:cubicBezTo>
                        <a:pt x="1148621" y="412623"/>
                        <a:pt x="1144335" y="411861"/>
                        <a:pt x="1141192" y="409480"/>
                      </a:cubicBezTo>
                      <a:close/>
                      <a:moveTo>
                        <a:pt x="655607" y="25622"/>
                      </a:moveTo>
                      <a:cubicBezTo>
                        <a:pt x="652178" y="23051"/>
                        <a:pt x="650178" y="18764"/>
                        <a:pt x="650749" y="14192"/>
                      </a:cubicBezTo>
                      <a:cubicBezTo>
                        <a:pt x="651606" y="7429"/>
                        <a:pt x="657702" y="2667"/>
                        <a:pt x="664465" y="3524"/>
                      </a:cubicBezTo>
                      <a:lnTo>
                        <a:pt x="665323" y="3620"/>
                      </a:lnTo>
                      <a:cubicBezTo>
                        <a:pt x="672085" y="4191"/>
                        <a:pt x="677038" y="10287"/>
                        <a:pt x="676371" y="17050"/>
                      </a:cubicBezTo>
                      <a:cubicBezTo>
                        <a:pt x="675705" y="23813"/>
                        <a:pt x="669704" y="28766"/>
                        <a:pt x="662941" y="28099"/>
                      </a:cubicBezTo>
                      <a:lnTo>
                        <a:pt x="661417" y="27908"/>
                      </a:lnTo>
                      <a:cubicBezTo>
                        <a:pt x="659227" y="27718"/>
                        <a:pt x="657321" y="26861"/>
                        <a:pt x="655607" y="25622"/>
                      </a:cubicBezTo>
                      <a:close/>
                      <a:moveTo>
                        <a:pt x="1127095" y="373856"/>
                      </a:moveTo>
                      <a:cubicBezTo>
                        <a:pt x="1125380" y="372618"/>
                        <a:pt x="1123951" y="370808"/>
                        <a:pt x="1122999" y="368713"/>
                      </a:cubicBezTo>
                      <a:cubicBezTo>
                        <a:pt x="1120237" y="362522"/>
                        <a:pt x="1122904" y="354806"/>
                        <a:pt x="1129095" y="352044"/>
                      </a:cubicBezTo>
                      <a:cubicBezTo>
                        <a:pt x="1135286" y="349282"/>
                        <a:pt x="1142430" y="351758"/>
                        <a:pt x="1145097" y="357950"/>
                      </a:cubicBezTo>
                      <a:lnTo>
                        <a:pt x="1145764" y="359378"/>
                      </a:lnTo>
                      <a:cubicBezTo>
                        <a:pt x="1148335" y="365665"/>
                        <a:pt x="1145287" y="372809"/>
                        <a:pt x="1139096" y="375476"/>
                      </a:cubicBezTo>
                      <a:cubicBezTo>
                        <a:pt x="1135000" y="377095"/>
                        <a:pt x="1130428" y="376333"/>
                        <a:pt x="1127095" y="373856"/>
                      </a:cubicBezTo>
                      <a:close/>
                      <a:moveTo>
                        <a:pt x="693517" y="31147"/>
                      </a:moveTo>
                      <a:cubicBezTo>
                        <a:pt x="689802" y="28385"/>
                        <a:pt x="687802" y="23813"/>
                        <a:pt x="688754" y="18955"/>
                      </a:cubicBezTo>
                      <a:cubicBezTo>
                        <a:pt x="689992" y="12287"/>
                        <a:pt x="696469" y="7906"/>
                        <a:pt x="703137" y="9144"/>
                      </a:cubicBezTo>
                      <a:lnTo>
                        <a:pt x="703994" y="9335"/>
                      </a:lnTo>
                      <a:cubicBezTo>
                        <a:pt x="710757" y="10382"/>
                        <a:pt x="715233" y="16764"/>
                        <a:pt x="714186" y="23432"/>
                      </a:cubicBezTo>
                      <a:cubicBezTo>
                        <a:pt x="713043" y="30099"/>
                        <a:pt x="706756" y="34671"/>
                        <a:pt x="700089" y="33623"/>
                      </a:cubicBezTo>
                      <a:lnTo>
                        <a:pt x="698565" y="33338"/>
                      </a:lnTo>
                      <a:cubicBezTo>
                        <a:pt x="696660" y="32957"/>
                        <a:pt x="694945" y="32195"/>
                        <a:pt x="693517" y="31147"/>
                      </a:cubicBezTo>
                      <a:close/>
                      <a:moveTo>
                        <a:pt x="1110712" y="339281"/>
                      </a:moveTo>
                      <a:cubicBezTo>
                        <a:pt x="1109188" y="338138"/>
                        <a:pt x="1107949" y="336709"/>
                        <a:pt x="1107092" y="334994"/>
                      </a:cubicBezTo>
                      <a:cubicBezTo>
                        <a:pt x="1103949" y="328994"/>
                        <a:pt x="1106044" y="321088"/>
                        <a:pt x="1112045" y="317945"/>
                      </a:cubicBezTo>
                      <a:cubicBezTo>
                        <a:pt x="1118046" y="314801"/>
                        <a:pt x="1125190" y="316706"/>
                        <a:pt x="1128333" y="322707"/>
                      </a:cubicBezTo>
                      <a:lnTo>
                        <a:pt x="1129000" y="323945"/>
                      </a:lnTo>
                      <a:cubicBezTo>
                        <a:pt x="1132048" y="330041"/>
                        <a:pt x="1129666" y="337471"/>
                        <a:pt x="1123570" y="340424"/>
                      </a:cubicBezTo>
                      <a:cubicBezTo>
                        <a:pt x="1119284" y="342519"/>
                        <a:pt x="1114331" y="341948"/>
                        <a:pt x="1110712" y="339281"/>
                      </a:cubicBezTo>
                      <a:close/>
                      <a:moveTo>
                        <a:pt x="730854" y="39053"/>
                      </a:moveTo>
                      <a:cubicBezTo>
                        <a:pt x="727045" y="36195"/>
                        <a:pt x="725044" y="31147"/>
                        <a:pt x="726283" y="26289"/>
                      </a:cubicBezTo>
                      <a:cubicBezTo>
                        <a:pt x="727902" y="19717"/>
                        <a:pt x="734569" y="15621"/>
                        <a:pt x="741142" y="17240"/>
                      </a:cubicBezTo>
                      <a:cubicBezTo>
                        <a:pt x="741142" y="17240"/>
                        <a:pt x="741713" y="17336"/>
                        <a:pt x="741713" y="17431"/>
                      </a:cubicBezTo>
                      <a:cubicBezTo>
                        <a:pt x="748285" y="19050"/>
                        <a:pt x="752667" y="25813"/>
                        <a:pt x="751048" y="32385"/>
                      </a:cubicBezTo>
                      <a:cubicBezTo>
                        <a:pt x="749428" y="38957"/>
                        <a:pt x="743142" y="43053"/>
                        <a:pt x="736570" y="41434"/>
                      </a:cubicBezTo>
                      <a:cubicBezTo>
                        <a:pt x="736570" y="41434"/>
                        <a:pt x="735331" y="41148"/>
                        <a:pt x="735331" y="41148"/>
                      </a:cubicBezTo>
                      <a:cubicBezTo>
                        <a:pt x="733617" y="40767"/>
                        <a:pt x="732093" y="40005"/>
                        <a:pt x="730854" y="39053"/>
                      </a:cubicBezTo>
                      <a:close/>
                      <a:moveTo>
                        <a:pt x="1092043" y="305753"/>
                      </a:moveTo>
                      <a:cubicBezTo>
                        <a:pt x="1090709" y="304800"/>
                        <a:pt x="1089566" y="303562"/>
                        <a:pt x="1088709" y="302038"/>
                      </a:cubicBezTo>
                      <a:cubicBezTo>
                        <a:pt x="1085185" y="296228"/>
                        <a:pt x="1086804" y="288322"/>
                        <a:pt x="1092519" y="284702"/>
                      </a:cubicBezTo>
                      <a:cubicBezTo>
                        <a:pt x="1098329" y="281178"/>
                        <a:pt x="1105663" y="282702"/>
                        <a:pt x="1109188" y="288417"/>
                      </a:cubicBezTo>
                      <a:lnTo>
                        <a:pt x="1109950" y="289751"/>
                      </a:lnTo>
                      <a:cubicBezTo>
                        <a:pt x="1113283" y="295561"/>
                        <a:pt x="1111283" y="303181"/>
                        <a:pt x="1105473" y="306515"/>
                      </a:cubicBezTo>
                      <a:cubicBezTo>
                        <a:pt x="1101091" y="309086"/>
                        <a:pt x="1095853" y="308610"/>
                        <a:pt x="1092043" y="305753"/>
                      </a:cubicBezTo>
                      <a:close/>
                      <a:moveTo>
                        <a:pt x="768573" y="49721"/>
                      </a:moveTo>
                      <a:cubicBezTo>
                        <a:pt x="764383" y="46673"/>
                        <a:pt x="762192" y="41148"/>
                        <a:pt x="763811" y="36005"/>
                      </a:cubicBezTo>
                      <a:cubicBezTo>
                        <a:pt x="765906" y="29528"/>
                        <a:pt x="772193" y="25813"/>
                        <a:pt x="778670" y="27813"/>
                      </a:cubicBezTo>
                      <a:lnTo>
                        <a:pt x="780004" y="28194"/>
                      </a:lnTo>
                      <a:cubicBezTo>
                        <a:pt x="786481" y="30290"/>
                        <a:pt x="789910" y="37243"/>
                        <a:pt x="787814" y="43720"/>
                      </a:cubicBezTo>
                      <a:cubicBezTo>
                        <a:pt x="785719" y="50197"/>
                        <a:pt x="778765" y="53721"/>
                        <a:pt x="772288" y="51626"/>
                      </a:cubicBezTo>
                      <a:cubicBezTo>
                        <a:pt x="770955" y="51149"/>
                        <a:pt x="769717" y="50578"/>
                        <a:pt x="768573" y="49721"/>
                      </a:cubicBezTo>
                      <a:close/>
                      <a:moveTo>
                        <a:pt x="1071278" y="273558"/>
                      </a:moveTo>
                      <a:cubicBezTo>
                        <a:pt x="1070230" y="272796"/>
                        <a:pt x="1069278" y="271748"/>
                        <a:pt x="1068421" y="270605"/>
                      </a:cubicBezTo>
                      <a:cubicBezTo>
                        <a:pt x="1064515" y="265081"/>
                        <a:pt x="1065563" y="256889"/>
                        <a:pt x="1071088" y="252984"/>
                      </a:cubicBezTo>
                      <a:cubicBezTo>
                        <a:pt x="1076707" y="249079"/>
                        <a:pt x="1084042" y="249936"/>
                        <a:pt x="1087947" y="255556"/>
                      </a:cubicBezTo>
                      <a:lnTo>
                        <a:pt x="1088709" y="256699"/>
                      </a:lnTo>
                      <a:cubicBezTo>
                        <a:pt x="1092519" y="262319"/>
                        <a:pt x="1091090" y="269939"/>
                        <a:pt x="1085470" y="273749"/>
                      </a:cubicBezTo>
                      <a:cubicBezTo>
                        <a:pt x="1081089" y="276892"/>
                        <a:pt x="1075279" y="276606"/>
                        <a:pt x="1071278" y="273558"/>
                      </a:cubicBezTo>
                      <a:close/>
                      <a:moveTo>
                        <a:pt x="804578" y="62579"/>
                      </a:moveTo>
                      <a:cubicBezTo>
                        <a:pt x="800196" y="59341"/>
                        <a:pt x="798006" y="53340"/>
                        <a:pt x="800101" y="48101"/>
                      </a:cubicBezTo>
                      <a:cubicBezTo>
                        <a:pt x="802578" y="41720"/>
                        <a:pt x="809150" y="38481"/>
                        <a:pt x="815532" y="40862"/>
                      </a:cubicBezTo>
                      <a:lnTo>
                        <a:pt x="816865" y="41339"/>
                      </a:lnTo>
                      <a:cubicBezTo>
                        <a:pt x="823056" y="43910"/>
                        <a:pt x="826200" y="51054"/>
                        <a:pt x="823628" y="57341"/>
                      </a:cubicBezTo>
                      <a:cubicBezTo>
                        <a:pt x="821056" y="63627"/>
                        <a:pt x="813913" y="66675"/>
                        <a:pt x="807626" y="64103"/>
                      </a:cubicBezTo>
                      <a:cubicBezTo>
                        <a:pt x="806483" y="63818"/>
                        <a:pt x="805531" y="63246"/>
                        <a:pt x="804578" y="62579"/>
                      </a:cubicBezTo>
                      <a:close/>
                      <a:moveTo>
                        <a:pt x="1048323" y="242888"/>
                      </a:moveTo>
                      <a:cubicBezTo>
                        <a:pt x="1047466" y="242221"/>
                        <a:pt x="1046704" y="241459"/>
                        <a:pt x="1045942" y="240602"/>
                      </a:cubicBezTo>
                      <a:cubicBezTo>
                        <a:pt x="1041655" y="235363"/>
                        <a:pt x="1042131" y="227171"/>
                        <a:pt x="1047370" y="222885"/>
                      </a:cubicBezTo>
                      <a:cubicBezTo>
                        <a:pt x="1052704" y="218599"/>
                        <a:pt x="1060134" y="219075"/>
                        <a:pt x="1064325" y="224314"/>
                      </a:cubicBezTo>
                      <a:lnTo>
                        <a:pt x="1065182" y="225457"/>
                      </a:lnTo>
                      <a:cubicBezTo>
                        <a:pt x="1069373" y="230791"/>
                        <a:pt x="1068516" y="238506"/>
                        <a:pt x="1063087" y="242697"/>
                      </a:cubicBezTo>
                      <a:cubicBezTo>
                        <a:pt x="1058800" y="246126"/>
                        <a:pt x="1052704" y="246031"/>
                        <a:pt x="1048323" y="242888"/>
                      </a:cubicBezTo>
                      <a:close/>
                      <a:moveTo>
                        <a:pt x="839916" y="77915"/>
                      </a:moveTo>
                      <a:cubicBezTo>
                        <a:pt x="835248" y="74486"/>
                        <a:pt x="833153" y="68009"/>
                        <a:pt x="835629" y="62579"/>
                      </a:cubicBezTo>
                      <a:cubicBezTo>
                        <a:pt x="838487" y="56388"/>
                        <a:pt x="845250" y="53531"/>
                        <a:pt x="851441" y="56388"/>
                      </a:cubicBezTo>
                      <a:cubicBezTo>
                        <a:pt x="851441" y="56388"/>
                        <a:pt x="852298" y="56769"/>
                        <a:pt x="852298" y="56864"/>
                      </a:cubicBezTo>
                      <a:cubicBezTo>
                        <a:pt x="858394" y="59817"/>
                        <a:pt x="861156" y="67247"/>
                        <a:pt x="858299" y="73343"/>
                      </a:cubicBezTo>
                      <a:cubicBezTo>
                        <a:pt x="855346" y="79534"/>
                        <a:pt x="848202" y="82201"/>
                        <a:pt x="842106" y="79248"/>
                      </a:cubicBezTo>
                      <a:cubicBezTo>
                        <a:pt x="841345" y="78772"/>
                        <a:pt x="840583" y="78391"/>
                        <a:pt x="839916" y="77915"/>
                      </a:cubicBezTo>
                      <a:close/>
                      <a:moveTo>
                        <a:pt x="1023558" y="213741"/>
                      </a:moveTo>
                      <a:cubicBezTo>
                        <a:pt x="1022891" y="213265"/>
                        <a:pt x="1022320" y="212789"/>
                        <a:pt x="1021748" y="212122"/>
                      </a:cubicBezTo>
                      <a:cubicBezTo>
                        <a:pt x="1017176" y="207169"/>
                        <a:pt x="1017081" y="198882"/>
                        <a:pt x="1022129" y="194310"/>
                      </a:cubicBezTo>
                      <a:cubicBezTo>
                        <a:pt x="1027082" y="189738"/>
                        <a:pt x="1034607" y="189738"/>
                        <a:pt x="1039083" y="194596"/>
                      </a:cubicBezTo>
                      <a:lnTo>
                        <a:pt x="1039941" y="195548"/>
                      </a:lnTo>
                      <a:cubicBezTo>
                        <a:pt x="1044513" y="200501"/>
                        <a:pt x="1044132" y="208312"/>
                        <a:pt x="1039083" y="212884"/>
                      </a:cubicBezTo>
                      <a:cubicBezTo>
                        <a:pt x="1034702" y="216980"/>
                        <a:pt x="1028130" y="217170"/>
                        <a:pt x="1023558" y="213741"/>
                      </a:cubicBezTo>
                      <a:close/>
                      <a:moveTo>
                        <a:pt x="872968" y="94774"/>
                      </a:moveTo>
                      <a:cubicBezTo>
                        <a:pt x="868110" y="91154"/>
                        <a:pt x="866491" y="84392"/>
                        <a:pt x="869539" y="78962"/>
                      </a:cubicBezTo>
                      <a:cubicBezTo>
                        <a:pt x="872872" y="73057"/>
                        <a:pt x="880302" y="70866"/>
                        <a:pt x="886302" y="74105"/>
                      </a:cubicBezTo>
                      <a:lnTo>
                        <a:pt x="887350" y="74771"/>
                      </a:lnTo>
                      <a:cubicBezTo>
                        <a:pt x="893256" y="78010"/>
                        <a:pt x="895446" y="85535"/>
                        <a:pt x="892113" y="91440"/>
                      </a:cubicBezTo>
                      <a:cubicBezTo>
                        <a:pt x="888779" y="97441"/>
                        <a:pt x="881350" y="99536"/>
                        <a:pt x="875444" y="96203"/>
                      </a:cubicBezTo>
                      <a:lnTo>
                        <a:pt x="874301" y="95631"/>
                      </a:lnTo>
                      <a:cubicBezTo>
                        <a:pt x="873825" y="95441"/>
                        <a:pt x="873444" y="95155"/>
                        <a:pt x="872968" y="94774"/>
                      </a:cubicBezTo>
                      <a:close/>
                      <a:moveTo>
                        <a:pt x="996888" y="186214"/>
                      </a:moveTo>
                      <a:cubicBezTo>
                        <a:pt x="996507" y="185928"/>
                        <a:pt x="996126" y="185642"/>
                        <a:pt x="995745" y="185261"/>
                      </a:cubicBezTo>
                      <a:lnTo>
                        <a:pt x="994697" y="184309"/>
                      </a:lnTo>
                      <a:cubicBezTo>
                        <a:pt x="989839" y="179642"/>
                        <a:pt x="989744" y="171831"/>
                        <a:pt x="994411" y="166973"/>
                      </a:cubicBezTo>
                      <a:cubicBezTo>
                        <a:pt x="999174" y="162116"/>
                        <a:pt x="1006984" y="162116"/>
                        <a:pt x="1011747" y="166688"/>
                      </a:cubicBezTo>
                      <a:lnTo>
                        <a:pt x="1012509" y="167450"/>
                      </a:lnTo>
                      <a:cubicBezTo>
                        <a:pt x="1017462" y="172117"/>
                        <a:pt x="1017748" y="179832"/>
                        <a:pt x="1012985" y="184785"/>
                      </a:cubicBezTo>
                      <a:cubicBezTo>
                        <a:pt x="1008794" y="189357"/>
                        <a:pt x="1001841" y="189929"/>
                        <a:pt x="996888" y="186214"/>
                      </a:cubicBezTo>
                      <a:close/>
                      <a:moveTo>
                        <a:pt x="906686" y="114967"/>
                      </a:moveTo>
                      <a:cubicBezTo>
                        <a:pt x="901543" y="111157"/>
                        <a:pt x="899733" y="103727"/>
                        <a:pt x="903162" y="98298"/>
                      </a:cubicBezTo>
                      <a:cubicBezTo>
                        <a:pt x="906781" y="92488"/>
                        <a:pt x="913925" y="90583"/>
                        <a:pt x="919735" y="94202"/>
                      </a:cubicBezTo>
                      <a:lnTo>
                        <a:pt x="920973" y="94964"/>
                      </a:lnTo>
                      <a:cubicBezTo>
                        <a:pt x="926308" y="98489"/>
                        <a:pt x="928213" y="106299"/>
                        <a:pt x="924498" y="112014"/>
                      </a:cubicBezTo>
                      <a:cubicBezTo>
                        <a:pt x="920783" y="117729"/>
                        <a:pt x="913163" y="119253"/>
                        <a:pt x="907448" y="115538"/>
                      </a:cubicBezTo>
                      <a:cubicBezTo>
                        <a:pt x="907258" y="115348"/>
                        <a:pt x="906972" y="115157"/>
                        <a:pt x="906686" y="114967"/>
                      </a:cubicBezTo>
                      <a:close/>
                      <a:moveTo>
                        <a:pt x="968408" y="160687"/>
                      </a:moveTo>
                      <a:cubicBezTo>
                        <a:pt x="968218" y="160496"/>
                        <a:pt x="967932" y="160306"/>
                        <a:pt x="967741" y="160115"/>
                      </a:cubicBezTo>
                      <a:cubicBezTo>
                        <a:pt x="962502" y="155734"/>
                        <a:pt x="961455" y="147638"/>
                        <a:pt x="965836" y="142494"/>
                      </a:cubicBezTo>
                      <a:cubicBezTo>
                        <a:pt x="970218" y="137255"/>
                        <a:pt x="977552" y="136112"/>
                        <a:pt x="982791" y="140589"/>
                      </a:cubicBezTo>
                      <a:lnTo>
                        <a:pt x="983839" y="141446"/>
                      </a:lnTo>
                      <a:cubicBezTo>
                        <a:pt x="988982" y="145828"/>
                        <a:pt x="989554" y="153638"/>
                        <a:pt x="985172" y="158782"/>
                      </a:cubicBezTo>
                      <a:cubicBezTo>
                        <a:pt x="980886" y="163735"/>
                        <a:pt x="973552" y="164497"/>
                        <a:pt x="968408" y="160687"/>
                      </a:cubicBezTo>
                      <a:close/>
                      <a:moveTo>
                        <a:pt x="938404" y="136874"/>
                      </a:moveTo>
                      <a:lnTo>
                        <a:pt x="937356" y="136112"/>
                      </a:lnTo>
                      <a:cubicBezTo>
                        <a:pt x="931927" y="132112"/>
                        <a:pt x="930784" y="124396"/>
                        <a:pt x="934785" y="118967"/>
                      </a:cubicBezTo>
                      <a:cubicBezTo>
                        <a:pt x="938881" y="113443"/>
                        <a:pt x="946500" y="112300"/>
                        <a:pt x="952025" y="116396"/>
                      </a:cubicBezTo>
                      <a:lnTo>
                        <a:pt x="953073" y="117158"/>
                      </a:lnTo>
                      <a:cubicBezTo>
                        <a:pt x="958502" y="121158"/>
                        <a:pt x="959645" y="128873"/>
                        <a:pt x="955549" y="134398"/>
                      </a:cubicBezTo>
                      <a:cubicBezTo>
                        <a:pt x="951549" y="139827"/>
                        <a:pt x="943833" y="140970"/>
                        <a:pt x="938404" y="136874"/>
                      </a:cubicBezTo>
                      <a:close/>
                    </a:path>
                  </a:pathLst>
                </a:custGeom>
                <a:solidFill>
                  <a:srgbClr val="FF0000"/>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508" name="Google Shape;897;p19">
                  <a:extLst>
                    <a:ext uri="{FF2B5EF4-FFF2-40B4-BE49-F238E27FC236}">
                      <a16:creationId xmlns:a16="http://schemas.microsoft.com/office/drawing/2014/main" id="{6E3F4C17-CBAC-5787-2350-A273D8D2EF65}"/>
                    </a:ext>
                  </a:extLst>
                </p:cNvPr>
                <p:cNvSpPr>
                  <a:spLocks/>
                </p:cNvSpPr>
                <p:nvPr/>
              </p:nvSpPr>
              <p:spPr bwMode="auto">
                <a:xfrm>
                  <a:off x="5609807" y="3067363"/>
                  <a:ext cx="25350" cy="25281"/>
                </a:xfrm>
                <a:custGeom>
                  <a:avLst/>
                  <a:gdLst>
                    <a:gd name="T0" fmla="*/ 22833 w 25350"/>
                    <a:gd name="T1" fmla="*/ 20166 h 25281"/>
                    <a:gd name="T2" fmla="*/ 5116 w 25350"/>
                    <a:gd name="T3" fmla="*/ 22833 h 25281"/>
                    <a:gd name="T4" fmla="*/ 2449 w 25350"/>
                    <a:gd name="T5" fmla="*/ 5116 h 25281"/>
                    <a:gd name="T6" fmla="*/ 20166 w 25350"/>
                    <a:gd name="T7" fmla="*/ 2449 h 25281"/>
                    <a:gd name="T8" fmla="*/ 22833 w 25350"/>
                    <a:gd name="T9" fmla="*/ 20166 h 252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350" h="25281" extrusionOk="0">
                      <a:moveTo>
                        <a:pt x="22833" y="20166"/>
                      </a:moveTo>
                      <a:cubicBezTo>
                        <a:pt x="18642" y="25785"/>
                        <a:pt x="10736" y="26928"/>
                        <a:pt x="5116" y="22833"/>
                      </a:cubicBezTo>
                      <a:cubicBezTo>
                        <a:pt x="-504" y="18642"/>
                        <a:pt x="-1647" y="10736"/>
                        <a:pt x="2449" y="5116"/>
                      </a:cubicBezTo>
                      <a:cubicBezTo>
                        <a:pt x="6640" y="-504"/>
                        <a:pt x="14546" y="-1647"/>
                        <a:pt x="20166" y="2449"/>
                      </a:cubicBezTo>
                      <a:cubicBezTo>
                        <a:pt x="25881" y="6640"/>
                        <a:pt x="27024" y="14546"/>
                        <a:pt x="22833" y="20166"/>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sp>
            <p:nvSpPr>
              <p:cNvPr id="57506" name="Google Shape;898;p19">
                <a:extLst>
                  <a:ext uri="{FF2B5EF4-FFF2-40B4-BE49-F238E27FC236}">
                    <a16:creationId xmlns:a16="http://schemas.microsoft.com/office/drawing/2014/main" id="{6B5D52DD-0577-0261-9A00-FEC2DF68D4E5}"/>
                  </a:ext>
                </a:extLst>
              </p:cNvPr>
              <p:cNvSpPr>
                <a:spLocks/>
              </p:cNvSpPr>
              <p:nvPr/>
            </p:nvSpPr>
            <p:spPr bwMode="auto">
              <a:xfrm>
                <a:off x="5991760" y="3326389"/>
                <a:ext cx="201832" cy="201860"/>
              </a:xfrm>
              <a:custGeom>
                <a:avLst/>
                <a:gdLst>
                  <a:gd name="T0" fmla="*/ 181995 w 201832"/>
                  <a:gd name="T1" fmla="*/ 160998 h 201860"/>
                  <a:gd name="T2" fmla="*/ 40834 w 201832"/>
                  <a:gd name="T3" fmla="*/ 181953 h 201860"/>
                  <a:gd name="T4" fmla="*/ 19879 w 201832"/>
                  <a:gd name="T5" fmla="*/ 40793 h 201860"/>
                  <a:gd name="T6" fmla="*/ 161039 w 201832"/>
                  <a:gd name="T7" fmla="*/ 19838 h 201860"/>
                  <a:gd name="T8" fmla="*/ 181995 w 201832"/>
                  <a:gd name="T9" fmla="*/ 160998 h 201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1832" h="201860" extrusionOk="0">
                    <a:moveTo>
                      <a:pt x="181995" y="160998"/>
                    </a:moveTo>
                    <a:cubicBezTo>
                      <a:pt x="148752" y="205861"/>
                      <a:pt x="85601" y="215196"/>
                      <a:pt x="40834" y="181953"/>
                    </a:cubicBezTo>
                    <a:cubicBezTo>
                      <a:pt x="-3933" y="148806"/>
                      <a:pt x="-13363" y="85560"/>
                      <a:pt x="19879" y="40793"/>
                    </a:cubicBezTo>
                    <a:cubicBezTo>
                      <a:pt x="53026" y="-3975"/>
                      <a:pt x="116272" y="-13309"/>
                      <a:pt x="161039" y="19838"/>
                    </a:cubicBezTo>
                    <a:cubicBezTo>
                      <a:pt x="205807" y="52985"/>
                      <a:pt x="215141" y="116231"/>
                      <a:pt x="181995" y="160998"/>
                    </a:cubicBezTo>
                    <a:close/>
                  </a:path>
                </a:pathLst>
              </a:custGeom>
              <a:solidFill>
                <a:srgbClr val="FFFFFF"/>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7" name="Google Shape;899;p19">
              <a:extLst>
                <a:ext uri="{FF2B5EF4-FFF2-40B4-BE49-F238E27FC236}">
                  <a16:creationId xmlns:a16="http://schemas.microsoft.com/office/drawing/2014/main" id="{5096BEA8-C7F7-F278-01FE-AB751FEE47B0}"/>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0496" y="2122917"/>
              <a:ext cx="706951" cy="6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oogle Shape;900;p19">
              <a:extLst>
                <a:ext uri="{FF2B5EF4-FFF2-40B4-BE49-F238E27FC236}">
                  <a16:creationId xmlns:a16="http://schemas.microsoft.com/office/drawing/2014/main" id="{0B928AE4-73C1-BA97-2F25-FD6456624D15}"/>
                </a:ext>
              </a:extLst>
            </p:cNvPr>
            <p:cNvGrpSpPr>
              <a:grpSpLocks/>
            </p:cNvGrpSpPr>
            <p:nvPr/>
          </p:nvGrpSpPr>
          <p:grpSpPr bwMode="auto">
            <a:xfrm>
              <a:off x="2729492" y="1928973"/>
              <a:ext cx="558781" cy="556594"/>
              <a:chOff x="5716936" y="3051333"/>
              <a:chExt cx="754761" cy="751808"/>
            </a:xfrm>
          </p:grpSpPr>
          <p:sp>
            <p:nvSpPr>
              <p:cNvPr id="57497" name="Google Shape;901;p19">
                <a:extLst>
                  <a:ext uri="{FF2B5EF4-FFF2-40B4-BE49-F238E27FC236}">
                    <a16:creationId xmlns:a16="http://schemas.microsoft.com/office/drawing/2014/main" id="{0FA0F832-CCC4-3D6C-7CD0-9DCA1CB00178}"/>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98" name="Google Shape;902;p19">
                <a:extLst>
                  <a:ext uri="{FF2B5EF4-FFF2-40B4-BE49-F238E27FC236}">
                    <a16:creationId xmlns:a16="http://schemas.microsoft.com/office/drawing/2014/main" id="{E100FF19-DC7D-80FD-8E30-014540A0082D}"/>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9" name="Google Shape;903;p19">
              <a:extLst>
                <a:ext uri="{FF2B5EF4-FFF2-40B4-BE49-F238E27FC236}">
                  <a16:creationId xmlns:a16="http://schemas.microsoft.com/office/drawing/2014/main" id="{FF0C2031-72C4-8B7A-AB0F-F51CEF078DBD}"/>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9249" y="3272907"/>
              <a:ext cx="817597" cy="81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oogle Shape;904;p19">
              <a:extLst>
                <a:ext uri="{FF2B5EF4-FFF2-40B4-BE49-F238E27FC236}">
                  <a16:creationId xmlns:a16="http://schemas.microsoft.com/office/drawing/2014/main" id="{A8CC4345-67AA-E988-60AA-CEE39D685320}"/>
                </a:ext>
              </a:extLst>
            </p:cNvPr>
            <p:cNvGrpSpPr>
              <a:grpSpLocks/>
            </p:cNvGrpSpPr>
            <p:nvPr/>
          </p:nvGrpSpPr>
          <p:grpSpPr bwMode="auto">
            <a:xfrm>
              <a:off x="2404953" y="1976410"/>
              <a:ext cx="298192" cy="298192"/>
              <a:chOff x="5965824" y="3300412"/>
              <a:chExt cx="255746" cy="255746"/>
            </a:xfrm>
          </p:grpSpPr>
          <p:sp>
            <p:nvSpPr>
              <p:cNvPr id="57490" name="Google Shape;905;p19">
                <a:extLst>
                  <a:ext uri="{FF2B5EF4-FFF2-40B4-BE49-F238E27FC236}">
                    <a16:creationId xmlns:a16="http://schemas.microsoft.com/office/drawing/2014/main" id="{66BB325C-743B-EDC7-2633-BCB7A1793B2E}"/>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1" name="Google Shape;906;p19">
                <a:extLst>
                  <a:ext uri="{FF2B5EF4-FFF2-40B4-BE49-F238E27FC236}">
                    <a16:creationId xmlns:a16="http://schemas.microsoft.com/office/drawing/2014/main" id="{098DCEA9-F94D-21DD-0C64-4141CE511F37}"/>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57492" name="Google Shape;907;p19">
                <a:extLst>
                  <a:ext uri="{FF2B5EF4-FFF2-40B4-BE49-F238E27FC236}">
                    <a16:creationId xmlns:a16="http://schemas.microsoft.com/office/drawing/2014/main" id="{F0DC5A75-6C6D-BAC9-8EC1-E9B3302537B4}"/>
                  </a:ext>
                </a:extLst>
              </p:cNvPr>
              <p:cNvGrpSpPr>
                <a:grpSpLocks/>
              </p:cNvGrpSpPr>
              <p:nvPr/>
            </p:nvGrpSpPr>
            <p:grpSpPr bwMode="auto">
              <a:xfrm>
                <a:off x="6014782" y="3349370"/>
                <a:ext cx="157734" cy="157734"/>
                <a:chOff x="6014782" y="3349370"/>
                <a:chExt cx="157734" cy="157734"/>
              </a:xfrm>
            </p:grpSpPr>
            <p:sp>
              <p:nvSpPr>
                <p:cNvPr id="57495" name="Google Shape;908;p19">
                  <a:extLst>
                    <a:ext uri="{FF2B5EF4-FFF2-40B4-BE49-F238E27FC236}">
                      <a16:creationId xmlns:a16="http://schemas.microsoft.com/office/drawing/2014/main" id="{18D81A07-442C-C968-CB36-36672E25D650}"/>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6" name="Google Shape;909;p19">
                  <a:extLst>
                    <a:ext uri="{FF2B5EF4-FFF2-40B4-BE49-F238E27FC236}">
                      <a16:creationId xmlns:a16="http://schemas.microsoft.com/office/drawing/2014/main" id="{A3CC4898-D88C-2218-E718-F59BEE0070A5}"/>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57493" name="Google Shape;910;p19">
                <a:extLst>
                  <a:ext uri="{FF2B5EF4-FFF2-40B4-BE49-F238E27FC236}">
                    <a16:creationId xmlns:a16="http://schemas.microsoft.com/office/drawing/2014/main" id="{6C6EC9ED-AE60-6632-AB5D-BC045F5DE814}"/>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57494" name="Google Shape;911;p19">
                <a:extLst>
                  <a:ext uri="{FF2B5EF4-FFF2-40B4-BE49-F238E27FC236}">
                    <a16:creationId xmlns:a16="http://schemas.microsoft.com/office/drawing/2014/main" id="{4B31C51D-02FC-3D0A-3C0B-11F13BA5BD05}"/>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pic>
          <p:nvPicPr>
            <p:cNvPr id="11" name="Google Shape;912;p19">
              <a:extLst>
                <a:ext uri="{FF2B5EF4-FFF2-40B4-BE49-F238E27FC236}">
                  <a16:creationId xmlns:a16="http://schemas.microsoft.com/office/drawing/2014/main" id="{1D3ADEC1-DE12-74FD-179A-C3713CEEFF6D}"/>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2685" y="3245424"/>
              <a:ext cx="2190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oogle Shape;913;p19">
              <a:extLst>
                <a:ext uri="{FF2B5EF4-FFF2-40B4-BE49-F238E27FC236}">
                  <a16:creationId xmlns:a16="http://schemas.microsoft.com/office/drawing/2014/main" id="{E3998F98-0256-E352-B93E-84963A99864A}"/>
                </a:ext>
              </a:extLst>
            </p:cNvPr>
            <p:cNvGrpSpPr>
              <a:grpSpLocks/>
            </p:cNvGrpSpPr>
            <p:nvPr/>
          </p:nvGrpSpPr>
          <p:grpSpPr bwMode="auto">
            <a:xfrm>
              <a:off x="3064453" y="4699782"/>
              <a:ext cx="326027" cy="310325"/>
              <a:chOff x="6173853" y="2205325"/>
              <a:chExt cx="691999" cy="658671"/>
            </a:xfrm>
          </p:grpSpPr>
          <p:sp>
            <p:nvSpPr>
              <p:cNvPr id="57488" name="Google Shape;914;p19">
                <a:extLst>
                  <a:ext uri="{FF2B5EF4-FFF2-40B4-BE49-F238E27FC236}">
                    <a16:creationId xmlns:a16="http://schemas.microsoft.com/office/drawing/2014/main" id="{701EEEFA-33E4-ECDE-3E2A-D5E3098AF5B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302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89" name="Google Shape;915;p19">
                <a:extLst>
                  <a:ext uri="{FF2B5EF4-FFF2-40B4-BE49-F238E27FC236}">
                    <a16:creationId xmlns:a16="http://schemas.microsoft.com/office/drawing/2014/main" id="{DE42859E-583B-2A21-BB13-2B61F13FC7FB}"/>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302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grpSp>
          <p:nvGrpSpPr>
            <p:cNvPr id="13" name="Google Shape;916;p19">
              <a:extLst>
                <a:ext uri="{FF2B5EF4-FFF2-40B4-BE49-F238E27FC236}">
                  <a16:creationId xmlns:a16="http://schemas.microsoft.com/office/drawing/2014/main" id="{182494D5-404B-F20E-54A9-ED651789CD13}"/>
                </a:ext>
              </a:extLst>
            </p:cNvPr>
            <p:cNvGrpSpPr>
              <a:grpSpLocks/>
            </p:cNvGrpSpPr>
            <p:nvPr/>
          </p:nvGrpSpPr>
          <p:grpSpPr bwMode="auto">
            <a:xfrm>
              <a:off x="2847290" y="4239413"/>
              <a:ext cx="205237" cy="204433"/>
              <a:chOff x="5716936" y="3051333"/>
              <a:chExt cx="754761" cy="751808"/>
            </a:xfrm>
          </p:grpSpPr>
          <p:sp>
            <p:nvSpPr>
              <p:cNvPr id="57486" name="Google Shape;917;p19">
                <a:extLst>
                  <a:ext uri="{FF2B5EF4-FFF2-40B4-BE49-F238E27FC236}">
                    <a16:creationId xmlns:a16="http://schemas.microsoft.com/office/drawing/2014/main" id="{C5162669-B0A3-2A17-3308-715543F43165}"/>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7487" name="Google Shape;918;p19">
                <a:extLst>
                  <a:ext uri="{FF2B5EF4-FFF2-40B4-BE49-F238E27FC236}">
                    <a16:creationId xmlns:a16="http://schemas.microsoft.com/office/drawing/2014/main" id="{ED85D775-F14C-1A4C-DA26-6A4995251A91}"/>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14" name="Google Shape;919;p19">
              <a:extLst>
                <a:ext uri="{FF2B5EF4-FFF2-40B4-BE49-F238E27FC236}">
                  <a16:creationId xmlns:a16="http://schemas.microsoft.com/office/drawing/2014/main" id="{C4BBF66B-5D6E-17CA-56DD-BA5E1C2A657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9120" y="4121410"/>
              <a:ext cx="188823" cy="186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oogle Shape;920;p19">
              <a:extLst>
                <a:ext uri="{FF2B5EF4-FFF2-40B4-BE49-F238E27FC236}">
                  <a16:creationId xmlns:a16="http://schemas.microsoft.com/office/drawing/2014/main" id="{438B36A6-64E4-235E-8013-E882C71D345B}"/>
                </a:ext>
              </a:extLst>
            </p:cNvPr>
            <p:cNvGrpSpPr>
              <a:grpSpLocks/>
            </p:cNvGrpSpPr>
            <p:nvPr/>
          </p:nvGrpSpPr>
          <p:grpSpPr bwMode="auto">
            <a:xfrm>
              <a:off x="3084403" y="3952670"/>
              <a:ext cx="738418" cy="717723"/>
              <a:chOff x="3003957" y="3390032"/>
              <a:chExt cx="742600" cy="721788"/>
            </a:xfrm>
          </p:grpSpPr>
          <p:sp>
            <p:nvSpPr>
              <p:cNvPr id="53" name="Google Shape;921;p19">
                <a:extLst>
                  <a:ext uri="{FF2B5EF4-FFF2-40B4-BE49-F238E27FC236}">
                    <a16:creationId xmlns:a16="http://schemas.microsoft.com/office/drawing/2014/main" id="{E537DA2B-7757-4FA1-BE41-7499C040C61F}"/>
                  </a:ext>
                </a:extLst>
              </p:cNvPr>
              <p:cNvSpPr>
                <a:spLocks/>
              </p:cNvSpPr>
              <p:nvPr/>
            </p:nvSpPr>
            <p:spPr bwMode="auto">
              <a:xfrm>
                <a:off x="3024769" y="3390032"/>
                <a:ext cx="721788" cy="721788"/>
              </a:xfrm>
              <a:custGeom>
                <a:avLst/>
                <a:gdLst>
                  <a:gd name="T0" fmla="*/ 721788 w 721788"/>
                  <a:gd name="T1" fmla="*/ 360894 h 721788"/>
                  <a:gd name="T2" fmla="*/ 360894 w 721788"/>
                  <a:gd name="T3" fmla="*/ 721789 h 721788"/>
                  <a:gd name="T4" fmla="*/ 0 w 721788"/>
                  <a:gd name="T5" fmla="*/ 360894 h 721788"/>
                  <a:gd name="T6" fmla="*/ 361045 w 721788"/>
                  <a:gd name="T7" fmla="*/ 0 h 721788"/>
                  <a:gd name="T8" fmla="*/ 721788 w 721788"/>
                  <a:gd name="T9" fmla="*/ 360894 h 7217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1788" h="721788" extrusionOk="0">
                    <a:moveTo>
                      <a:pt x="721788" y="360894"/>
                    </a:moveTo>
                    <a:cubicBezTo>
                      <a:pt x="721788" y="560118"/>
                      <a:pt x="560268" y="721789"/>
                      <a:pt x="360894" y="721789"/>
                    </a:cubicBezTo>
                    <a:cubicBezTo>
                      <a:pt x="161671" y="721789"/>
                      <a:pt x="0" y="560268"/>
                      <a:pt x="0" y="360894"/>
                    </a:cubicBezTo>
                    <a:cubicBezTo>
                      <a:pt x="151" y="161520"/>
                      <a:pt x="161822" y="0"/>
                      <a:pt x="361045" y="0"/>
                    </a:cubicBezTo>
                    <a:cubicBezTo>
                      <a:pt x="560268" y="0"/>
                      <a:pt x="721788" y="161520"/>
                      <a:pt x="721788" y="360894"/>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4" name="Google Shape;922;p19">
                <a:extLst>
                  <a:ext uri="{FF2B5EF4-FFF2-40B4-BE49-F238E27FC236}">
                    <a16:creationId xmlns:a16="http://schemas.microsoft.com/office/drawing/2014/main" id="{DB1839F5-72D6-190A-BE10-1053AB766EAA}"/>
                  </a:ext>
                </a:extLst>
              </p:cNvPr>
              <p:cNvSpPr>
                <a:spLocks/>
              </p:cNvSpPr>
              <p:nvPr/>
            </p:nvSpPr>
            <p:spPr bwMode="auto">
              <a:xfrm>
                <a:off x="3041961" y="3407073"/>
                <a:ext cx="687704" cy="687704"/>
              </a:xfrm>
              <a:custGeom>
                <a:avLst/>
                <a:gdLst>
                  <a:gd name="T0" fmla="*/ 687705 w 687704"/>
                  <a:gd name="T1" fmla="*/ 343853 h 687704"/>
                  <a:gd name="T2" fmla="*/ 343852 w 687704"/>
                  <a:gd name="T3" fmla="*/ 687705 h 687704"/>
                  <a:gd name="T4" fmla="*/ 0 w 687704"/>
                  <a:gd name="T5" fmla="*/ 343853 h 687704"/>
                  <a:gd name="T6" fmla="*/ 343852 w 687704"/>
                  <a:gd name="T7" fmla="*/ 0 h 687704"/>
                  <a:gd name="T8" fmla="*/ 687705 w 687704"/>
                  <a:gd name="T9" fmla="*/ 343853 h 6877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7704" h="687704" extrusionOk="0">
                    <a:moveTo>
                      <a:pt x="687705" y="343853"/>
                    </a:moveTo>
                    <a:cubicBezTo>
                      <a:pt x="687705" y="533725"/>
                      <a:pt x="533725" y="687705"/>
                      <a:pt x="343852" y="687705"/>
                    </a:cubicBezTo>
                    <a:cubicBezTo>
                      <a:pt x="153980" y="687705"/>
                      <a:pt x="0" y="533725"/>
                      <a:pt x="0" y="343853"/>
                    </a:cubicBezTo>
                    <a:cubicBezTo>
                      <a:pt x="0" y="153980"/>
                      <a:pt x="153980" y="0"/>
                      <a:pt x="343852" y="0"/>
                    </a:cubicBezTo>
                    <a:cubicBezTo>
                      <a:pt x="533725" y="0"/>
                      <a:pt x="687705" y="153980"/>
                      <a:pt x="687705" y="343853"/>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5" name="Google Shape;923;p19">
                <a:extLst>
                  <a:ext uri="{FF2B5EF4-FFF2-40B4-BE49-F238E27FC236}">
                    <a16:creationId xmlns:a16="http://schemas.microsoft.com/office/drawing/2014/main" id="{C5076896-2622-AC25-FE5A-796D5E08399E}"/>
                  </a:ext>
                </a:extLst>
              </p:cNvPr>
              <p:cNvSpPr>
                <a:spLocks/>
              </p:cNvSpPr>
              <p:nvPr/>
            </p:nvSpPr>
            <p:spPr bwMode="auto">
              <a:xfrm>
                <a:off x="3151451" y="3516563"/>
                <a:ext cx="468725" cy="468725"/>
              </a:xfrm>
              <a:custGeom>
                <a:avLst/>
                <a:gdLst>
                  <a:gd name="T0" fmla="*/ 468725 w 468725"/>
                  <a:gd name="T1" fmla="*/ 234363 h 468725"/>
                  <a:gd name="T2" fmla="*/ 234363 w 468725"/>
                  <a:gd name="T3" fmla="*/ 468725 h 468725"/>
                  <a:gd name="T4" fmla="*/ 0 w 468725"/>
                  <a:gd name="T5" fmla="*/ 234363 h 468725"/>
                  <a:gd name="T6" fmla="*/ 234363 w 468725"/>
                  <a:gd name="T7" fmla="*/ 0 h 468725"/>
                  <a:gd name="T8" fmla="*/ 468725 w 468725"/>
                  <a:gd name="T9" fmla="*/ 234363 h 4687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8725" h="468725" extrusionOk="0">
                    <a:moveTo>
                      <a:pt x="468725" y="234363"/>
                    </a:moveTo>
                    <a:cubicBezTo>
                      <a:pt x="468725" y="363760"/>
                      <a:pt x="363760" y="468725"/>
                      <a:pt x="234363" y="468725"/>
                    </a:cubicBezTo>
                    <a:cubicBezTo>
                      <a:pt x="104965" y="468725"/>
                      <a:pt x="0" y="363760"/>
                      <a:pt x="0" y="234363"/>
                    </a:cubicBezTo>
                    <a:cubicBezTo>
                      <a:pt x="0" y="104815"/>
                      <a:pt x="104965" y="0"/>
                      <a:pt x="234363" y="0"/>
                    </a:cubicBezTo>
                    <a:cubicBezTo>
                      <a:pt x="363760" y="-151"/>
                      <a:pt x="468725" y="104815"/>
                      <a:pt x="468725" y="234363"/>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6" name="Google Shape;924;p19">
                <a:extLst>
                  <a:ext uri="{FF2B5EF4-FFF2-40B4-BE49-F238E27FC236}">
                    <a16:creationId xmlns:a16="http://schemas.microsoft.com/office/drawing/2014/main" id="{02C974A1-6F44-25FE-4B5A-3176F626D9EA}"/>
                  </a:ext>
                </a:extLst>
              </p:cNvPr>
              <p:cNvSpPr>
                <a:spLocks/>
              </p:cNvSpPr>
              <p:nvPr/>
            </p:nvSpPr>
            <p:spPr bwMode="auto">
              <a:xfrm>
                <a:off x="3263203" y="3628315"/>
                <a:ext cx="245221" cy="245221"/>
              </a:xfrm>
              <a:custGeom>
                <a:avLst/>
                <a:gdLst>
                  <a:gd name="T0" fmla="*/ 245221 w 245221"/>
                  <a:gd name="T1" fmla="*/ 122611 h 245221"/>
                  <a:gd name="T2" fmla="*/ 122611 w 245221"/>
                  <a:gd name="T3" fmla="*/ 245221 h 245221"/>
                  <a:gd name="T4" fmla="*/ 0 w 245221"/>
                  <a:gd name="T5" fmla="*/ 122611 h 245221"/>
                  <a:gd name="T6" fmla="*/ 122611 w 245221"/>
                  <a:gd name="T7" fmla="*/ 0 h 245221"/>
                  <a:gd name="T8" fmla="*/ 245221 w 245221"/>
                  <a:gd name="T9" fmla="*/ 122611 h 2452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5221" h="245221" extrusionOk="0">
                    <a:moveTo>
                      <a:pt x="245221" y="122611"/>
                    </a:moveTo>
                    <a:cubicBezTo>
                      <a:pt x="245221" y="190326"/>
                      <a:pt x="190325" y="245221"/>
                      <a:pt x="122611" y="245221"/>
                    </a:cubicBezTo>
                    <a:cubicBezTo>
                      <a:pt x="54896" y="245221"/>
                      <a:pt x="0" y="190326"/>
                      <a:pt x="0" y="122611"/>
                    </a:cubicBezTo>
                    <a:cubicBezTo>
                      <a:pt x="0" y="54896"/>
                      <a:pt x="54896" y="0"/>
                      <a:pt x="122611" y="0"/>
                    </a:cubicBezTo>
                    <a:cubicBezTo>
                      <a:pt x="190325" y="-151"/>
                      <a:pt x="245221" y="54745"/>
                      <a:pt x="245221" y="122611"/>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 name="Google Shape;925;p19">
                <a:extLst>
                  <a:ext uri="{FF2B5EF4-FFF2-40B4-BE49-F238E27FC236}">
                    <a16:creationId xmlns:a16="http://schemas.microsoft.com/office/drawing/2014/main" id="{A95DD4A8-231E-EC3D-A9E4-9BCFB765F687}"/>
                  </a:ext>
                </a:extLst>
              </p:cNvPr>
              <p:cNvSpPr>
                <a:spLocks/>
              </p:cNvSpPr>
              <p:nvPr/>
            </p:nvSpPr>
            <p:spPr bwMode="auto">
              <a:xfrm>
                <a:off x="3292310" y="3657422"/>
                <a:ext cx="187007" cy="187007"/>
              </a:xfrm>
              <a:custGeom>
                <a:avLst/>
                <a:gdLst>
                  <a:gd name="T0" fmla="*/ 187007 w 187007"/>
                  <a:gd name="T1" fmla="*/ 93504 h 187007"/>
                  <a:gd name="T2" fmla="*/ 93504 w 187007"/>
                  <a:gd name="T3" fmla="*/ 187008 h 187007"/>
                  <a:gd name="T4" fmla="*/ 0 w 187007"/>
                  <a:gd name="T5" fmla="*/ 93504 h 187007"/>
                  <a:gd name="T6" fmla="*/ 93504 w 187007"/>
                  <a:gd name="T7" fmla="*/ 0 h 187007"/>
                  <a:gd name="T8" fmla="*/ 187007 w 187007"/>
                  <a:gd name="T9" fmla="*/ 93504 h 1870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007" h="187007" extrusionOk="0">
                    <a:moveTo>
                      <a:pt x="187007" y="93504"/>
                    </a:moveTo>
                    <a:cubicBezTo>
                      <a:pt x="187007" y="145082"/>
                      <a:pt x="145082" y="187008"/>
                      <a:pt x="93504" y="187008"/>
                    </a:cubicBezTo>
                    <a:cubicBezTo>
                      <a:pt x="41926" y="187008"/>
                      <a:pt x="0" y="145082"/>
                      <a:pt x="0" y="93504"/>
                    </a:cubicBezTo>
                    <a:cubicBezTo>
                      <a:pt x="0" y="41926"/>
                      <a:pt x="41926" y="0"/>
                      <a:pt x="93504" y="0"/>
                    </a:cubicBezTo>
                    <a:cubicBezTo>
                      <a:pt x="145082" y="0"/>
                      <a:pt x="187007" y="41775"/>
                      <a:pt x="187007" y="93504"/>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8" name="Google Shape;926;p19">
                <a:extLst>
                  <a:ext uri="{FF2B5EF4-FFF2-40B4-BE49-F238E27FC236}">
                    <a16:creationId xmlns:a16="http://schemas.microsoft.com/office/drawing/2014/main" id="{A427AA34-FC1F-272B-AA50-5E815439E5B2}"/>
                  </a:ext>
                </a:extLst>
              </p:cNvPr>
              <p:cNvSpPr>
                <a:spLocks/>
              </p:cNvSpPr>
              <p:nvPr/>
            </p:nvSpPr>
            <p:spPr bwMode="auto">
              <a:xfrm>
                <a:off x="3314932" y="3680195"/>
                <a:ext cx="141462" cy="141462"/>
              </a:xfrm>
              <a:custGeom>
                <a:avLst/>
                <a:gdLst>
                  <a:gd name="T0" fmla="*/ 141462 w 141462"/>
                  <a:gd name="T1" fmla="*/ 70731 h 141462"/>
                  <a:gd name="T2" fmla="*/ 70731 w 141462"/>
                  <a:gd name="T3" fmla="*/ 141462 h 141462"/>
                  <a:gd name="T4" fmla="*/ 0 w 141462"/>
                  <a:gd name="T5" fmla="*/ 70731 h 141462"/>
                  <a:gd name="T6" fmla="*/ 70731 w 141462"/>
                  <a:gd name="T7" fmla="*/ 0 h 141462"/>
                  <a:gd name="T8" fmla="*/ 141462 w 141462"/>
                  <a:gd name="T9" fmla="*/ 70731 h 141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1462" h="141462" extrusionOk="0">
                    <a:moveTo>
                      <a:pt x="141462" y="70731"/>
                    </a:moveTo>
                    <a:cubicBezTo>
                      <a:pt x="141462" y="109792"/>
                      <a:pt x="109791" y="141462"/>
                      <a:pt x="70731" y="141462"/>
                    </a:cubicBezTo>
                    <a:cubicBezTo>
                      <a:pt x="31671" y="141462"/>
                      <a:pt x="0" y="109792"/>
                      <a:pt x="0" y="70731"/>
                    </a:cubicBezTo>
                    <a:cubicBezTo>
                      <a:pt x="0" y="31671"/>
                      <a:pt x="31671" y="0"/>
                      <a:pt x="70731" y="0"/>
                    </a:cubicBezTo>
                    <a:cubicBezTo>
                      <a:pt x="109791" y="0"/>
                      <a:pt x="141462" y="31671"/>
                      <a:pt x="141462" y="70731"/>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9" name="Google Shape;927;p19">
                <a:extLst>
                  <a:ext uri="{FF2B5EF4-FFF2-40B4-BE49-F238E27FC236}">
                    <a16:creationId xmlns:a16="http://schemas.microsoft.com/office/drawing/2014/main" id="{74D7D1AD-8352-121E-3AB6-CC35B08A1D6E}"/>
                  </a:ext>
                </a:extLst>
              </p:cNvPr>
              <p:cNvSpPr>
                <a:spLocks/>
              </p:cNvSpPr>
              <p:nvPr/>
            </p:nvSpPr>
            <p:spPr bwMode="auto">
              <a:xfrm>
                <a:off x="3349317" y="3539336"/>
                <a:ext cx="72993" cy="72993"/>
              </a:xfrm>
              <a:custGeom>
                <a:avLst/>
                <a:gdLst>
                  <a:gd name="T0" fmla="*/ 72993 w 72993"/>
                  <a:gd name="T1" fmla="*/ 36497 h 72993"/>
                  <a:gd name="T2" fmla="*/ 36497 w 72993"/>
                  <a:gd name="T3" fmla="*/ 72993 h 72993"/>
                  <a:gd name="T4" fmla="*/ 0 w 72993"/>
                  <a:gd name="T5" fmla="*/ 36497 h 72993"/>
                  <a:gd name="T6" fmla="*/ 36497 w 72993"/>
                  <a:gd name="T7" fmla="*/ 0 h 72993"/>
                  <a:gd name="T8" fmla="*/ 72993 w 72993"/>
                  <a:gd name="T9" fmla="*/ 36497 h 72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93" h="72993" extrusionOk="0">
                    <a:moveTo>
                      <a:pt x="72993" y="36497"/>
                    </a:moveTo>
                    <a:cubicBezTo>
                      <a:pt x="72993" y="56706"/>
                      <a:pt x="56705" y="72993"/>
                      <a:pt x="36497" y="72993"/>
                    </a:cubicBezTo>
                    <a:cubicBezTo>
                      <a:pt x="16288" y="72993"/>
                      <a:pt x="0" y="56706"/>
                      <a:pt x="0" y="36497"/>
                    </a:cubicBezTo>
                    <a:cubicBezTo>
                      <a:pt x="0" y="16288"/>
                      <a:pt x="16288" y="0"/>
                      <a:pt x="36497" y="0"/>
                    </a:cubicBezTo>
                    <a:cubicBezTo>
                      <a:pt x="56555" y="0"/>
                      <a:pt x="72993" y="16439"/>
                      <a:pt x="72993" y="36497"/>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0" name="Google Shape;928;p19">
                <a:extLst>
                  <a:ext uri="{FF2B5EF4-FFF2-40B4-BE49-F238E27FC236}">
                    <a16:creationId xmlns:a16="http://schemas.microsoft.com/office/drawing/2014/main" id="{4B6F354A-15B0-21A6-C0D5-CB2F78DEF373}"/>
                  </a:ext>
                </a:extLst>
              </p:cNvPr>
              <p:cNvSpPr>
                <a:spLocks/>
              </p:cNvSpPr>
              <p:nvPr/>
            </p:nvSpPr>
            <p:spPr bwMode="auto">
              <a:xfrm>
                <a:off x="3349317" y="3889372"/>
                <a:ext cx="72993" cy="72993"/>
              </a:xfrm>
              <a:custGeom>
                <a:avLst/>
                <a:gdLst>
                  <a:gd name="T0" fmla="*/ 72993 w 72993"/>
                  <a:gd name="T1" fmla="*/ 36497 h 72993"/>
                  <a:gd name="T2" fmla="*/ 36497 w 72993"/>
                  <a:gd name="T3" fmla="*/ 72993 h 72993"/>
                  <a:gd name="T4" fmla="*/ 0 w 72993"/>
                  <a:gd name="T5" fmla="*/ 36497 h 72993"/>
                  <a:gd name="T6" fmla="*/ 36497 w 72993"/>
                  <a:gd name="T7" fmla="*/ 0 h 72993"/>
                  <a:gd name="T8" fmla="*/ 72993 w 72993"/>
                  <a:gd name="T9" fmla="*/ 36497 h 72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93" h="72993" extrusionOk="0">
                    <a:moveTo>
                      <a:pt x="72993" y="36497"/>
                    </a:moveTo>
                    <a:cubicBezTo>
                      <a:pt x="72993" y="56705"/>
                      <a:pt x="56705" y="72993"/>
                      <a:pt x="36497" y="72993"/>
                    </a:cubicBezTo>
                    <a:cubicBezTo>
                      <a:pt x="16288" y="72993"/>
                      <a:pt x="0" y="56705"/>
                      <a:pt x="0" y="36497"/>
                    </a:cubicBezTo>
                    <a:cubicBezTo>
                      <a:pt x="0" y="16439"/>
                      <a:pt x="16288" y="0"/>
                      <a:pt x="36497" y="0"/>
                    </a:cubicBezTo>
                    <a:cubicBezTo>
                      <a:pt x="56555" y="0"/>
                      <a:pt x="72993" y="16288"/>
                      <a:pt x="72993" y="36497"/>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1" name="Google Shape;929;p19">
                <a:extLst>
                  <a:ext uri="{FF2B5EF4-FFF2-40B4-BE49-F238E27FC236}">
                    <a16:creationId xmlns:a16="http://schemas.microsoft.com/office/drawing/2014/main" id="{087BFE3B-CBAF-0E9C-F01A-4E837108256E}"/>
                  </a:ext>
                </a:extLst>
              </p:cNvPr>
              <p:cNvSpPr>
                <a:spLocks/>
              </p:cNvSpPr>
              <p:nvPr/>
            </p:nvSpPr>
            <p:spPr bwMode="auto">
              <a:xfrm>
                <a:off x="3197940" y="3626884"/>
                <a:ext cx="72810" cy="72922"/>
              </a:xfrm>
              <a:custGeom>
                <a:avLst/>
                <a:gdLst>
                  <a:gd name="T0" fmla="*/ 54555 w 72810"/>
                  <a:gd name="T1" fmla="*/ 4900 h 72922"/>
                  <a:gd name="T2" fmla="*/ 67978 w 72810"/>
                  <a:gd name="T3" fmla="*/ 54668 h 72922"/>
                  <a:gd name="T4" fmla="*/ 18209 w 72810"/>
                  <a:gd name="T5" fmla="*/ 68090 h 72922"/>
                  <a:gd name="T6" fmla="*/ 4938 w 72810"/>
                  <a:gd name="T7" fmla="*/ 18322 h 72922"/>
                  <a:gd name="T8" fmla="*/ 54555 w 72810"/>
                  <a:gd name="T9" fmla="*/ 4900 h 729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10" h="72922" extrusionOk="0">
                    <a:moveTo>
                      <a:pt x="54555" y="4900"/>
                    </a:moveTo>
                    <a:cubicBezTo>
                      <a:pt x="72049" y="15004"/>
                      <a:pt x="77931" y="37324"/>
                      <a:pt x="67978" y="54668"/>
                    </a:cubicBezTo>
                    <a:cubicBezTo>
                      <a:pt x="57873" y="72162"/>
                      <a:pt x="35553" y="78044"/>
                      <a:pt x="18209" y="68090"/>
                    </a:cubicBezTo>
                    <a:cubicBezTo>
                      <a:pt x="715" y="57986"/>
                      <a:pt x="-5166" y="35665"/>
                      <a:pt x="4938" y="18322"/>
                    </a:cubicBezTo>
                    <a:cubicBezTo>
                      <a:pt x="14741" y="828"/>
                      <a:pt x="37061" y="-5205"/>
                      <a:pt x="54555" y="4900"/>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2" name="Google Shape;930;p19">
                <a:extLst>
                  <a:ext uri="{FF2B5EF4-FFF2-40B4-BE49-F238E27FC236}">
                    <a16:creationId xmlns:a16="http://schemas.microsoft.com/office/drawing/2014/main" id="{3998F2BB-C17A-CE33-A7C9-6204F856ABF2}"/>
                  </a:ext>
                </a:extLst>
              </p:cNvPr>
              <p:cNvSpPr>
                <a:spLocks/>
              </p:cNvSpPr>
              <p:nvPr/>
            </p:nvSpPr>
            <p:spPr bwMode="auto">
              <a:xfrm>
                <a:off x="3500922" y="3801939"/>
                <a:ext cx="72915" cy="72915"/>
              </a:xfrm>
              <a:custGeom>
                <a:avLst/>
                <a:gdLst>
                  <a:gd name="T0" fmla="*/ 54706 w 72915"/>
                  <a:gd name="T1" fmla="*/ 4938 h 72915"/>
                  <a:gd name="T2" fmla="*/ 67978 w 72915"/>
                  <a:gd name="T3" fmla="*/ 54706 h 72915"/>
                  <a:gd name="T4" fmla="*/ 18209 w 72915"/>
                  <a:gd name="T5" fmla="*/ 67978 h 72915"/>
                  <a:gd name="T6" fmla="*/ 4938 w 72915"/>
                  <a:gd name="T7" fmla="*/ 18209 h 72915"/>
                  <a:gd name="T8" fmla="*/ 54706 w 72915"/>
                  <a:gd name="T9" fmla="*/ 4938 h 729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5" h="72915" extrusionOk="0">
                    <a:moveTo>
                      <a:pt x="54706" y="4938"/>
                    </a:moveTo>
                    <a:cubicBezTo>
                      <a:pt x="72200" y="15042"/>
                      <a:pt x="78082" y="37212"/>
                      <a:pt x="67978" y="54706"/>
                    </a:cubicBezTo>
                    <a:cubicBezTo>
                      <a:pt x="57873" y="72200"/>
                      <a:pt x="35553" y="78082"/>
                      <a:pt x="18209" y="67978"/>
                    </a:cubicBezTo>
                    <a:cubicBezTo>
                      <a:pt x="715" y="57873"/>
                      <a:pt x="-5166" y="35704"/>
                      <a:pt x="4938" y="18209"/>
                    </a:cubicBezTo>
                    <a:cubicBezTo>
                      <a:pt x="14892" y="715"/>
                      <a:pt x="37212" y="-5166"/>
                      <a:pt x="54706" y="493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63" name="Google Shape;931;p19">
                <a:extLst>
                  <a:ext uri="{FF2B5EF4-FFF2-40B4-BE49-F238E27FC236}">
                    <a16:creationId xmlns:a16="http://schemas.microsoft.com/office/drawing/2014/main" id="{DD05BC20-301F-B7A7-F0FE-60D4E19913F0}"/>
                  </a:ext>
                </a:extLst>
              </p:cNvPr>
              <p:cNvSpPr>
                <a:spLocks/>
              </p:cNvSpPr>
              <p:nvPr/>
            </p:nvSpPr>
            <p:spPr bwMode="auto">
              <a:xfrm>
                <a:off x="3500955" y="3626879"/>
                <a:ext cx="72849" cy="72994"/>
              </a:xfrm>
              <a:custGeom>
                <a:avLst/>
                <a:gdLst>
                  <a:gd name="T0" fmla="*/ 54673 w 72849"/>
                  <a:gd name="T1" fmla="*/ 68095 h 72994"/>
                  <a:gd name="T2" fmla="*/ 4905 w 72849"/>
                  <a:gd name="T3" fmla="*/ 54673 h 72994"/>
                  <a:gd name="T4" fmla="*/ 18176 w 72849"/>
                  <a:gd name="T5" fmla="*/ 4905 h 72994"/>
                  <a:gd name="T6" fmla="*/ 67945 w 72849"/>
                  <a:gd name="T7" fmla="*/ 18176 h 72994"/>
                  <a:gd name="T8" fmla="*/ 54673 w 72849"/>
                  <a:gd name="T9" fmla="*/ 68095 h 729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49" h="72994" extrusionOk="0">
                    <a:moveTo>
                      <a:pt x="54673" y="68095"/>
                    </a:moveTo>
                    <a:cubicBezTo>
                      <a:pt x="37179" y="78200"/>
                      <a:pt x="15009" y="72167"/>
                      <a:pt x="4905" y="54673"/>
                    </a:cubicBezTo>
                    <a:cubicBezTo>
                      <a:pt x="-5200" y="37179"/>
                      <a:pt x="833" y="15009"/>
                      <a:pt x="18176" y="4905"/>
                    </a:cubicBezTo>
                    <a:cubicBezTo>
                      <a:pt x="35671" y="-5200"/>
                      <a:pt x="57840" y="833"/>
                      <a:pt x="67945" y="18176"/>
                    </a:cubicBezTo>
                    <a:cubicBezTo>
                      <a:pt x="78049" y="35671"/>
                      <a:pt x="72016" y="57991"/>
                      <a:pt x="54673" y="68095"/>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344" name="Google Shape;932;p19">
                <a:extLst>
                  <a:ext uri="{FF2B5EF4-FFF2-40B4-BE49-F238E27FC236}">
                    <a16:creationId xmlns:a16="http://schemas.microsoft.com/office/drawing/2014/main" id="{17F750E0-AC0E-38CA-30A0-44DDCBC8BF3C}"/>
                  </a:ext>
                </a:extLst>
              </p:cNvPr>
              <p:cNvSpPr>
                <a:spLocks/>
              </p:cNvSpPr>
              <p:nvPr/>
            </p:nvSpPr>
            <p:spPr bwMode="auto">
              <a:xfrm>
                <a:off x="3197822" y="3801827"/>
                <a:ext cx="72882" cy="72989"/>
              </a:xfrm>
              <a:custGeom>
                <a:avLst/>
                <a:gdLst>
                  <a:gd name="T0" fmla="*/ 54673 w 72882"/>
                  <a:gd name="T1" fmla="*/ 68090 h 72989"/>
                  <a:gd name="T2" fmla="*/ 4905 w 72882"/>
                  <a:gd name="T3" fmla="*/ 54668 h 72989"/>
                  <a:gd name="T4" fmla="*/ 18176 w 72882"/>
                  <a:gd name="T5" fmla="*/ 4900 h 72989"/>
                  <a:gd name="T6" fmla="*/ 67945 w 72882"/>
                  <a:gd name="T7" fmla="*/ 18322 h 72989"/>
                  <a:gd name="T8" fmla="*/ 54673 w 72882"/>
                  <a:gd name="T9" fmla="*/ 68090 h 72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882" h="72989" extrusionOk="0">
                    <a:moveTo>
                      <a:pt x="54673" y="68090"/>
                    </a:moveTo>
                    <a:cubicBezTo>
                      <a:pt x="37179" y="78194"/>
                      <a:pt x="14859" y="72162"/>
                      <a:pt x="4905" y="54668"/>
                    </a:cubicBezTo>
                    <a:cubicBezTo>
                      <a:pt x="-5200" y="37173"/>
                      <a:pt x="833" y="15004"/>
                      <a:pt x="18176" y="4900"/>
                    </a:cubicBezTo>
                    <a:cubicBezTo>
                      <a:pt x="35671" y="-5205"/>
                      <a:pt x="57991" y="828"/>
                      <a:pt x="67945" y="18322"/>
                    </a:cubicBezTo>
                    <a:cubicBezTo>
                      <a:pt x="78049" y="35665"/>
                      <a:pt x="72167" y="57986"/>
                      <a:pt x="54673" y="68090"/>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345" name="Google Shape;933;p19">
                <a:extLst>
                  <a:ext uri="{FF2B5EF4-FFF2-40B4-BE49-F238E27FC236}">
                    <a16:creationId xmlns:a16="http://schemas.microsoft.com/office/drawing/2014/main" id="{FE7E4002-CDA3-362B-BD00-1F0597FD10BF}"/>
                  </a:ext>
                </a:extLst>
              </p:cNvPr>
              <p:cNvSpPr>
                <a:spLocks/>
              </p:cNvSpPr>
              <p:nvPr/>
            </p:nvSpPr>
            <p:spPr bwMode="auto">
              <a:xfrm>
                <a:off x="3367565" y="3557584"/>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79" name="Google Shape;934;p19">
                <a:extLst>
                  <a:ext uri="{FF2B5EF4-FFF2-40B4-BE49-F238E27FC236}">
                    <a16:creationId xmlns:a16="http://schemas.microsoft.com/office/drawing/2014/main" id="{793B25B3-F4C9-458D-7151-329ACD8A3011}"/>
                  </a:ext>
                </a:extLst>
              </p:cNvPr>
              <p:cNvSpPr>
                <a:spLocks/>
              </p:cNvSpPr>
              <p:nvPr/>
            </p:nvSpPr>
            <p:spPr bwMode="auto">
              <a:xfrm>
                <a:off x="3519132" y="3645055"/>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0" name="Google Shape;935;p19">
                <a:extLst>
                  <a:ext uri="{FF2B5EF4-FFF2-40B4-BE49-F238E27FC236}">
                    <a16:creationId xmlns:a16="http://schemas.microsoft.com/office/drawing/2014/main" id="{93AEE7F8-533A-2ED5-32FD-140582068ACC}"/>
                  </a:ext>
                </a:extLst>
              </p:cNvPr>
              <p:cNvSpPr>
                <a:spLocks/>
              </p:cNvSpPr>
              <p:nvPr/>
            </p:nvSpPr>
            <p:spPr bwMode="auto">
              <a:xfrm>
                <a:off x="3519132" y="3820149"/>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202"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1" name="Google Shape;936;p19">
                <a:extLst>
                  <a:ext uri="{FF2B5EF4-FFF2-40B4-BE49-F238E27FC236}">
                    <a16:creationId xmlns:a16="http://schemas.microsoft.com/office/drawing/2014/main" id="{91CC21DC-DA0A-4436-D3CB-6EC55F87A0A9}"/>
                  </a:ext>
                </a:extLst>
              </p:cNvPr>
              <p:cNvSpPr>
                <a:spLocks/>
              </p:cNvSpPr>
              <p:nvPr/>
            </p:nvSpPr>
            <p:spPr bwMode="auto">
              <a:xfrm>
                <a:off x="3367565" y="3907620"/>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2" name="Google Shape;937;p19">
                <a:extLst>
                  <a:ext uri="{FF2B5EF4-FFF2-40B4-BE49-F238E27FC236}">
                    <a16:creationId xmlns:a16="http://schemas.microsoft.com/office/drawing/2014/main" id="{6FE00AB3-AC53-02B0-2327-F39C36648AFF}"/>
                  </a:ext>
                </a:extLst>
              </p:cNvPr>
              <p:cNvSpPr>
                <a:spLocks/>
              </p:cNvSpPr>
              <p:nvPr/>
            </p:nvSpPr>
            <p:spPr bwMode="auto">
              <a:xfrm>
                <a:off x="3215999" y="3820149"/>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0"/>
                      <a:pt x="36497" y="8144"/>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3" name="Google Shape;938;p19">
                <a:extLst>
                  <a:ext uri="{FF2B5EF4-FFF2-40B4-BE49-F238E27FC236}">
                    <a16:creationId xmlns:a16="http://schemas.microsoft.com/office/drawing/2014/main" id="{F6041599-A26A-9CC6-6EB2-890016C73294}"/>
                  </a:ext>
                </a:extLst>
              </p:cNvPr>
              <p:cNvSpPr>
                <a:spLocks/>
              </p:cNvSpPr>
              <p:nvPr/>
            </p:nvSpPr>
            <p:spPr bwMode="auto">
              <a:xfrm>
                <a:off x="3215999" y="3645055"/>
                <a:ext cx="36496" cy="36496"/>
              </a:xfrm>
              <a:custGeom>
                <a:avLst/>
                <a:gdLst>
                  <a:gd name="T0" fmla="*/ 36497 w 36496"/>
                  <a:gd name="T1" fmla="*/ 18248 h 36496"/>
                  <a:gd name="T2" fmla="*/ 18248 w 36496"/>
                  <a:gd name="T3" fmla="*/ 36497 h 36496"/>
                  <a:gd name="T4" fmla="*/ 0 w 36496"/>
                  <a:gd name="T5" fmla="*/ 18248 h 36496"/>
                  <a:gd name="T6" fmla="*/ 18248 w 36496"/>
                  <a:gd name="T7" fmla="*/ 0 h 36496"/>
                  <a:gd name="T8" fmla="*/ 36497 w 36496"/>
                  <a:gd name="T9" fmla="*/ 18248 h 36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96" h="36496" extrusionOk="0">
                    <a:moveTo>
                      <a:pt x="36497" y="18248"/>
                    </a:moveTo>
                    <a:cubicBezTo>
                      <a:pt x="36497" y="28353"/>
                      <a:pt x="28353" y="36497"/>
                      <a:pt x="18248" y="36497"/>
                    </a:cubicBezTo>
                    <a:cubicBezTo>
                      <a:pt x="8144" y="36497"/>
                      <a:pt x="0" y="28353"/>
                      <a:pt x="0" y="18248"/>
                    </a:cubicBezTo>
                    <a:cubicBezTo>
                      <a:pt x="0" y="8144"/>
                      <a:pt x="8144" y="0"/>
                      <a:pt x="18248" y="0"/>
                    </a:cubicBezTo>
                    <a:cubicBezTo>
                      <a:pt x="28353" y="151"/>
                      <a:pt x="36497" y="8295"/>
                      <a:pt x="36497" y="18248"/>
                    </a:cubicBez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4" name="Google Shape;939;p19">
                <a:extLst>
                  <a:ext uri="{FF2B5EF4-FFF2-40B4-BE49-F238E27FC236}">
                    <a16:creationId xmlns:a16="http://schemas.microsoft.com/office/drawing/2014/main" id="{0FAE174C-4BD5-5855-19E5-8F3E394DEE46}"/>
                  </a:ext>
                </a:extLst>
              </p:cNvPr>
              <p:cNvSpPr>
                <a:spLocks/>
              </p:cNvSpPr>
              <p:nvPr/>
            </p:nvSpPr>
            <p:spPr bwMode="auto">
              <a:xfrm>
                <a:off x="3003957" y="3514753"/>
                <a:ext cx="289107" cy="590883"/>
              </a:xfrm>
              <a:custGeom>
                <a:avLst/>
                <a:gdLst>
                  <a:gd name="T0" fmla="*/ 131207 w 289107"/>
                  <a:gd name="T1" fmla="*/ 236172 h 590883"/>
                  <a:gd name="T2" fmla="*/ 185047 w 289107"/>
                  <a:gd name="T3" fmla="*/ 81288 h 590883"/>
                  <a:gd name="T4" fmla="*/ 81740 w 289107"/>
                  <a:gd name="T5" fmla="*/ 0 h 590883"/>
                  <a:gd name="T6" fmla="*/ 0 w 289107"/>
                  <a:gd name="T7" fmla="*/ 236172 h 590883"/>
                  <a:gd name="T8" fmla="*/ 240395 w 289107"/>
                  <a:gd name="T9" fmla="*/ 590883 h 590883"/>
                  <a:gd name="T10" fmla="*/ 289107 w 289107"/>
                  <a:gd name="T11" fmla="*/ 468876 h 590883"/>
                  <a:gd name="T12" fmla="*/ 131207 w 289107"/>
                  <a:gd name="T13" fmla="*/ 236172 h 590883"/>
                  <a:gd name="T14" fmla="*/ 119293 w 289107"/>
                  <a:gd name="T15" fmla="*/ 66659 h 590883"/>
                  <a:gd name="T16" fmla="*/ 145232 w 289107"/>
                  <a:gd name="T17" fmla="*/ 87019 h 590883"/>
                  <a:gd name="T18" fmla="*/ 113260 w 289107"/>
                  <a:gd name="T19" fmla="*/ 157599 h 590883"/>
                  <a:gd name="T20" fmla="*/ 81439 w 289107"/>
                  <a:gd name="T21" fmla="*/ 150058 h 590883"/>
                  <a:gd name="T22" fmla="*/ 119293 w 289107"/>
                  <a:gd name="T23" fmla="*/ 66659 h 590883"/>
                  <a:gd name="T24" fmla="*/ 69223 w 289107"/>
                  <a:gd name="T25" fmla="*/ 236172 h 590883"/>
                  <a:gd name="T26" fmla="*/ 74803 w 289107"/>
                  <a:gd name="T27" fmla="*/ 178713 h 590883"/>
                  <a:gd name="T28" fmla="*/ 106775 w 289107"/>
                  <a:gd name="T29" fmla="*/ 186253 h 590883"/>
                  <a:gd name="T30" fmla="*/ 102251 w 289107"/>
                  <a:gd name="T31" fmla="*/ 236172 h 590883"/>
                  <a:gd name="T32" fmla="*/ 139652 w 289107"/>
                  <a:gd name="T33" fmla="*/ 375976 h 590883"/>
                  <a:gd name="T34" fmla="*/ 112355 w 289107"/>
                  <a:gd name="T35" fmla="*/ 393771 h 590883"/>
                  <a:gd name="T36" fmla="*/ 69223 w 289107"/>
                  <a:gd name="T37" fmla="*/ 236172 h 590883"/>
                  <a:gd name="T38" fmla="*/ 239490 w 289107"/>
                  <a:gd name="T39" fmla="*/ 514271 h 590883"/>
                  <a:gd name="T40" fmla="*/ 127889 w 289107"/>
                  <a:gd name="T41" fmla="*/ 418203 h 590883"/>
                  <a:gd name="T42" fmla="*/ 155337 w 289107"/>
                  <a:gd name="T43" fmla="*/ 400407 h 590883"/>
                  <a:gd name="T44" fmla="*/ 251706 w 289107"/>
                  <a:gd name="T45" fmla="*/ 483656 h 590883"/>
                  <a:gd name="T46" fmla="*/ 239490 w 289107"/>
                  <a:gd name="T47" fmla="*/ 514271 h 59088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89107" h="590883" extrusionOk="0">
                    <a:moveTo>
                      <a:pt x="131207" y="236172"/>
                    </a:moveTo>
                    <a:cubicBezTo>
                      <a:pt x="131207" y="177657"/>
                      <a:pt x="151416" y="123968"/>
                      <a:pt x="185047" y="81288"/>
                    </a:cubicBezTo>
                    <a:lnTo>
                      <a:pt x="81740" y="0"/>
                    </a:lnTo>
                    <a:cubicBezTo>
                      <a:pt x="30615" y="65151"/>
                      <a:pt x="0" y="147042"/>
                      <a:pt x="0" y="236172"/>
                    </a:cubicBezTo>
                    <a:cubicBezTo>
                      <a:pt x="0" y="397089"/>
                      <a:pt x="99536" y="534630"/>
                      <a:pt x="240395" y="590883"/>
                    </a:cubicBezTo>
                    <a:lnTo>
                      <a:pt x="289107" y="468876"/>
                    </a:lnTo>
                    <a:cubicBezTo>
                      <a:pt x="196659" y="431776"/>
                      <a:pt x="131207" y="341741"/>
                      <a:pt x="131207" y="236172"/>
                    </a:cubicBezTo>
                    <a:close/>
                    <a:moveTo>
                      <a:pt x="119293" y="66659"/>
                    </a:moveTo>
                    <a:lnTo>
                      <a:pt x="145232" y="87019"/>
                    </a:lnTo>
                    <a:cubicBezTo>
                      <a:pt x="131207" y="109188"/>
                      <a:pt x="120499" y="132866"/>
                      <a:pt x="113260" y="157599"/>
                    </a:cubicBezTo>
                    <a:lnTo>
                      <a:pt x="81439" y="150058"/>
                    </a:lnTo>
                    <a:cubicBezTo>
                      <a:pt x="90035" y="120348"/>
                      <a:pt x="102854" y="92146"/>
                      <a:pt x="119293" y="66659"/>
                    </a:cubicBezTo>
                    <a:close/>
                    <a:moveTo>
                      <a:pt x="69223" y="236172"/>
                    </a:moveTo>
                    <a:cubicBezTo>
                      <a:pt x="69223" y="216567"/>
                      <a:pt x="71183" y="197414"/>
                      <a:pt x="74803" y="178713"/>
                    </a:cubicBezTo>
                    <a:lnTo>
                      <a:pt x="106775" y="186253"/>
                    </a:lnTo>
                    <a:cubicBezTo>
                      <a:pt x="103910" y="202541"/>
                      <a:pt x="102251" y="219281"/>
                      <a:pt x="102251" y="236172"/>
                    </a:cubicBezTo>
                    <a:cubicBezTo>
                      <a:pt x="102251" y="286695"/>
                      <a:pt x="115673" y="334502"/>
                      <a:pt x="139652" y="375976"/>
                    </a:cubicBezTo>
                    <a:lnTo>
                      <a:pt x="112355" y="393771"/>
                    </a:lnTo>
                    <a:cubicBezTo>
                      <a:pt x="84907" y="347472"/>
                      <a:pt x="69223" y="293632"/>
                      <a:pt x="69223" y="236172"/>
                    </a:cubicBezTo>
                    <a:close/>
                    <a:moveTo>
                      <a:pt x="239490" y="514271"/>
                    </a:moveTo>
                    <a:cubicBezTo>
                      <a:pt x="195151" y="491498"/>
                      <a:pt x="156845" y="458470"/>
                      <a:pt x="127889" y="418203"/>
                    </a:cubicBezTo>
                    <a:lnTo>
                      <a:pt x="155337" y="400407"/>
                    </a:lnTo>
                    <a:cubicBezTo>
                      <a:pt x="180221" y="434642"/>
                      <a:pt x="212796" y="463296"/>
                      <a:pt x="251706" y="483656"/>
                    </a:cubicBezTo>
                    <a:lnTo>
                      <a:pt x="239490" y="514271"/>
                    </a:ln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sp>
            <p:nvSpPr>
              <p:cNvPr id="57485" name="Google Shape;940;p19">
                <a:extLst>
                  <a:ext uri="{FF2B5EF4-FFF2-40B4-BE49-F238E27FC236}">
                    <a16:creationId xmlns:a16="http://schemas.microsoft.com/office/drawing/2014/main" id="{72CF194B-A4DE-761B-27D9-0B054DD7F506}"/>
                  </a:ext>
                </a:extLst>
              </p:cNvPr>
              <p:cNvSpPr>
                <a:spLocks/>
              </p:cNvSpPr>
              <p:nvPr/>
            </p:nvSpPr>
            <p:spPr bwMode="auto">
              <a:xfrm>
                <a:off x="3003957" y="3514904"/>
                <a:ext cx="244919" cy="590732"/>
              </a:xfrm>
              <a:custGeom>
                <a:avLst/>
                <a:gdLst>
                  <a:gd name="T0" fmla="*/ 244919 w 244919"/>
                  <a:gd name="T1" fmla="*/ 579271 h 590732"/>
                  <a:gd name="T2" fmla="*/ 12216 w 244919"/>
                  <a:gd name="T3" fmla="*/ 236022 h 590732"/>
                  <a:gd name="T4" fmla="*/ 91392 w 244919"/>
                  <a:gd name="T5" fmla="*/ 7541 h 590732"/>
                  <a:gd name="T6" fmla="*/ 81891 w 244919"/>
                  <a:gd name="T7" fmla="*/ 0 h 590732"/>
                  <a:gd name="T8" fmla="*/ 0 w 244919"/>
                  <a:gd name="T9" fmla="*/ 236022 h 590732"/>
                  <a:gd name="T10" fmla="*/ 240395 w 244919"/>
                  <a:gd name="T11" fmla="*/ 590733 h 590732"/>
                  <a:gd name="T12" fmla="*/ 244919 w 244919"/>
                  <a:gd name="T13" fmla="*/ 579271 h 5907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919" h="590732" extrusionOk="0">
                    <a:moveTo>
                      <a:pt x="244919" y="579271"/>
                    </a:moveTo>
                    <a:cubicBezTo>
                      <a:pt x="108585" y="524828"/>
                      <a:pt x="12216" y="391660"/>
                      <a:pt x="12216" y="236022"/>
                    </a:cubicBezTo>
                    <a:cubicBezTo>
                      <a:pt x="12216" y="149757"/>
                      <a:pt x="41926" y="70429"/>
                      <a:pt x="91392" y="7541"/>
                    </a:cubicBezTo>
                    <a:lnTo>
                      <a:pt x="81891" y="0"/>
                    </a:lnTo>
                    <a:cubicBezTo>
                      <a:pt x="30615" y="65000"/>
                      <a:pt x="0" y="146891"/>
                      <a:pt x="0" y="236022"/>
                    </a:cubicBezTo>
                    <a:cubicBezTo>
                      <a:pt x="0" y="396938"/>
                      <a:pt x="99536" y="534480"/>
                      <a:pt x="240395" y="590733"/>
                    </a:cubicBezTo>
                    <a:lnTo>
                      <a:pt x="244919" y="579271"/>
                    </a:lnTo>
                    <a:close/>
                  </a:path>
                </a:pathLst>
              </a:custGeom>
              <a:solidFill>
                <a:schemeClr val="bg1"/>
              </a:solidFill>
              <a:ln w="14950"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16" name="Google Shape;941;p19">
              <a:extLst>
                <a:ext uri="{FF2B5EF4-FFF2-40B4-BE49-F238E27FC236}">
                  <a16:creationId xmlns:a16="http://schemas.microsoft.com/office/drawing/2014/main" id="{634C7BA0-FC5F-7D68-E251-50B38C1EF504}"/>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1006" y="2377773"/>
              <a:ext cx="243832" cy="24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oogle Shape;942;p19">
              <a:extLst>
                <a:ext uri="{FF2B5EF4-FFF2-40B4-BE49-F238E27FC236}">
                  <a16:creationId xmlns:a16="http://schemas.microsoft.com/office/drawing/2014/main" id="{514C15F1-1E6E-A355-8071-9202EF9C304B}"/>
                </a:ext>
              </a:extLst>
            </p:cNvPr>
            <p:cNvGrpSpPr>
              <a:grpSpLocks/>
            </p:cNvGrpSpPr>
            <p:nvPr/>
          </p:nvGrpSpPr>
          <p:grpSpPr bwMode="auto">
            <a:xfrm>
              <a:off x="3109646" y="2492441"/>
              <a:ext cx="137855" cy="131216"/>
              <a:chOff x="6173853" y="2205325"/>
              <a:chExt cx="691999" cy="658671"/>
            </a:xfrm>
          </p:grpSpPr>
          <p:sp>
            <p:nvSpPr>
              <p:cNvPr id="51" name="Google Shape;943;p19">
                <a:extLst>
                  <a:ext uri="{FF2B5EF4-FFF2-40B4-BE49-F238E27FC236}">
                    <a16:creationId xmlns:a16="http://schemas.microsoft.com/office/drawing/2014/main" id="{7805B495-7C0D-2A74-18F4-94C721AE460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2" name="Google Shape;944;p19">
                <a:extLst>
                  <a:ext uri="{FF2B5EF4-FFF2-40B4-BE49-F238E27FC236}">
                    <a16:creationId xmlns:a16="http://schemas.microsoft.com/office/drawing/2014/main" id="{303EA4FC-E6B2-8EB2-40CA-25DE0FF5F882}"/>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pic>
          <p:nvPicPr>
            <p:cNvPr id="18" name="Google Shape;945;p19">
              <a:extLst>
                <a:ext uri="{FF2B5EF4-FFF2-40B4-BE49-F238E27FC236}">
                  <a16:creationId xmlns:a16="http://schemas.microsoft.com/office/drawing/2014/main" id="{575752CD-BCAE-CF0C-58A6-B0FC11BE0FB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8434" y="1975162"/>
              <a:ext cx="152407" cy="15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oogle Shape;946;p19" descr="Single gear">
              <a:extLst>
                <a:ext uri="{FF2B5EF4-FFF2-40B4-BE49-F238E27FC236}">
                  <a16:creationId xmlns:a16="http://schemas.microsoft.com/office/drawing/2014/main" id="{21A6B594-644B-4CC3-0E09-2CF80AD44AEA}"/>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0681" y="4374542"/>
              <a:ext cx="605404" cy="60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oogle Shape;947;p19" descr="Single gear">
              <a:extLst>
                <a:ext uri="{FF2B5EF4-FFF2-40B4-BE49-F238E27FC236}">
                  <a16:creationId xmlns:a16="http://schemas.microsoft.com/office/drawing/2014/main" id="{2B6517A0-6C4A-669C-CF0B-AA1CEBA4F952}"/>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9270" y="2800421"/>
              <a:ext cx="278787" cy="27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oogle Shape;948;p19">
              <a:extLst>
                <a:ext uri="{FF2B5EF4-FFF2-40B4-BE49-F238E27FC236}">
                  <a16:creationId xmlns:a16="http://schemas.microsoft.com/office/drawing/2014/main" id="{8537D4ED-1367-EC94-A39D-79D2C42EA294}"/>
                </a:ext>
              </a:extLst>
            </p:cNvPr>
            <p:cNvGrpSpPr>
              <a:grpSpLocks/>
            </p:cNvGrpSpPr>
            <p:nvPr/>
          </p:nvGrpSpPr>
          <p:grpSpPr bwMode="auto">
            <a:xfrm>
              <a:off x="4065066" y="2388790"/>
              <a:ext cx="189615" cy="180483"/>
              <a:chOff x="6173853" y="2205325"/>
              <a:chExt cx="691999" cy="658671"/>
            </a:xfrm>
          </p:grpSpPr>
          <p:sp>
            <p:nvSpPr>
              <p:cNvPr id="49" name="Google Shape;949;p19">
                <a:extLst>
                  <a:ext uri="{FF2B5EF4-FFF2-40B4-BE49-F238E27FC236}">
                    <a16:creationId xmlns:a16="http://schemas.microsoft.com/office/drawing/2014/main" id="{208527E1-A9CD-4110-7F4F-5FA004BB6040}"/>
                  </a:ext>
                </a:extLst>
              </p:cNvPr>
              <p:cNvSpPr>
                <a:spLocks/>
              </p:cNvSpPr>
              <p:nvPr/>
            </p:nvSpPr>
            <p:spPr bwMode="auto">
              <a:xfrm>
                <a:off x="6173853" y="2205325"/>
                <a:ext cx="691999" cy="658671"/>
              </a:xfrm>
              <a:custGeom>
                <a:avLst/>
                <a:gdLst>
                  <a:gd name="T0" fmla="*/ 626556 w 691999"/>
                  <a:gd name="T1" fmla="*/ 125735 h 658671"/>
                  <a:gd name="T2" fmla="*/ 453254 w 691999"/>
                  <a:gd name="T3" fmla="*/ 0 h 658671"/>
                  <a:gd name="T4" fmla="*/ 239352 w 691999"/>
                  <a:gd name="T5" fmla="*/ 0 h 658671"/>
                  <a:gd name="T6" fmla="*/ 66049 w 691999"/>
                  <a:gd name="T7" fmla="*/ 125735 h 658671"/>
                  <a:gd name="T8" fmla="*/ 0 w 691999"/>
                  <a:gd name="T9" fmla="*/ 329336 h 658671"/>
                  <a:gd name="T10" fmla="*/ 66049 w 691999"/>
                  <a:gd name="T11" fmla="*/ 532936 h 658671"/>
                  <a:gd name="T12" fmla="*/ 239049 w 691999"/>
                  <a:gd name="T13" fmla="*/ 658672 h 658671"/>
                  <a:gd name="T14" fmla="*/ 452951 w 691999"/>
                  <a:gd name="T15" fmla="*/ 658672 h 658671"/>
                  <a:gd name="T16" fmla="*/ 625950 w 691999"/>
                  <a:gd name="T17" fmla="*/ 532936 h 658671"/>
                  <a:gd name="T18" fmla="*/ 691999 w 691999"/>
                  <a:gd name="T19" fmla="*/ 329336 h 658671"/>
                  <a:gd name="T20" fmla="*/ 626556 w 691999"/>
                  <a:gd name="T21" fmla="*/ 125735 h 658671"/>
                  <a:gd name="T22" fmla="*/ 523241 w 691999"/>
                  <a:gd name="T23" fmla="*/ 457798 h 658671"/>
                  <a:gd name="T24" fmla="*/ 414170 w 691999"/>
                  <a:gd name="T25" fmla="*/ 537178 h 658671"/>
                  <a:gd name="T26" fmla="*/ 278739 w 691999"/>
                  <a:gd name="T27" fmla="*/ 537178 h 658671"/>
                  <a:gd name="T28" fmla="*/ 169364 w 691999"/>
                  <a:gd name="T29" fmla="*/ 457798 h 658671"/>
                  <a:gd name="T30" fmla="*/ 127553 w 691999"/>
                  <a:gd name="T31" fmla="*/ 329336 h 658671"/>
                  <a:gd name="T32" fmla="*/ 169364 w 691999"/>
                  <a:gd name="T33" fmla="*/ 200874 h 658671"/>
                  <a:gd name="T34" fmla="*/ 278739 w 691999"/>
                  <a:gd name="T35" fmla="*/ 121494 h 658671"/>
                  <a:gd name="T36" fmla="*/ 413867 w 691999"/>
                  <a:gd name="T37" fmla="*/ 121494 h 658671"/>
                  <a:gd name="T38" fmla="*/ 522938 w 691999"/>
                  <a:gd name="T39" fmla="*/ 200874 h 658671"/>
                  <a:gd name="T40" fmla="*/ 564749 w 691999"/>
                  <a:gd name="T41" fmla="*/ 329336 h 658671"/>
                  <a:gd name="T42" fmla="*/ 523241 w 691999"/>
                  <a:gd name="T43" fmla="*/ 457798 h 6586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91999" h="658671" extrusionOk="0">
                    <a:moveTo>
                      <a:pt x="626556" y="125735"/>
                    </a:moveTo>
                    <a:lnTo>
                      <a:pt x="453254" y="0"/>
                    </a:lnTo>
                    <a:lnTo>
                      <a:pt x="239352" y="0"/>
                    </a:lnTo>
                    <a:lnTo>
                      <a:pt x="66049" y="125735"/>
                    </a:lnTo>
                    <a:lnTo>
                      <a:pt x="0" y="329336"/>
                    </a:lnTo>
                    <a:lnTo>
                      <a:pt x="66049" y="532936"/>
                    </a:lnTo>
                    <a:lnTo>
                      <a:pt x="239049" y="658672"/>
                    </a:lnTo>
                    <a:lnTo>
                      <a:pt x="452951" y="658672"/>
                    </a:lnTo>
                    <a:lnTo>
                      <a:pt x="625950" y="532936"/>
                    </a:lnTo>
                    <a:lnTo>
                      <a:pt x="691999" y="329336"/>
                    </a:lnTo>
                    <a:lnTo>
                      <a:pt x="626556" y="125735"/>
                    </a:lnTo>
                    <a:close/>
                    <a:moveTo>
                      <a:pt x="523241" y="457798"/>
                    </a:moveTo>
                    <a:lnTo>
                      <a:pt x="414170" y="537178"/>
                    </a:lnTo>
                    <a:lnTo>
                      <a:pt x="278739" y="537178"/>
                    </a:lnTo>
                    <a:lnTo>
                      <a:pt x="169364" y="457798"/>
                    </a:lnTo>
                    <a:lnTo>
                      <a:pt x="127553" y="329336"/>
                    </a:lnTo>
                    <a:lnTo>
                      <a:pt x="169364" y="200874"/>
                    </a:lnTo>
                    <a:lnTo>
                      <a:pt x="278739" y="121494"/>
                    </a:lnTo>
                    <a:lnTo>
                      <a:pt x="413867" y="121494"/>
                    </a:lnTo>
                    <a:lnTo>
                      <a:pt x="522938" y="200874"/>
                    </a:lnTo>
                    <a:lnTo>
                      <a:pt x="564749" y="329336"/>
                    </a:lnTo>
                    <a:lnTo>
                      <a:pt x="523241" y="457798"/>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50" name="Google Shape;950;p19">
                <a:extLst>
                  <a:ext uri="{FF2B5EF4-FFF2-40B4-BE49-F238E27FC236}">
                    <a16:creationId xmlns:a16="http://schemas.microsoft.com/office/drawing/2014/main" id="{C2909BA8-CFC1-040B-2B56-62B0C46100B9}"/>
                  </a:ext>
                </a:extLst>
              </p:cNvPr>
              <p:cNvSpPr>
                <a:spLocks/>
              </p:cNvSpPr>
              <p:nvPr/>
            </p:nvSpPr>
            <p:spPr bwMode="auto">
              <a:xfrm>
                <a:off x="6290802" y="2316517"/>
                <a:ext cx="458707" cy="436286"/>
              </a:xfrm>
              <a:custGeom>
                <a:avLst/>
                <a:gdLst>
                  <a:gd name="T0" fmla="*/ 415078 w 458707"/>
                  <a:gd name="T1" fmla="*/ 83319 h 436286"/>
                  <a:gd name="T2" fmla="*/ 300250 w 458707"/>
                  <a:gd name="T3" fmla="*/ 0 h 436286"/>
                  <a:gd name="T4" fmla="*/ 158457 w 458707"/>
                  <a:gd name="T5" fmla="*/ 0 h 436286"/>
                  <a:gd name="T6" fmla="*/ 43932 w 458707"/>
                  <a:gd name="T7" fmla="*/ 83319 h 436286"/>
                  <a:gd name="T8" fmla="*/ 0 w 458707"/>
                  <a:gd name="T9" fmla="*/ 218143 h 436286"/>
                  <a:gd name="T10" fmla="*/ 43932 w 458707"/>
                  <a:gd name="T11" fmla="*/ 352968 h 436286"/>
                  <a:gd name="T12" fmla="*/ 158457 w 458707"/>
                  <a:gd name="T13" fmla="*/ 436287 h 436286"/>
                  <a:gd name="T14" fmla="*/ 300250 w 458707"/>
                  <a:gd name="T15" fmla="*/ 436287 h 436286"/>
                  <a:gd name="T16" fmla="*/ 415078 w 458707"/>
                  <a:gd name="T17" fmla="*/ 352968 h 436286"/>
                  <a:gd name="T18" fmla="*/ 458707 w 458707"/>
                  <a:gd name="T19" fmla="*/ 218143 h 436286"/>
                  <a:gd name="T20" fmla="*/ 415078 w 458707"/>
                  <a:gd name="T21" fmla="*/ 83319 h 436286"/>
                  <a:gd name="T22" fmla="*/ 387205 w 458707"/>
                  <a:gd name="T23" fmla="*/ 332972 h 436286"/>
                  <a:gd name="T24" fmla="*/ 289646 w 458707"/>
                  <a:gd name="T25" fmla="*/ 403868 h 436286"/>
                  <a:gd name="T26" fmla="*/ 169061 w 458707"/>
                  <a:gd name="T27" fmla="*/ 403868 h 436286"/>
                  <a:gd name="T28" fmla="*/ 71503 w 458707"/>
                  <a:gd name="T29" fmla="*/ 332972 h 436286"/>
                  <a:gd name="T30" fmla="*/ 34236 w 458707"/>
                  <a:gd name="T31" fmla="*/ 218143 h 436286"/>
                  <a:gd name="T32" fmla="*/ 71503 w 458707"/>
                  <a:gd name="T33" fmla="*/ 103315 h 436286"/>
                  <a:gd name="T34" fmla="*/ 169061 w 458707"/>
                  <a:gd name="T35" fmla="*/ 32419 h 436286"/>
                  <a:gd name="T36" fmla="*/ 289646 w 458707"/>
                  <a:gd name="T37" fmla="*/ 32419 h 436286"/>
                  <a:gd name="T38" fmla="*/ 387205 w 458707"/>
                  <a:gd name="T39" fmla="*/ 103315 h 436286"/>
                  <a:gd name="T40" fmla="*/ 424471 w 458707"/>
                  <a:gd name="T41" fmla="*/ 218143 h 436286"/>
                  <a:gd name="T42" fmla="*/ 387205 w 458707"/>
                  <a:gd name="T43" fmla="*/ 332972 h 436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58707" h="436286" extrusionOk="0">
                    <a:moveTo>
                      <a:pt x="415078" y="83319"/>
                    </a:moveTo>
                    <a:lnTo>
                      <a:pt x="300250" y="0"/>
                    </a:lnTo>
                    <a:lnTo>
                      <a:pt x="158457" y="0"/>
                    </a:lnTo>
                    <a:lnTo>
                      <a:pt x="43932" y="83319"/>
                    </a:lnTo>
                    <a:lnTo>
                      <a:pt x="0" y="218143"/>
                    </a:lnTo>
                    <a:lnTo>
                      <a:pt x="43932" y="352968"/>
                    </a:lnTo>
                    <a:lnTo>
                      <a:pt x="158457" y="436287"/>
                    </a:lnTo>
                    <a:lnTo>
                      <a:pt x="300250" y="436287"/>
                    </a:lnTo>
                    <a:lnTo>
                      <a:pt x="415078" y="352968"/>
                    </a:lnTo>
                    <a:lnTo>
                      <a:pt x="458707" y="218143"/>
                    </a:lnTo>
                    <a:lnTo>
                      <a:pt x="415078" y="83319"/>
                    </a:lnTo>
                    <a:close/>
                    <a:moveTo>
                      <a:pt x="387205" y="332972"/>
                    </a:moveTo>
                    <a:lnTo>
                      <a:pt x="289646" y="403868"/>
                    </a:lnTo>
                    <a:lnTo>
                      <a:pt x="169061" y="403868"/>
                    </a:lnTo>
                    <a:lnTo>
                      <a:pt x="71503" y="332972"/>
                    </a:lnTo>
                    <a:lnTo>
                      <a:pt x="34236" y="218143"/>
                    </a:lnTo>
                    <a:lnTo>
                      <a:pt x="71503" y="103315"/>
                    </a:lnTo>
                    <a:lnTo>
                      <a:pt x="169061" y="32419"/>
                    </a:lnTo>
                    <a:lnTo>
                      <a:pt x="289646" y="32419"/>
                    </a:lnTo>
                    <a:lnTo>
                      <a:pt x="387205" y="103315"/>
                    </a:lnTo>
                    <a:lnTo>
                      <a:pt x="424471" y="218143"/>
                    </a:lnTo>
                    <a:lnTo>
                      <a:pt x="387205" y="332972"/>
                    </a:lnTo>
                    <a:close/>
                  </a:path>
                </a:pathLst>
              </a:custGeom>
              <a:noFill/>
              <a:ln w="12700"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grpSp>
        <p:grpSp>
          <p:nvGrpSpPr>
            <p:cNvPr id="22" name="Google Shape;951;p19">
              <a:extLst>
                <a:ext uri="{FF2B5EF4-FFF2-40B4-BE49-F238E27FC236}">
                  <a16:creationId xmlns:a16="http://schemas.microsoft.com/office/drawing/2014/main" id="{90464E81-6807-2FBA-5217-27DAB33E9DE5}"/>
                </a:ext>
              </a:extLst>
            </p:cNvPr>
            <p:cNvGrpSpPr>
              <a:grpSpLocks/>
            </p:cNvGrpSpPr>
            <p:nvPr/>
          </p:nvGrpSpPr>
          <p:grpSpPr bwMode="auto">
            <a:xfrm>
              <a:off x="3037374" y="5275170"/>
              <a:ext cx="220814" cy="219950"/>
              <a:chOff x="5716936" y="3051333"/>
              <a:chExt cx="754761" cy="751808"/>
            </a:xfrm>
          </p:grpSpPr>
          <p:sp>
            <p:nvSpPr>
              <p:cNvPr id="47" name="Google Shape;952;p19">
                <a:extLst>
                  <a:ext uri="{FF2B5EF4-FFF2-40B4-BE49-F238E27FC236}">
                    <a16:creationId xmlns:a16="http://schemas.microsoft.com/office/drawing/2014/main" id="{71EEB18E-D672-0BBB-D622-6E6933379EC5}"/>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48" name="Google Shape;953;p19">
                <a:extLst>
                  <a:ext uri="{FF2B5EF4-FFF2-40B4-BE49-F238E27FC236}">
                    <a16:creationId xmlns:a16="http://schemas.microsoft.com/office/drawing/2014/main" id="{3BC590AF-69F9-3A02-3D0B-6157FE4B0C1B}"/>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23" name="Google Shape;954;p19" descr="Single gear">
              <a:extLst>
                <a:ext uri="{FF2B5EF4-FFF2-40B4-BE49-F238E27FC236}">
                  <a16:creationId xmlns:a16="http://schemas.microsoft.com/office/drawing/2014/main" id="{BD216526-648B-961D-4948-0F08BA35C635}"/>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3487" y="5062781"/>
              <a:ext cx="225419" cy="22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oogle Shape;955;p19">
              <a:extLst>
                <a:ext uri="{FF2B5EF4-FFF2-40B4-BE49-F238E27FC236}">
                  <a16:creationId xmlns:a16="http://schemas.microsoft.com/office/drawing/2014/main" id="{EF67277C-2FCF-1620-F99E-4BFCEEC94CD3}"/>
                </a:ext>
              </a:extLst>
            </p:cNvPr>
            <p:cNvGrpSpPr>
              <a:grpSpLocks/>
            </p:cNvGrpSpPr>
            <p:nvPr/>
          </p:nvGrpSpPr>
          <p:grpSpPr bwMode="auto">
            <a:xfrm>
              <a:off x="2484828" y="4904504"/>
              <a:ext cx="568336" cy="568336"/>
              <a:chOff x="5965824" y="3300412"/>
              <a:chExt cx="255746" cy="255746"/>
            </a:xfrm>
          </p:grpSpPr>
          <p:sp>
            <p:nvSpPr>
              <p:cNvPr id="40" name="Google Shape;956;p19">
                <a:extLst>
                  <a:ext uri="{FF2B5EF4-FFF2-40B4-BE49-F238E27FC236}">
                    <a16:creationId xmlns:a16="http://schemas.microsoft.com/office/drawing/2014/main" id="{2A300342-8875-EDC9-985E-443634239760}"/>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1" name="Google Shape;957;p19">
                <a:extLst>
                  <a:ext uri="{FF2B5EF4-FFF2-40B4-BE49-F238E27FC236}">
                    <a16:creationId xmlns:a16="http://schemas.microsoft.com/office/drawing/2014/main" id="{85812CF3-6BE8-6BB4-B69F-EC332C25C1E2}"/>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42" name="Google Shape;958;p19">
                <a:extLst>
                  <a:ext uri="{FF2B5EF4-FFF2-40B4-BE49-F238E27FC236}">
                    <a16:creationId xmlns:a16="http://schemas.microsoft.com/office/drawing/2014/main" id="{97F71E52-0202-D06A-3AEF-6D3F39A5CAD6}"/>
                  </a:ext>
                </a:extLst>
              </p:cNvPr>
              <p:cNvGrpSpPr>
                <a:grpSpLocks/>
              </p:cNvGrpSpPr>
              <p:nvPr/>
            </p:nvGrpSpPr>
            <p:grpSpPr bwMode="auto">
              <a:xfrm>
                <a:off x="6014782" y="3349370"/>
                <a:ext cx="157734" cy="157734"/>
                <a:chOff x="6014782" y="3349370"/>
                <a:chExt cx="157734" cy="157734"/>
              </a:xfrm>
            </p:grpSpPr>
            <p:sp>
              <p:nvSpPr>
                <p:cNvPr id="45" name="Google Shape;959;p19">
                  <a:extLst>
                    <a:ext uri="{FF2B5EF4-FFF2-40B4-BE49-F238E27FC236}">
                      <a16:creationId xmlns:a16="http://schemas.microsoft.com/office/drawing/2014/main" id="{35D9E397-5BC4-63B8-BF31-CDCE83573331}"/>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6" name="Google Shape;960;p19">
                  <a:extLst>
                    <a:ext uri="{FF2B5EF4-FFF2-40B4-BE49-F238E27FC236}">
                      <a16:creationId xmlns:a16="http://schemas.microsoft.com/office/drawing/2014/main" id="{0DA936E4-DEAB-2F60-4403-CA283D85705C}"/>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43" name="Google Shape;961;p19">
                <a:extLst>
                  <a:ext uri="{FF2B5EF4-FFF2-40B4-BE49-F238E27FC236}">
                    <a16:creationId xmlns:a16="http://schemas.microsoft.com/office/drawing/2014/main" id="{7F3D14CB-85B1-217B-2463-F857CE87B90A}"/>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44" name="Google Shape;962;p19">
                <a:extLst>
                  <a:ext uri="{FF2B5EF4-FFF2-40B4-BE49-F238E27FC236}">
                    <a16:creationId xmlns:a16="http://schemas.microsoft.com/office/drawing/2014/main" id="{4BC3156A-9E97-510E-A266-2C2EBD3D04A3}"/>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grpSp>
          <p:nvGrpSpPr>
            <p:cNvPr id="25" name="Google Shape;963;p19">
              <a:extLst>
                <a:ext uri="{FF2B5EF4-FFF2-40B4-BE49-F238E27FC236}">
                  <a16:creationId xmlns:a16="http://schemas.microsoft.com/office/drawing/2014/main" id="{4C1F77C7-FFBC-BCBA-633F-0F8C7BA180DD}"/>
                </a:ext>
              </a:extLst>
            </p:cNvPr>
            <p:cNvGrpSpPr>
              <a:grpSpLocks/>
            </p:cNvGrpSpPr>
            <p:nvPr/>
          </p:nvGrpSpPr>
          <p:grpSpPr bwMode="auto">
            <a:xfrm>
              <a:off x="3404926" y="3769072"/>
              <a:ext cx="154655" cy="154655"/>
              <a:chOff x="5965824" y="3300412"/>
              <a:chExt cx="255746" cy="255746"/>
            </a:xfrm>
          </p:grpSpPr>
          <p:sp>
            <p:nvSpPr>
              <p:cNvPr id="33" name="Google Shape;964;p19">
                <a:extLst>
                  <a:ext uri="{FF2B5EF4-FFF2-40B4-BE49-F238E27FC236}">
                    <a16:creationId xmlns:a16="http://schemas.microsoft.com/office/drawing/2014/main" id="{8FE195FA-3664-2BA3-4009-512D88CC908E}"/>
                  </a:ext>
                </a:extLst>
              </p:cNvPr>
              <p:cNvSpPr>
                <a:spLocks/>
              </p:cNvSpPr>
              <p:nvPr/>
            </p:nvSpPr>
            <p:spPr bwMode="auto">
              <a:xfrm>
                <a:off x="5965824" y="3300412"/>
                <a:ext cx="255746" cy="255746"/>
              </a:xfrm>
              <a:custGeom>
                <a:avLst/>
                <a:gdLst>
                  <a:gd name="T0" fmla="*/ 255746 w 255746"/>
                  <a:gd name="T1" fmla="*/ 141256 h 255746"/>
                  <a:gd name="T2" fmla="*/ 255746 w 255746"/>
                  <a:gd name="T3" fmla="*/ 114395 h 255746"/>
                  <a:gd name="T4" fmla="*/ 230029 w 255746"/>
                  <a:gd name="T5" fmla="*/ 114395 h 255746"/>
                  <a:gd name="T6" fmla="*/ 223171 w 255746"/>
                  <a:gd name="T7" fmla="*/ 88297 h 255746"/>
                  <a:gd name="T8" fmla="*/ 245364 w 255746"/>
                  <a:gd name="T9" fmla="*/ 75533 h 255746"/>
                  <a:gd name="T10" fmla="*/ 231934 w 255746"/>
                  <a:gd name="T11" fmla="*/ 52292 h 255746"/>
                  <a:gd name="T12" fmla="*/ 209645 w 255746"/>
                  <a:gd name="T13" fmla="*/ 65151 h 255746"/>
                  <a:gd name="T14" fmla="*/ 190595 w 255746"/>
                  <a:gd name="T15" fmla="*/ 46101 h 255746"/>
                  <a:gd name="T16" fmla="*/ 203454 w 255746"/>
                  <a:gd name="T17" fmla="*/ 23813 h 255746"/>
                  <a:gd name="T18" fmla="*/ 180213 w 255746"/>
                  <a:gd name="T19" fmla="*/ 10382 h 255746"/>
                  <a:gd name="T20" fmla="*/ 167450 w 255746"/>
                  <a:gd name="T21" fmla="*/ 32576 h 255746"/>
                  <a:gd name="T22" fmla="*/ 141351 w 255746"/>
                  <a:gd name="T23" fmla="*/ 25718 h 255746"/>
                  <a:gd name="T24" fmla="*/ 141351 w 255746"/>
                  <a:gd name="T25" fmla="*/ 0 h 255746"/>
                  <a:gd name="T26" fmla="*/ 114491 w 255746"/>
                  <a:gd name="T27" fmla="*/ 0 h 255746"/>
                  <a:gd name="T28" fmla="*/ 114491 w 255746"/>
                  <a:gd name="T29" fmla="*/ 25718 h 255746"/>
                  <a:gd name="T30" fmla="*/ 88392 w 255746"/>
                  <a:gd name="T31" fmla="*/ 32576 h 255746"/>
                  <a:gd name="T32" fmla="*/ 75533 w 255746"/>
                  <a:gd name="T33" fmla="*/ 10382 h 255746"/>
                  <a:gd name="T34" fmla="*/ 52292 w 255746"/>
                  <a:gd name="T35" fmla="*/ 23813 h 255746"/>
                  <a:gd name="T36" fmla="*/ 65151 w 255746"/>
                  <a:gd name="T37" fmla="*/ 46101 h 255746"/>
                  <a:gd name="T38" fmla="*/ 46101 w 255746"/>
                  <a:gd name="T39" fmla="*/ 65151 h 255746"/>
                  <a:gd name="T40" fmla="*/ 23813 w 255746"/>
                  <a:gd name="T41" fmla="*/ 52292 h 255746"/>
                  <a:gd name="T42" fmla="*/ 10382 w 255746"/>
                  <a:gd name="T43" fmla="*/ 75533 h 255746"/>
                  <a:gd name="T44" fmla="*/ 32576 w 255746"/>
                  <a:gd name="T45" fmla="*/ 88297 h 255746"/>
                  <a:gd name="T46" fmla="*/ 25718 w 255746"/>
                  <a:gd name="T47" fmla="*/ 114395 h 255746"/>
                  <a:gd name="T48" fmla="*/ 0 w 255746"/>
                  <a:gd name="T49" fmla="*/ 114395 h 255746"/>
                  <a:gd name="T50" fmla="*/ 0 w 255746"/>
                  <a:gd name="T51" fmla="*/ 141256 h 255746"/>
                  <a:gd name="T52" fmla="*/ 25718 w 255746"/>
                  <a:gd name="T53" fmla="*/ 141256 h 255746"/>
                  <a:gd name="T54" fmla="*/ 32576 w 255746"/>
                  <a:gd name="T55" fmla="*/ 167354 h 255746"/>
                  <a:gd name="T56" fmla="*/ 10382 w 255746"/>
                  <a:gd name="T57" fmla="*/ 180213 h 255746"/>
                  <a:gd name="T58" fmla="*/ 23813 w 255746"/>
                  <a:gd name="T59" fmla="*/ 203454 h 255746"/>
                  <a:gd name="T60" fmla="*/ 46101 w 255746"/>
                  <a:gd name="T61" fmla="*/ 190595 h 255746"/>
                  <a:gd name="T62" fmla="*/ 65151 w 255746"/>
                  <a:gd name="T63" fmla="*/ 209645 h 255746"/>
                  <a:gd name="T64" fmla="*/ 52292 w 255746"/>
                  <a:gd name="T65" fmla="*/ 231934 h 255746"/>
                  <a:gd name="T66" fmla="*/ 75533 w 255746"/>
                  <a:gd name="T67" fmla="*/ 245364 h 255746"/>
                  <a:gd name="T68" fmla="*/ 88297 w 255746"/>
                  <a:gd name="T69" fmla="*/ 223171 h 255746"/>
                  <a:gd name="T70" fmla="*/ 114395 w 255746"/>
                  <a:gd name="T71" fmla="*/ 230029 h 255746"/>
                  <a:gd name="T72" fmla="*/ 114395 w 255746"/>
                  <a:gd name="T73" fmla="*/ 255746 h 255746"/>
                  <a:gd name="T74" fmla="*/ 141256 w 255746"/>
                  <a:gd name="T75" fmla="*/ 255746 h 255746"/>
                  <a:gd name="T76" fmla="*/ 141256 w 255746"/>
                  <a:gd name="T77" fmla="*/ 230029 h 255746"/>
                  <a:gd name="T78" fmla="*/ 167354 w 255746"/>
                  <a:gd name="T79" fmla="*/ 223171 h 255746"/>
                  <a:gd name="T80" fmla="*/ 180118 w 255746"/>
                  <a:gd name="T81" fmla="*/ 245364 h 255746"/>
                  <a:gd name="T82" fmla="*/ 203359 w 255746"/>
                  <a:gd name="T83" fmla="*/ 231934 h 255746"/>
                  <a:gd name="T84" fmla="*/ 190500 w 255746"/>
                  <a:gd name="T85" fmla="*/ 209645 h 255746"/>
                  <a:gd name="T86" fmla="*/ 209550 w 255746"/>
                  <a:gd name="T87" fmla="*/ 190595 h 255746"/>
                  <a:gd name="T88" fmla="*/ 231839 w 255746"/>
                  <a:gd name="T89" fmla="*/ 203454 h 255746"/>
                  <a:gd name="T90" fmla="*/ 245269 w 255746"/>
                  <a:gd name="T91" fmla="*/ 180213 h 255746"/>
                  <a:gd name="T92" fmla="*/ 223076 w 255746"/>
                  <a:gd name="T93" fmla="*/ 167354 h 255746"/>
                  <a:gd name="T94" fmla="*/ 229934 w 255746"/>
                  <a:gd name="T95" fmla="*/ 141256 h 255746"/>
                  <a:gd name="T96" fmla="*/ 255746 w 255746"/>
                  <a:gd name="T97" fmla="*/ 141256 h 255746"/>
                  <a:gd name="T98" fmla="*/ 127921 w 255746"/>
                  <a:gd name="T99" fmla="*/ 179356 h 255746"/>
                  <a:gd name="T100" fmla="*/ 76486 w 255746"/>
                  <a:gd name="T101" fmla="*/ 127921 h 255746"/>
                  <a:gd name="T102" fmla="*/ 127921 w 255746"/>
                  <a:gd name="T103" fmla="*/ 76486 h 255746"/>
                  <a:gd name="T104" fmla="*/ 179356 w 255746"/>
                  <a:gd name="T105" fmla="*/ 127921 h 255746"/>
                  <a:gd name="T106" fmla="*/ 127921 w 255746"/>
                  <a:gd name="T107" fmla="*/ 179356 h 2557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5746" h="255746" extrusionOk="0">
                    <a:moveTo>
                      <a:pt x="255746" y="141256"/>
                    </a:moveTo>
                    <a:lnTo>
                      <a:pt x="255746" y="114395"/>
                    </a:lnTo>
                    <a:lnTo>
                      <a:pt x="230029" y="114395"/>
                    </a:lnTo>
                    <a:cubicBezTo>
                      <a:pt x="228791" y="105251"/>
                      <a:pt x="226505" y="96488"/>
                      <a:pt x="223171" y="88297"/>
                    </a:cubicBezTo>
                    <a:lnTo>
                      <a:pt x="245364" y="75533"/>
                    </a:lnTo>
                    <a:lnTo>
                      <a:pt x="231934" y="52292"/>
                    </a:lnTo>
                    <a:lnTo>
                      <a:pt x="209645" y="65151"/>
                    </a:lnTo>
                    <a:cubicBezTo>
                      <a:pt x="204121" y="58007"/>
                      <a:pt x="197739" y="51626"/>
                      <a:pt x="190595" y="46101"/>
                    </a:cubicBezTo>
                    <a:lnTo>
                      <a:pt x="203454" y="23813"/>
                    </a:lnTo>
                    <a:lnTo>
                      <a:pt x="180213" y="10382"/>
                    </a:lnTo>
                    <a:lnTo>
                      <a:pt x="167450" y="32576"/>
                    </a:lnTo>
                    <a:cubicBezTo>
                      <a:pt x="159258" y="29147"/>
                      <a:pt x="150495" y="26861"/>
                      <a:pt x="141351" y="25718"/>
                    </a:cubicBezTo>
                    <a:lnTo>
                      <a:pt x="141351" y="0"/>
                    </a:lnTo>
                    <a:lnTo>
                      <a:pt x="114491" y="0"/>
                    </a:lnTo>
                    <a:lnTo>
                      <a:pt x="114491" y="25718"/>
                    </a:lnTo>
                    <a:cubicBezTo>
                      <a:pt x="105347" y="26861"/>
                      <a:pt x="96584" y="29242"/>
                      <a:pt x="88392" y="32576"/>
                    </a:cubicBezTo>
                    <a:lnTo>
                      <a:pt x="75533" y="10382"/>
                    </a:lnTo>
                    <a:lnTo>
                      <a:pt x="52292" y="23813"/>
                    </a:lnTo>
                    <a:lnTo>
                      <a:pt x="65151" y="46101"/>
                    </a:lnTo>
                    <a:cubicBezTo>
                      <a:pt x="58007" y="51626"/>
                      <a:pt x="51626" y="58007"/>
                      <a:pt x="46101" y="65151"/>
                    </a:cubicBezTo>
                    <a:lnTo>
                      <a:pt x="23813" y="52292"/>
                    </a:lnTo>
                    <a:lnTo>
                      <a:pt x="10382" y="75533"/>
                    </a:lnTo>
                    <a:lnTo>
                      <a:pt x="32576" y="88297"/>
                    </a:lnTo>
                    <a:cubicBezTo>
                      <a:pt x="29147" y="96488"/>
                      <a:pt x="26861" y="105251"/>
                      <a:pt x="25718" y="114395"/>
                    </a:cubicBezTo>
                    <a:lnTo>
                      <a:pt x="0" y="114395"/>
                    </a:lnTo>
                    <a:lnTo>
                      <a:pt x="0" y="141256"/>
                    </a:lnTo>
                    <a:lnTo>
                      <a:pt x="25718" y="141256"/>
                    </a:lnTo>
                    <a:cubicBezTo>
                      <a:pt x="26861" y="150400"/>
                      <a:pt x="29242" y="159163"/>
                      <a:pt x="32576" y="167354"/>
                    </a:cubicBezTo>
                    <a:lnTo>
                      <a:pt x="10382" y="180213"/>
                    </a:lnTo>
                    <a:lnTo>
                      <a:pt x="23813" y="203454"/>
                    </a:lnTo>
                    <a:lnTo>
                      <a:pt x="46101" y="190595"/>
                    </a:lnTo>
                    <a:cubicBezTo>
                      <a:pt x="51626" y="197739"/>
                      <a:pt x="58007" y="204121"/>
                      <a:pt x="65151" y="209645"/>
                    </a:cubicBezTo>
                    <a:lnTo>
                      <a:pt x="52292" y="231934"/>
                    </a:lnTo>
                    <a:lnTo>
                      <a:pt x="75533" y="245364"/>
                    </a:lnTo>
                    <a:lnTo>
                      <a:pt x="88297" y="223171"/>
                    </a:lnTo>
                    <a:cubicBezTo>
                      <a:pt x="96488" y="226600"/>
                      <a:pt x="105251" y="228886"/>
                      <a:pt x="114395" y="230029"/>
                    </a:cubicBezTo>
                    <a:lnTo>
                      <a:pt x="114395" y="255746"/>
                    </a:lnTo>
                    <a:lnTo>
                      <a:pt x="141256" y="255746"/>
                    </a:lnTo>
                    <a:lnTo>
                      <a:pt x="141256" y="230029"/>
                    </a:lnTo>
                    <a:cubicBezTo>
                      <a:pt x="150305" y="228886"/>
                      <a:pt x="159068" y="226505"/>
                      <a:pt x="167354" y="223171"/>
                    </a:cubicBezTo>
                    <a:lnTo>
                      <a:pt x="180118" y="245364"/>
                    </a:lnTo>
                    <a:lnTo>
                      <a:pt x="203359" y="231934"/>
                    </a:lnTo>
                    <a:lnTo>
                      <a:pt x="190500" y="209645"/>
                    </a:lnTo>
                    <a:cubicBezTo>
                      <a:pt x="197644" y="204121"/>
                      <a:pt x="204026" y="197739"/>
                      <a:pt x="209550" y="190595"/>
                    </a:cubicBezTo>
                    <a:lnTo>
                      <a:pt x="231839" y="203454"/>
                    </a:lnTo>
                    <a:lnTo>
                      <a:pt x="245269" y="180213"/>
                    </a:lnTo>
                    <a:lnTo>
                      <a:pt x="223076" y="167354"/>
                    </a:lnTo>
                    <a:cubicBezTo>
                      <a:pt x="226505" y="159163"/>
                      <a:pt x="228791" y="150400"/>
                      <a:pt x="229934" y="141256"/>
                    </a:cubicBezTo>
                    <a:lnTo>
                      <a:pt x="255746" y="141256"/>
                    </a:lnTo>
                    <a:close/>
                    <a:moveTo>
                      <a:pt x="127921" y="179356"/>
                    </a:moveTo>
                    <a:cubicBezTo>
                      <a:pt x="99536" y="179356"/>
                      <a:pt x="76486" y="156305"/>
                      <a:pt x="76486" y="127921"/>
                    </a:cubicBezTo>
                    <a:cubicBezTo>
                      <a:pt x="76486" y="99536"/>
                      <a:pt x="99536" y="76486"/>
                      <a:pt x="127921" y="76486"/>
                    </a:cubicBezTo>
                    <a:cubicBezTo>
                      <a:pt x="156305" y="76486"/>
                      <a:pt x="179356" y="99536"/>
                      <a:pt x="179356" y="127921"/>
                    </a:cubicBezTo>
                    <a:cubicBezTo>
                      <a:pt x="179356" y="156305"/>
                      <a:pt x="156305" y="179356"/>
                      <a:pt x="127921" y="179356"/>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4" name="Google Shape;965;p19">
                <a:extLst>
                  <a:ext uri="{FF2B5EF4-FFF2-40B4-BE49-F238E27FC236}">
                    <a16:creationId xmlns:a16="http://schemas.microsoft.com/office/drawing/2014/main" id="{2E8218D6-F5B6-11DF-CBD1-F71DBDFA5AC0}"/>
                  </a:ext>
                </a:extLst>
              </p:cNvPr>
              <p:cNvSpPr>
                <a:spLocks/>
              </p:cNvSpPr>
              <p:nvPr/>
            </p:nvSpPr>
            <p:spPr bwMode="auto">
              <a:xfrm>
                <a:off x="5975444" y="3310032"/>
                <a:ext cx="236505" cy="236696"/>
              </a:xfrm>
              <a:custGeom>
                <a:avLst/>
                <a:gdLst>
                  <a:gd name="T0" fmla="*/ 213551 w 236505"/>
                  <a:gd name="T1" fmla="*/ 78772 h 236696"/>
                  <a:gd name="T2" fmla="*/ 226695 w 236505"/>
                  <a:gd name="T3" fmla="*/ 71247 h 236696"/>
                  <a:gd name="T4" fmla="*/ 213170 w 236505"/>
                  <a:gd name="T5" fmla="*/ 48006 h 236696"/>
                  <a:gd name="T6" fmla="*/ 200025 w 236505"/>
                  <a:gd name="T7" fmla="*/ 55531 h 236696"/>
                  <a:gd name="T8" fmla="*/ 180975 w 236505"/>
                  <a:gd name="T9" fmla="*/ 36481 h 236696"/>
                  <a:gd name="T10" fmla="*/ 188595 w 236505"/>
                  <a:gd name="T11" fmla="*/ 23336 h 236696"/>
                  <a:gd name="T12" fmla="*/ 165354 w 236505"/>
                  <a:gd name="T13" fmla="*/ 9811 h 236696"/>
                  <a:gd name="T14" fmla="*/ 157829 w 236505"/>
                  <a:gd name="T15" fmla="*/ 22955 h 236696"/>
                  <a:gd name="T16" fmla="*/ 131731 w 236505"/>
                  <a:gd name="T17" fmla="*/ 16097 h 236696"/>
                  <a:gd name="T18" fmla="*/ 131731 w 236505"/>
                  <a:gd name="T19" fmla="*/ 857 h 236696"/>
                  <a:gd name="T20" fmla="*/ 118301 w 236505"/>
                  <a:gd name="T21" fmla="*/ 0 h 236696"/>
                  <a:gd name="T22" fmla="*/ 104870 w 236505"/>
                  <a:gd name="T23" fmla="*/ 857 h 236696"/>
                  <a:gd name="T24" fmla="*/ 104870 w 236505"/>
                  <a:gd name="T25" fmla="*/ 16097 h 236696"/>
                  <a:gd name="T26" fmla="*/ 78772 w 236505"/>
                  <a:gd name="T27" fmla="*/ 22955 h 236696"/>
                  <a:gd name="T28" fmla="*/ 71152 w 236505"/>
                  <a:gd name="T29" fmla="*/ 9811 h 236696"/>
                  <a:gd name="T30" fmla="*/ 48006 w 236505"/>
                  <a:gd name="T31" fmla="*/ 23336 h 236696"/>
                  <a:gd name="T32" fmla="*/ 55531 w 236505"/>
                  <a:gd name="T33" fmla="*/ 36481 h 236696"/>
                  <a:gd name="T34" fmla="*/ 36481 w 236505"/>
                  <a:gd name="T35" fmla="*/ 55531 h 236696"/>
                  <a:gd name="T36" fmla="*/ 23336 w 236505"/>
                  <a:gd name="T37" fmla="*/ 48006 h 236696"/>
                  <a:gd name="T38" fmla="*/ 9906 w 236505"/>
                  <a:gd name="T39" fmla="*/ 71152 h 236696"/>
                  <a:gd name="T40" fmla="*/ 23051 w 236505"/>
                  <a:gd name="T41" fmla="*/ 78772 h 236696"/>
                  <a:gd name="T42" fmla="*/ 16193 w 236505"/>
                  <a:gd name="T43" fmla="*/ 104870 h 236696"/>
                  <a:gd name="T44" fmla="*/ 857 w 236505"/>
                  <a:gd name="T45" fmla="*/ 104870 h 236696"/>
                  <a:gd name="T46" fmla="*/ 0 w 236505"/>
                  <a:gd name="T47" fmla="*/ 118301 h 236696"/>
                  <a:gd name="T48" fmla="*/ 857 w 236505"/>
                  <a:gd name="T49" fmla="*/ 131731 h 236696"/>
                  <a:gd name="T50" fmla="*/ 16097 w 236505"/>
                  <a:gd name="T51" fmla="*/ 131731 h 236696"/>
                  <a:gd name="T52" fmla="*/ 22955 w 236505"/>
                  <a:gd name="T53" fmla="*/ 157829 h 236696"/>
                  <a:gd name="T54" fmla="*/ 9811 w 236505"/>
                  <a:gd name="T55" fmla="*/ 165449 h 236696"/>
                  <a:gd name="T56" fmla="*/ 23336 w 236505"/>
                  <a:gd name="T57" fmla="*/ 188690 h 236696"/>
                  <a:gd name="T58" fmla="*/ 36481 w 236505"/>
                  <a:gd name="T59" fmla="*/ 181166 h 236696"/>
                  <a:gd name="T60" fmla="*/ 55531 w 236505"/>
                  <a:gd name="T61" fmla="*/ 200216 h 236696"/>
                  <a:gd name="T62" fmla="*/ 48006 w 236505"/>
                  <a:gd name="T63" fmla="*/ 213360 h 236696"/>
                  <a:gd name="T64" fmla="*/ 71247 w 236505"/>
                  <a:gd name="T65" fmla="*/ 226886 h 236696"/>
                  <a:gd name="T66" fmla="*/ 78867 w 236505"/>
                  <a:gd name="T67" fmla="*/ 213741 h 236696"/>
                  <a:gd name="T68" fmla="*/ 104966 w 236505"/>
                  <a:gd name="T69" fmla="*/ 220599 h 236696"/>
                  <a:gd name="T70" fmla="*/ 104966 w 236505"/>
                  <a:gd name="T71" fmla="*/ 235839 h 236696"/>
                  <a:gd name="T72" fmla="*/ 118396 w 236505"/>
                  <a:gd name="T73" fmla="*/ 236696 h 236696"/>
                  <a:gd name="T74" fmla="*/ 131826 w 236505"/>
                  <a:gd name="T75" fmla="*/ 235839 h 236696"/>
                  <a:gd name="T76" fmla="*/ 131826 w 236505"/>
                  <a:gd name="T77" fmla="*/ 220599 h 236696"/>
                  <a:gd name="T78" fmla="*/ 157925 w 236505"/>
                  <a:gd name="T79" fmla="*/ 213741 h 236696"/>
                  <a:gd name="T80" fmla="*/ 165449 w 236505"/>
                  <a:gd name="T81" fmla="*/ 226886 h 236696"/>
                  <a:gd name="T82" fmla="*/ 188690 w 236505"/>
                  <a:gd name="T83" fmla="*/ 213360 h 236696"/>
                  <a:gd name="T84" fmla="*/ 181070 w 236505"/>
                  <a:gd name="T85" fmla="*/ 200216 h 236696"/>
                  <a:gd name="T86" fmla="*/ 200120 w 236505"/>
                  <a:gd name="T87" fmla="*/ 181166 h 236696"/>
                  <a:gd name="T88" fmla="*/ 213265 w 236505"/>
                  <a:gd name="T89" fmla="*/ 188690 h 236696"/>
                  <a:gd name="T90" fmla="*/ 226790 w 236505"/>
                  <a:gd name="T91" fmla="*/ 165449 h 236696"/>
                  <a:gd name="T92" fmla="*/ 213646 w 236505"/>
                  <a:gd name="T93" fmla="*/ 157925 h 236696"/>
                  <a:gd name="T94" fmla="*/ 220504 w 236505"/>
                  <a:gd name="T95" fmla="*/ 131826 h 236696"/>
                  <a:gd name="T96" fmla="*/ 235649 w 236505"/>
                  <a:gd name="T97" fmla="*/ 131826 h 236696"/>
                  <a:gd name="T98" fmla="*/ 236506 w 236505"/>
                  <a:gd name="T99" fmla="*/ 118396 h 236696"/>
                  <a:gd name="T100" fmla="*/ 235649 w 236505"/>
                  <a:gd name="T101" fmla="*/ 104966 h 236696"/>
                  <a:gd name="T102" fmla="*/ 220504 w 236505"/>
                  <a:gd name="T103" fmla="*/ 104966 h 236696"/>
                  <a:gd name="T104" fmla="*/ 213551 w 236505"/>
                  <a:gd name="T105" fmla="*/ 78772 h 236696"/>
                  <a:gd name="T106" fmla="*/ 118301 w 236505"/>
                  <a:gd name="T107" fmla="*/ 169736 h 236696"/>
                  <a:gd name="T108" fmla="*/ 66866 w 236505"/>
                  <a:gd name="T109" fmla="*/ 118301 h 236696"/>
                  <a:gd name="T110" fmla="*/ 118301 w 236505"/>
                  <a:gd name="T111" fmla="*/ 66866 h 236696"/>
                  <a:gd name="T112" fmla="*/ 169736 w 236505"/>
                  <a:gd name="T113" fmla="*/ 118301 h 236696"/>
                  <a:gd name="T114" fmla="*/ 118301 w 236505"/>
                  <a:gd name="T115" fmla="*/ 169736 h 2366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36505" h="236696" extrusionOk="0">
                    <a:moveTo>
                      <a:pt x="213551" y="78772"/>
                    </a:moveTo>
                    <a:lnTo>
                      <a:pt x="226695" y="71247"/>
                    </a:lnTo>
                    <a:cubicBezTo>
                      <a:pt x="223076" y="62960"/>
                      <a:pt x="218504" y="55245"/>
                      <a:pt x="213170" y="48006"/>
                    </a:cubicBezTo>
                    <a:lnTo>
                      <a:pt x="200025" y="55531"/>
                    </a:lnTo>
                    <a:cubicBezTo>
                      <a:pt x="194501" y="48387"/>
                      <a:pt x="188119" y="42005"/>
                      <a:pt x="180975" y="36481"/>
                    </a:cubicBezTo>
                    <a:lnTo>
                      <a:pt x="188595" y="23336"/>
                    </a:lnTo>
                    <a:cubicBezTo>
                      <a:pt x="181451" y="18002"/>
                      <a:pt x="173641" y="13430"/>
                      <a:pt x="165354" y="9811"/>
                    </a:cubicBezTo>
                    <a:lnTo>
                      <a:pt x="157829" y="22955"/>
                    </a:lnTo>
                    <a:cubicBezTo>
                      <a:pt x="149638" y="19526"/>
                      <a:pt x="140875" y="17240"/>
                      <a:pt x="131731" y="16097"/>
                    </a:cubicBezTo>
                    <a:lnTo>
                      <a:pt x="131731" y="857"/>
                    </a:lnTo>
                    <a:cubicBezTo>
                      <a:pt x="127349" y="381"/>
                      <a:pt x="122873" y="0"/>
                      <a:pt x="118301" y="0"/>
                    </a:cubicBezTo>
                    <a:cubicBezTo>
                      <a:pt x="113729" y="0"/>
                      <a:pt x="109347" y="286"/>
                      <a:pt x="104870" y="857"/>
                    </a:cubicBezTo>
                    <a:lnTo>
                      <a:pt x="104870" y="16097"/>
                    </a:lnTo>
                    <a:cubicBezTo>
                      <a:pt x="95726" y="17240"/>
                      <a:pt x="86963" y="19622"/>
                      <a:pt x="78772" y="22955"/>
                    </a:cubicBezTo>
                    <a:lnTo>
                      <a:pt x="71152" y="9811"/>
                    </a:lnTo>
                    <a:cubicBezTo>
                      <a:pt x="62865" y="13430"/>
                      <a:pt x="55150" y="18002"/>
                      <a:pt x="48006" y="23336"/>
                    </a:cubicBezTo>
                    <a:lnTo>
                      <a:pt x="55531" y="36481"/>
                    </a:lnTo>
                    <a:cubicBezTo>
                      <a:pt x="48387" y="42005"/>
                      <a:pt x="42005" y="48387"/>
                      <a:pt x="36481" y="55531"/>
                    </a:cubicBezTo>
                    <a:lnTo>
                      <a:pt x="23336" y="48006"/>
                    </a:lnTo>
                    <a:cubicBezTo>
                      <a:pt x="18098" y="55150"/>
                      <a:pt x="13430" y="62865"/>
                      <a:pt x="9906" y="71152"/>
                    </a:cubicBezTo>
                    <a:lnTo>
                      <a:pt x="23051" y="78772"/>
                    </a:lnTo>
                    <a:cubicBezTo>
                      <a:pt x="19622" y="86963"/>
                      <a:pt x="17336" y="95726"/>
                      <a:pt x="16193" y="104870"/>
                    </a:cubicBezTo>
                    <a:lnTo>
                      <a:pt x="857" y="104870"/>
                    </a:lnTo>
                    <a:cubicBezTo>
                      <a:pt x="381" y="109252"/>
                      <a:pt x="0" y="113729"/>
                      <a:pt x="0" y="118301"/>
                    </a:cubicBezTo>
                    <a:cubicBezTo>
                      <a:pt x="0" y="122873"/>
                      <a:pt x="286" y="127349"/>
                      <a:pt x="857" y="131731"/>
                    </a:cubicBezTo>
                    <a:lnTo>
                      <a:pt x="16097" y="131731"/>
                    </a:lnTo>
                    <a:cubicBezTo>
                      <a:pt x="17240" y="140875"/>
                      <a:pt x="19622" y="149638"/>
                      <a:pt x="22955" y="157829"/>
                    </a:cubicBezTo>
                    <a:lnTo>
                      <a:pt x="9811" y="165449"/>
                    </a:lnTo>
                    <a:cubicBezTo>
                      <a:pt x="13430" y="173736"/>
                      <a:pt x="18002" y="181451"/>
                      <a:pt x="23336" y="188690"/>
                    </a:cubicBezTo>
                    <a:lnTo>
                      <a:pt x="36481" y="181166"/>
                    </a:lnTo>
                    <a:cubicBezTo>
                      <a:pt x="42005" y="188309"/>
                      <a:pt x="48387" y="194691"/>
                      <a:pt x="55531" y="200216"/>
                    </a:cubicBezTo>
                    <a:lnTo>
                      <a:pt x="48006" y="213360"/>
                    </a:lnTo>
                    <a:cubicBezTo>
                      <a:pt x="55150" y="218694"/>
                      <a:pt x="62960" y="223266"/>
                      <a:pt x="71247" y="226886"/>
                    </a:cubicBezTo>
                    <a:lnTo>
                      <a:pt x="78867" y="213741"/>
                    </a:lnTo>
                    <a:cubicBezTo>
                      <a:pt x="87059" y="217170"/>
                      <a:pt x="95822" y="219456"/>
                      <a:pt x="104966" y="220599"/>
                    </a:cubicBezTo>
                    <a:lnTo>
                      <a:pt x="104966" y="235839"/>
                    </a:lnTo>
                    <a:cubicBezTo>
                      <a:pt x="109347" y="236315"/>
                      <a:pt x="113824" y="236696"/>
                      <a:pt x="118396" y="236696"/>
                    </a:cubicBezTo>
                    <a:cubicBezTo>
                      <a:pt x="122968" y="236696"/>
                      <a:pt x="127445" y="236411"/>
                      <a:pt x="131826" y="235839"/>
                    </a:cubicBezTo>
                    <a:lnTo>
                      <a:pt x="131826" y="220599"/>
                    </a:lnTo>
                    <a:cubicBezTo>
                      <a:pt x="140875" y="219456"/>
                      <a:pt x="149638" y="217075"/>
                      <a:pt x="157925" y="213741"/>
                    </a:cubicBezTo>
                    <a:lnTo>
                      <a:pt x="165449" y="226886"/>
                    </a:lnTo>
                    <a:cubicBezTo>
                      <a:pt x="173736" y="223266"/>
                      <a:pt x="181451" y="218694"/>
                      <a:pt x="188690" y="213360"/>
                    </a:cubicBezTo>
                    <a:lnTo>
                      <a:pt x="181070" y="200216"/>
                    </a:lnTo>
                    <a:cubicBezTo>
                      <a:pt x="188214" y="194691"/>
                      <a:pt x="194596" y="188309"/>
                      <a:pt x="200120" y="181166"/>
                    </a:cubicBezTo>
                    <a:lnTo>
                      <a:pt x="213265" y="188690"/>
                    </a:lnTo>
                    <a:cubicBezTo>
                      <a:pt x="218599" y="181547"/>
                      <a:pt x="223171" y="173736"/>
                      <a:pt x="226790" y="165449"/>
                    </a:cubicBezTo>
                    <a:lnTo>
                      <a:pt x="213646" y="157925"/>
                    </a:lnTo>
                    <a:cubicBezTo>
                      <a:pt x="217075" y="149733"/>
                      <a:pt x="219361" y="140970"/>
                      <a:pt x="220504" y="131826"/>
                    </a:cubicBezTo>
                    <a:lnTo>
                      <a:pt x="235649" y="131826"/>
                    </a:lnTo>
                    <a:cubicBezTo>
                      <a:pt x="236125" y="127445"/>
                      <a:pt x="236506" y="122968"/>
                      <a:pt x="236506" y="118396"/>
                    </a:cubicBezTo>
                    <a:cubicBezTo>
                      <a:pt x="236506" y="113824"/>
                      <a:pt x="236220" y="109347"/>
                      <a:pt x="235649" y="104966"/>
                    </a:cubicBezTo>
                    <a:lnTo>
                      <a:pt x="220504" y="104966"/>
                    </a:lnTo>
                    <a:cubicBezTo>
                      <a:pt x="219266" y="95726"/>
                      <a:pt x="216980" y="86963"/>
                      <a:pt x="213551" y="78772"/>
                    </a:cubicBezTo>
                    <a:close/>
                    <a:moveTo>
                      <a:pt x="118301" y="169736"/>
                    </a:moveTo>
                    <a:cubicBezTo>
                      <a:pt x="89916" y="169736"/>
                      <a:pt x="66866" y="146685"/>
                      <a:pt x="66866" y="118301"/>
                    </a:cubicBezTo>
                    <a:cubicBezTo>
                      <a:pt x="66866" y="89916"/>
                      <a:pt x="89916" y="66866"/>
                      <a:pt x="118301" y="66866"/>
                    </a:cubicBezTo>
                    <a:cubicBezTo>
                      <a:pt x="146685" y="66866"/>
                      <a:pt x="169736" y="89916"/>
                      <a:pt x="169736" y="118301"/>
                    </a:cubicBezTo>
                    <a:cubicBezTo>
                      <a:pt x="169736" y="146685"/>
                      <a:pt x="146685" y="169736"/>
                      <a:pt x="118301" y="16973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nvGrpSpPr>
              <p:cNvPr id="35" name="Google Shape;966;p19">
                <a:extLst>
                  <a:ext uri="{FF2B5EF4-FFF2-40B4-BE49-F238E27FC236}">
                    <a16:creationId xmlns:a16="http://schemas.microsoft.com/office/drawing/2014/main" id="{0B06AE9E-E3B6-204B-0A34-F0CC382F1D12}"/>
                  </a:ext>
                </a:extLst>
              </p:cNvPr>
              <p:cNvGrpSpPr>
                <a:grpSpLocks/>
              </p:cNvGrpSpPr>
              <p:nvPr/>
            </p:nvGrpSpPr>
            <p:grpSpPr bwMode="auto">
              <a:xfrm>
                <a:off x="6014782" y="3349370"/>
                <a:ext cx="157734" cy="157734"/>
                <a:chOff x="6014782" y="3349370"/>
                <a:chExt cx="157734" cy="157734"/>
              </a:xfrm>
            </p:grpSpPr>
            <p:sp>
              <p:nvSpPr>
                <p:cNvPr id="38" name="Google Shape;967;p19">
                  <a:extLst>
                    <a:ext uri="{FF2B5EF4-FFF2-40B4-BE49-F238E27FC236}">
                      <a16:creationId xmlns:a16="http://schemas.microsoft.com/office/drawing/2014/main" id="{3A7B3086-C1E0-26C7-1B75-8D13F767E021}"/>
                    </a:ext>
                  </a:extLst>
                </p:cNvPr>
                <p:cNvSpPr>
                  <a:spLocks/>
                </p:cNvSpPr>
                <p:nvPr/>
              </p:nvSpPr>
              <p:spPr bwMode="auto">
                <a:xfrm>
                  <a:off x="6087934" y="3349370"/>
                  <a:ext cx="11620" cy="157734"/>
                </a:xfrm>
                <a:custGeom>
                  <a:avLst/>
                  <a:gdLst>
                    <a:gd name="T0" fmla="*/ 0 w 11620"/>
                    <a:gd name="T1" fmla="*/ 0 h 157734"/>
                    <a:gd name="T2" fmla="*/ 11621 w 11620"/>
                    <a:gd name="T3" fmla="*/ 0 h 157734"/>
                    <a:gd name="T4" fmla="*/ 11621 w 11620"/>
                    <a:gd name="T5" fmla="*/ 157734 h 157734"/>
                    <a:gd name="T6" fmla="*/ 0 w 11620"/>
                    <a:gd name="T7" fmla="*/ 157734 h 157734"/>
                    <a:gd name="T8" fmla="*/ 0 w 11620"/>
                    <a:gd name="T9" fmla="*/ 0 h 1577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20" h="157734" extrusionOk="0">
                      <a:moveTo>
                        <a:pt x="0" y="0"/>
                      </a:moveTo>
                      <a:lnTo>
                        <a:pt x="11621" y="0"/>
                      </a:lnTo>
                      <a:lnTo>
                        <a:pt x="11621" y="157734"/>
                      </a:lnTo>
                      <a:lnTo>
                        <a:pt x="0" y="157734"/>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9" name="Google Shape;968;p19">
                  <a:extLst>
                    <a:ext uri="{FF2B5EF4-FFF2-40B4-BE49-F238E27FC236}">
                      <a16:creationId xmlns:a16="http://schemas.microsoft.com/office/drawing/2014/main" id="{6F03D700-D98E-D995-225D-40C8CBD4E45F}"/>
                    </a:ext>
                  </a:extLst>
                </p:cNvPr>
                <p:cNvSpPr>
                  <a:spLocks/>
                </p:cNvSpPr>
                <p:nvPr/>
              </p:nvSpPr>
              <p:spPr bwMode="auto">
                <a:xfrm>
                  <a:off x="6014782" y="3422522"/>
                  <a:ext cx="157734" cy="11525"/>
                </a:xfrm>
                <a:custGeom>
                  <a:avLst/>
                  <a:gdLst>
                    <a:gd name="T0" fmla="*/ 0 w 157734"/>
                    <a:gd name="T1" fmla="*/ 0 h 11525"/>
                    <a:gd name="T2" fmla="*/ 157734 w 157734"/>
                    <a:gd name="T3" fmla="*/ 0 h 11525"/>
                    <a:gd name="T4" fmla="*/ 157734 w 157734"/>
                    <a:gd name="T5" fmla="*/ 11525 h 11525"/>
                    <a:gd name="T6" fmla="*/ 0 w 157734"/>
                    <a:gd name="T7" fmla="*/ 11525 h 11525"/>
                    <a:gd name="T8" fmla="*/ 0 w 157734"/>
                    <a:gd name="T9" fmla="*/ 0 h 115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734" h="11525" extrusionOk="0">
                      <a:moveTo>
                        <a:pt x="0" y="0"/>
                      </a:moveTo>
                      <a:lnTo>
                        <a:pt x="157734" y="0"/>
                      </a:lnTo>
                      <a:lnTo>
                        <a:pt x="157734" y="11525"/>
                      </a:lnTo>
                      <a:lnTo>
                        <a:pt x="0" y="11525"/>
                      </a:lnTo>
                      <a:lnTo>
                        <a:pt x="0" y="0"/>
                      </a:ln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sp>
            <p:nvSpPr>
              <p:cNvPr id="36" name="Google Shape;969;p19">
                <a:extLst>
                  <a:ext uri="{FF2B5EF4-FFF2-40B4-BE49-F238E27FC236}">
                    <a16:creationId xmlns:a16="http://schemas.microsoft.com/office/drawing/2014/main" id="{4B7C5490-9E18-9A28-3093-321AD0DC3B76}"/>
                  </a:ext>
                </a:extLst>
              </p:cNvPr>
              <p:cNvSpPr>
                <a:spLocks/>
              </p:cNvSpPr>
              <p:nvPr/>
            </p:nvSpPr>
            <p:spPr bwMode="auto">
              <a:xfrm>
                <a:off x="6003543" y="3338131"/>
                <a:ext cx="180212" cy="180212"/>
              </a:xfrm>
              <a:custGeom>
                <a:avLst/>
                <a:gdLst>
                  <a:gd name="T0" fmla="*/ 90107 w 180212"/>
                  <a:gd name="T1" fmla="*/ 0 h 180212"/>
                  <a:gd name="T2" fmla="*/ 0 w 180212"/>
                  <a:gd name="T3" fmla="*/ 90107 h 180212"/>
                  <a:gd name="T4" fmla="*/ 90107 w 180212"/>
                  <a:gd name="T5" fmla="*/ 180213 h 180212"/>
                  <a:gd name="T6" fmla="*/ 180213 w 180212"/>
                  <a:gd name="T7" fmla="*/ 90107 h 180212"/>
                  <a:gd name="T8" fmla="*/ 90107 w 180212"/>
                  <a:gd name="T9" fmla="*/ 0 h 180212"/>
                  <a:gd name="T10" fmla="*/ 90107 w 180212"/>
                  <a:gd name="T11" fmla="*/ 141542 h 180212"/>
                  <a:gd name="T12" fmla="*/ 38672 w 180212"/>
                  <a:gd name="T13" fmla="*/ 90107 h 180212"/>
                  <a:gd name="T14" fmla="*/ 90107 w 180212"/>
                  <a:gd name="T15" fmla="*/ 38672 h 180212"/>
                  <a:gd name="T16" fmla="*/ 141542 w 180212"/>
                  <a:gd name="T17" fmla="*/ 90107 h 180212"/>
                  <a:gd name="T18" fmla="*/ 90107 w 180212"/>
                  <a:gd name="T19" fmla="*/ 141542 h 180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0212" h="180212" extrusionOk="0">
                    <a:moveTo>
                      <a:pt x="90107" y="0"/>
                    </a:moveTo>
                    <a:cubicBezTo>
                      <a:pt x="40386" y="0"/>
                      <a:pt x="0" y="40386"/>
                      <a:pt x="0" y="90107"/>
                    </a:cubicBezTo>
                    <a:cubicBezTo>
                      <a:pt x="0" y="139827"/>
                      <a:pt x="40386" y="180213"/>
                      <a:pt x="90107" y="180213"/>
                    </a:cubicBezTo>
                    <a:cubicBezTo>
                      <a:pt x="139827" y="180213"/>
                      <a:pt x="180213" y="139827"/>
                      <a:pt x="180213" y="90107"/>
                    </a:cubicBezTo>
                    <a:cubicBezTo>
                      <a:pt x="180213" y="40386"/>
                      <a:pt x="139922" y="0"/>
                      <a:pt x="90107" y="0"/>
                    </a:cubicBezTo>
                    <a:close/>
                    <a:moveTo>
                      <a:pt x="90107" y="141542"/>
                    </a:moveTo>
                    <a:cubicBezTo>
                      <a:pt x="61722" y="141542"/>
                      <a:pt x="38672" y="118491"/>
                      <a:pt x="38672" y="90107"/>
                    </a:cubicBezTo>
                    <a:cubicBezTo>
                      <a:pt x="38672" y="61722"/>
                      <a:pt x="61722" y="38672"/>
                      <a:pt x="90107" y="38672"/>
                    </a:cubicBezTo>
                    <a:cubicBezTo>
                      <a:pt x="118491" y="38672"/>
                      <a:pt x="141542" y="61722"/>
                      <a:pt x="141542" y="90107"/>
                    </a:cubicBezTo>
                    <a:cubicBezTo>
                      <a:pt x="141542" y="118586"/>
                      <a:pt x="118586" y="141542"/>
                      <a:pt x="90107" y="1415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sp>
            <p:nvSpPr>
              <p:cNvPr id="37" name="Google Shape;970;p19">
                <a:extLst>
                  <a:ext uri="{FF2B5EF4-FFF2-40B4-BE49-F238E27FC236}">
                    <a16:creationId xmlns:a16="http://schemas.microsoft.com/office/drawing/2014/main" id="{D2547C6E-336D-BF81-8617-BD3EA5D173CC}"/>
                  </a:ext>
                </a:extLst>
              </p:cNvPr>
              <p:cNvSpPr>
                <a:spLocks/>
              </p:cNvSpPr>
              <p:nvPr/>
            </p:nvSpPr>
            <p:spPr bwMode="auto">
              <a:xfrm>
                <a:off x="6033165" y="3367753"/>
                <a:ext cx="120967" cy="120967"/>
              </a:xfrm>
              <a:custGeom>
                <a:avLst/>
                <a:gdLst>
                  <a:gd name="T0" fmla="*/ 60484 w 120967"/>
                  <a:gd name="T1" fmla="*/ 0 h 120967"/>
                  <a:gd name="T2" fmla="*/ 0 w 120967"/>
                  <a:gd name="T3" fmla="*/ 60484 h 120967"/>
                  <a:gd name="T4" fmla="*/ 60484 w 120967"/>
                  <a:gd name="T5" fmla="*/ 120968 h 120967"/>
                  <a:gd name="T6" fmla="*/ 120968 w 120967"/>
                  <a:gd name="T7" fmla="*/ 60484 h 120967"/>
                  <a:gd name="T8" fmla="*/ 60484 w 120967"/>
                  <a:gd name="T9" fmla="*/ 0 h 120967"/>
                  <a:gd name="T10" fmla="*/ 60484 w 120967"/>
                  <a:gd name="T11" fmla="*/ 112014 h 120967"/>
                  <a:gd name="T12" fmla="*/ 9049 w 120967"/>
                  <a:gd name="T13" fmla="*/ 60579 h 120967"/>
                  <a:gd name="T14" fmla="*/ 60484 w 120967"/>
                  <a:gd name="T15" fmla="*/ 9144 h 120967"/>
                  <a:gd name="T16" fmla="*/ 111919 w 120967"/>
                  <a:gd name="T17" fmla="*/ 60579 h 120967"/>
                  <a:gd name="T18" fmla="*/ 60484 w 120967"/>
                  <a:gd name="T19" fmla="*/ 112014 h 1209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967" h="120967" extrusionOk="0">
                    <a:moveTo>
                      <a:pt x="60484" y="0"/>
                    </a:moveTo>
                    <a:cubicBezTo>
                      <a:pt x="27051" y="0"/>
                      <a:pt x="0" y="27051"/>
                      <a:pt x="0" y="60484"/>
                    </a:cubicBezTo>
                    <a:cubicBezTo>
                      <a:pt x="0" y="93917"/>
                      <a:pt x="27146" y="120968"/>
                      <a:pt x="60484" y="120968"/>
                    </a:cubicBezTo>
                    <a:cubicBezTo>
                      <a:pt x="93917" y="120968"/>
                      <a:pt x="120968" y="93917"/>
                      <a:pt x="120968" y="60484"/>
                    </a:cubicBezTo>
                    <a:cubicBezTo>
                      <a:pt x="121063" y="27146"/>
                      <a:pt x="93917" y="0"/>
                      <a:pt x="60484" y="0"/>
                    </a:cubicBezTo>
                    <a:close/>
                    <a:moveTo>
                      <a:pt x="60484" y="112014"/>
                    </a:moveTo>
                    <a:cubicBezTo>
                      <a:pt x="32099" y="112014"/>
                      <a:pt x="9049" y="88964"/>
                      <a:pt x="9049" y="60579"/>
                    </a:cubicBezTo>
                    <a:cubicBezTo>
                      <a:pt x="9049" y="32194"/>
                      <a:pt x="32099" y="9144"/>
                      <a:pt x="60484" y="9144"/>
                    </a:cubicBezTo>
                    <a:cubicBezTo>
                      <a:pt x="88868" y="9144"/>
                      <a:pt x="111919" y="32194"/>
                      <a:pt x="111919" y="60579"/>
                    </a:cubicBezTo>
                    <a:cubicBezTo>
                      <a:pt x="111919" y="88964"/>
                      <a:pt x="88964" y="112014"/>
                      <a:pt x="60484" y="112014"/>
                    </a:cubicBezTo>
                    <a:close/>
                  </a:path>
                </a:pathLst>
              </a:custGeom>
              <a:solidFill>
                <a:srgbClr val="FF4917"/>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p>
                <a:endParaRPr lang="en-IN"/>
              </a:p>
            </p:txBody>
          </p:sp>
        </p:grpSp>
        <p:grpSp>
          <p:nvGrpSpPr>
            <p:cNvPr id="26" name="Google Shape;971;p19">
              <a:extLst>
                <a:ext uri="{FF2B5EF4-FFF2-40B4-BE49-F238E27FC236}">
                  <a16:creationId xmlns:a16="http://schemas.microsoft.com/office/drawing/2014/main" id="{ECE61790-7C8D-4AB9-A6AB-6908F609D99C}"/>
                </a:ext>
              </a:extLst>
            </p:cNvPr>
            <p:cNvGrpSpPr>
              <a:grpSpLocks/>
            </p:cNvGrpSpPr>
            <p:nvPr/>
          </p:nvGrpSpPr>
          <p:grpSpPr bwMode="auto">
            <a:xfrm>
              <a:off x="3660939" y="3075941"/>
              <a:ext cx="202081" cy="201290"/>
              <a:chOff x="5716936" y="3051333"/>
              <a:chExt cx="754761" cy="751808"/>
            </a:xfrm>
          </p:grpSpPr>
          <p:sp>
            <p:nvSpPr>
              <p:cNvPr id="31" name="Google Shape;972;p19">
                <a:extLst>
                  <a:ext uri="{FF2B5EF4-FFF2-40B4-BE49-F238E27FC236}">
                    <a16:creationId xmlns:a16="http://schemas.microsoft.com/office/drawing/2014/main" id="{722115E1-1566-CD39-7A3F-C302B67A51E2}"/>
                  </a:ext>
                </a:extLst>
              </p:cNvPr>
              <p:cNvSpPr>
                <a:spLocks/>
              </p:cNvSpPr>
              <p:nvPr/>
            </p:nvSpPr>
            <p:spPr bwMode="auto">
              <a:xfrm>
                <a:off x="5716936" y="3051333"/>
                <a:ext cx="754761" cy="751808"/>
              </a:xfrm>
              <a:custGeom>
                <a:avLst/>
                <a:gdLst>
                  <a:gd name="T0" fmla="*/ 751332 w 754761"/>
                  <a:gd name="T1" fmla="*/ 440150 h 751808"/>
                  <a:gd name="T2" fmla="*/ 754761 w 754761"/>
                  <a:gd name="T3" fmla="*/ 336423 h 751808"/>
                  <a:gd name="T4" fmla="*/ 691896 w 754761"/>
                  <a:gd name="T5" fmla="*/ 334423 h 751808"/>
                  <a:gd name="T6" fmla="*/ 674275 w 754761"/>
                  <a:gd name="T7" fmla="*/ 272225 h 751808"/>
                  <a:gd name="T8" fmla="*/ 731901 w 754761"/>
                  <a:gd name="T9" fmla="*/ 240697 h 751808"/>
                  <a:gd name="T10" fmla="*/ 681990 w 754761"/>
                  <a:gd name="T11" fmla="*/ 149638 h 751808"/>
                  <a:gd name="T12" fmla="*/ 620744 w 754761"/>
                  <a:gd name="T13" fmla="*/ 183261 h 751808"/>
                  <a:gd name="T14" fmla="*/ 576929 w 754761"/>
                  <a:gd name="T15" fmla="*/ 140780 h 751808"/>
                  <a:gd name="T16" fmla="*/ 613505 w 754761"/>
                  <a:gd name="T17" fmla="*/ 78867 h 751808"/>
                  <a:gd name="T18" fmla="*/ 524256 w 754761"/>
                  <a:gd name="T19" fmla="*/ 26003 h 751808"/>
                  <a:gd name="T20" fmla="*/ 486442 w 754761"/>
                  <a:gd name="T21" fmla="*/ 89821 h 751808"/>
                  <a:gd name="T22" fmla="*/ 429197 w 754761"/>
                  <a:gd name="T23" fmla="*/ 74962 h 751808"/>
                  <a:gd name="T24" fmla="*/ 429197 w 754761"/>
                  <a:gd name="T25" fmla="*/ 0 h 751808"/>
                  <a:gd name="T26" fmla="*/ 325469 w 754761"/>
                  <a:gd name="T27" fmla="*/ 0 h 751808"/>
                  <a:gd name="T28" fmla="*/ 325469 w 754761"/>
                  <a:gd name="T29" fmla="*/ 74962 h 751808"/>
                  <a:gd name="T30" fmla="*/ 281654 w 754761"/>
                  <a:gd name="T31" fmla="*/ 85249 h 751808"/>
                  <a:gd name="T32" fmla="*/ 246793 w 754761"/>
                  <a:gd name="T33" fmla="*/ 19622 h 751808"/>
                  <a:gd name="T34" fmla="*/ 155162 w 754761"/>
                  <a:gd name="T35" fmla="*/ 68294 h 751808"/>
                  <a:gd name="T36" fmla="*/ 189071 w 754761"/>
                  <a:gd name="T37" fmla="*/ 132112 h 751808"/>
                  <a:gd name="T38" fmla="*/ 147828 w 754761"/>
                  <a:gd name="T39" fmla="*/ 168116 h 751808"/>
                  <a:gd name="T40" fmla="*/ 88297 w 754761"/>
                  <a:gd name="T41" fmla="*/ 130112 h 751808"/>
                  <a:gd name="T42" fmla="*/ 32480 w 754761"/>
                  <a:gd name="T43" fmla="*/ 217646 h 751808"/>
                  <a:gd name="T44" fmla="*/ 88583 w 754761"/>
                  <a:gd name="T45" fmla="*/ 253460 h 751808"/>
                  <a:gd name="T46" fmla="*/ 67151 w 754761"/>
                  <a:gd name="T47" fmla="*/ 313849 h 751808"/>
                  <a:gd name="T48" fmla="*/ 3334 w 754761"/>
                  <a:gd name="T49" fmla="*/ 311753 h 751808"/>
                  <a:gd name="T50" fmla="*/ 0 w 754761"/>
                  <a:gd name="T51" fmla="*/ 415481 h 751808"/>
                  <a:gd name="T52" fmla="*/ 59150 w 754761"/>
                  <a:gd name="T53" fmla="*/ 417385 h 751808"/>
                  <a:gd name="T54" fmla="*/ 72009 w 754761"/>
                  <a:gd name="T55" fmla="*/ 484346 h 751808"/>
                  <a:gd name="T56" fmla="*/ 22860 w 754761"/>
                  <a:gd name="T57" fmla="*/ 511302 h 751808"/>
                  <a:gd name="T58" fmla="*/ 72676 w 754761"/>
                  <a:gd name="T59" fmla="*/ 602171 h 751808"/>
                  <a:gd name="T60" fmla="*/ 118301 w 754761"/>
                  <a:gd name="T61" fmla="*/ 577120 h 751808"/>
                  <a:gd name="T62" fmla="*/ 166497 w 754761"/>
                  <a:gd name="T63" fmla="*/ 630079 h 751808"/>
                  <a:gd name="T64" fmla="*/ 141161 w 754761"/>
                  <a:gd name="T65" fmla="*/ 672941 h 751808"/>
                  <a:gd name="T66" fmla="*/ 230410 w 754761"/>
                  <a:gd name="T67" fmla="*/ 725710 h 751808"/>
                  <a:gd name="T68" fmla="*/ 254508 w 754761"/>
                  <a:gd name="T69" fmla="*/ 685133 h 751808"/>
                  <a:gd name="T70" fmla="*/ 325374 w 754761"/>
                  <a:gd name="T71" fmla="*/ 705326 h 751808"/>
                  <a:gd name="T72" fmla="*/ 325374 w 754761"/>
                  <a:gd name="T73" fmla="*/ 751808 h 751808"/>
                  <a:gd name="T74" fmla="*/ 429101 w 754761"/>
                  <a:gd name="T75" fmla="*/ 751808 h 751808"/>
                  <a:gd name="T76" fmla="*/ 429101 w 754761"/>
                  <a:gd name="T77" fmla="*/ 705326 h 751808"/>
                  <a:gd name="T78" fmla="*/ 485775 w 754761"/>
                  <a:gd name="T79" fmla="*/ 690658 h 751808"/>
                  <a:gd name="T80" fmla="*/ 507873 w 754761"/>
                  <a:gd name="T81" fmla="*/ 732187 h 751808"/>
                  <a:gd name="T82" fmla="*/ 599408 w 754761"/>
                  <a:gd name="T83" fmla="*/ 683514 h 751808"/>
                  <a:gd name="T84" fmla="*/ 576263 w 754761"/>
                  <a:gd name="T85" fmla="*/ 639985 h 751808"/>
                  <a:gd name="T86" fmla="*/ 623126 w 754761"/>
                  <a:gd name="T87" fmla="*/ 594074 h 751808"/>
                  <a:gd name="T88" fmla="*/ 666464 w 754761"/>
                  <a:gd name="T89" fmla="*/ 621697 h 751808"/>
                  <a:gd name="T90" fmla="*/ 722186 w 754761"/>
                  <a:gd name="T91" fmla="*/ 534162 h 751808"/>
                  <a:gd name="T92" fmla="*/ 675608 w 754761"/>
                  <a:gd name="T93" fmla="*/ 504444 h 751808"/>
                  <a:gd name="T94" fmla="*/ 693134 w 754761"/>
                  <a:gd name="T95" fmla="*/ 438150 h 751808"/>
                  <a:gd name="T96" fmla="*/ 751332 w 754761"/>
                  <a:gd name="T97" fmla="*/ 440150 h 7518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4761" h="751808" extrusionOk="0">
                    <a:moveTo>
                      <a:pt x="751332" y="440150"/>
                    </a:moveTo>
                    <a:lnTo>
                      <a:pt x="754761" y="336423"/>
                    </a:lnTo>
                    <a:lnTo>
                      <a:pt x="691896" y="334423"/>
                    </a:lnTo>
                    <a:cubicBezTo>
                      <a:pt x="688086" y="312896"/>
                      <a:pt x="682181" y="292132"/>
                      <a:pt x="674275" y="272225"/>
                    </a:cubicBezTo>
                    <a:lnTo>
                      <a:pt x="731901" y="240697"/>
                    </a:lnTo>
                    <a:lnTo>
                      <a:pt x="681990" y="149638"/>
                    </a:lnTo>
                    <a:lnTo>
                      <a:pt x="620744" y="183261"/>
                    </a:lnTo>
                    <a:cubicBezTo>
                      <a:pt x="607505" y="167735"/>
                      <a:pt x="592836" y="153448"/>
                      <a:pt x="576929" y="140780"/>
                    </a:cubicBezTo>
                    <a:lnTo>
                      <a:pt x="613505" y="78867"/>
                    </a:lnTo>
                    <a:lnTo>
                      <a:pt x="524256" y="26003"/>
                    </a:lnTo>
                    <a:lnTo>
                      <a:pt x="486442" y="89821"/>
                    </a:lnTo>
                    <a:cubicBezTo>
                      <a:pt x="468154" y="83153"/>
                      <a:pt x="449008" y="78200"/>
                      <a:pt x="429197" y="74962"/>
                    </a:cubicBezTo>
                    <a:lnTo>
                      <a:pt x="429197" y="0"/>
                    </a:lnTo>
                    <a:lnTo>
                      <a:pt x="325469" y="0"/>
                    </a:lnTo>
                    <a:lnTo>
                      <a:pt x="325469" y="74962"/>
                    </a:lnTo>
                    <a:cubicBezTo>
                      <a:pt x="310420" y="77438"/>
                      <a:pt x="295847" y="80867"/>
                      <a:pt x="281654" y="85249"/>
                    </a:cubicBezTo>
                    <a:lnTo>
                      <a:pt x="246793" y="19622"/>
                    </a:lnTo>
                    <a:lnTo>
                      <a:pt x="155162" y="68294"/>
                    </a:lnTo>
                    <a:lnTo>
                      <a:pt x="189071" y="132112"/>
                    </a:lnTo>
                    <a:cubicBezTo>
                      <a:pt x="174308" y="142875"/>
                      <a:pt x="160496" y="154972"/>
                      <a:pt x="147828" y="168116"/>
                    </a:cubicBezTo>
                    <a:lnTo>
                      <a:pt x="88297" y="130112"/>
                    </a:lnTo>
                    <a:lnTo>
                      <a:pt x="32480" y="217646"/>
                    </a:lnTo>
                    <a:lnTo>
                      <a:pt x="88583" y="253460"/>
                    </a:lnTo>
                    <a:cubicBezTo>
                      <a:pt x="79439" y="272606"/>
                      <a:pt x="72295" y="292894"/>
                      <a:pt x="67151" y="313849"/>
                    </a:cubicBezTo>
                    <a:lnTo>
                      <a:pt x="3334" y="311753"/>
                    </a:lnTo>
                    <a:lnTo>
                      <a:pt x="0" y="415481"/>
                    </a:lnTo>
                    <a:lnTo>
                      <a:pt x="59150" y="417385"/>
                    </a:lnTo>
                    <a:cubicBezTo>
                      <a:pt x="61055" y="440531"/>
                      <a:pt x="65437" y="462915"/>
                      <a:pt x="72009" y="484346"/>
                    </a:cubicBezTo>
                    <a:lnTo>
                      <a:pt x="22860" y="511302"/>
                    </a:lnTo>
                    <a:lnTo>
                      <a:pt x="72676" y="602171"/>
                    </a:lnTo>
                    <a:lnTo>
                      <a:pt x="118301" y="577120"/>
                    </a:lnTo>
                    <a:cubicBezTo>
                      <a:pt x="132398" y="596551"/>
                      <a:pt x="148495" y="614363"/>
                      <a:pt x="166497" y="630079"/>
                    </a:cubicBezTo>
                    <a:lnTo>
                      <a:pt x="141161" y="672941"/>
                    </a:lnTo>
                    <a:lnTo>
                      <a:pt x="230410" y="725710"/>
                    </a:lnTo>
                    <a:lnTo>
                      <a:pt x="254508" y="685133"/>
                    </a:lnTo>
                    <a:cubicBezTo>
                      <a:pt x="276987" y="694468"/>
                      <a:pt x="300704" y="701231"/>
                      <a:pt x="325374" y="705326"/>
                    </a:cubicBezTo>
                    <a:lnTo>
                      <a:pt x="325374" y="751808"/>
                    </a:lnTo>
                    <a:lnTo>
                      <a:pt x="429101" y="751808"/>
                    </a:lnTo>
                    <a:lnTo>
                      <a:pt x="429101" y="705326"/>
                    </a:lnTo>
                    <a:cubicBezTo>
                      <a:pt x="448628" y="702183"/>
                      <a:pt x="467582" y="697230"/>
                      <a:pt x="485775" y="690658"/>
                    </a:cubicBezTo>
                    <a:lnTo>
                      <a:pt x="507873" y="732187"/>
                    </a:lnTo>
                    <a:lnTo>
                      <a:pt x="599408" y="683514"/>
                    </a:lnTo>
                    <a:lnTo>
                      <a:pt x="576263" y="639985"/>
                    </a:lnTo>
                    <a:cubicBezTo>
                      <a:pt x="593408" y="626269"/>
                      <a:pt x="609124" y="610934"/>
                      <a:pt x="623126" y="594074"/>
                    </a:cubicBezTo>
                    <a:lnTo>
                      <a:pt x="666464" y="621697"/>
                    </a:lnTo>
                    <a:lnTo>
                      <a:pt x="722186" y="534162"/>
                    </a:lnTo>
                    <a:lnTo>
                      <a:pt x="675608" y="504444"/>
                    </a:lnTo>
                    <a:cubicBezTo>
                      <a:pt x="683705" y="483299"/>
                      <a:pt x="689705" y="461105"/>
                      <a:pt x="693134" y="438150"/>
                    </a:cubicBezTo>
                    <a:lnTo>
                      <a:pt x="751332" y="440150"/>
                    </a:lnTo>
                    <a:close/>
                  </a:path>
                </a:pathLst>
              </a:custGeom>
              <a:noFill/>
              <a:ln w="9525" cap="flat" cmpd="sng">
                <a:solidFill>
                  <a:srgbClr val="FF4917"/>
                </a:solidFill>
                <a:prstDash val="solid"/>
                <a:miter lim="8000"/>
                <a:headEnd type="none" w="sm" len="sm"/>
                <a:tailEnd type="none" w="sm" len="sm"/>
              </a:ln>
              <a:extLst>
                <a:ext uri="{909E8E84-426E-40DD-AFC4-6F175D3DCCD1}">
                  <a14:hiddenFill xmlns:a14="http://schemas.microsoft.com/office/drawing/2010/main">
                    <a:solidFill>
                      <a:srgbClr val="FFFFFF"/>
                    </a:solidFill>
                  </a14:hiddenFill>
                </a:ext>
              </a:extLst>
            </p:spPr>
            <p:txBody>
              <a:bodyPr lIns="91425" tIns="45700" rIns="91425" bIns="45700" anchor="ctr"/>
              <a:lstStyle/>
              <a:p>
                <a:endParaRPr lang="en-IN"/>
              </a:p>
            </p:txBody>
          </p:sp>
          <p:sp>
            <p:nvSpPr>
              <p:cNvPr id="32" name="Google Shape;973;p19">
                <a:extLst>
                  <a:ext uri="{FF2B5EF4-FFF2-40B4-BE49-F238E27FC236}">
                    <a16:creationId xmlns:a16="http://schemas.microsoft.com/office/drawing/2014/main" id="{F149BACE-8115-3BF4-BC00-ACE844DD0AB4}"/>
                  </a:ext>
                </a:extLst>
              </p:cNvPr>
              <p:cNvSpPr>
                <a:spLocks/>
              </p:cNvSpPr>
              <p:nvPr/>
            </p:nvSpPr>
            <p:spPr bwMode="auto">
              <a:xfrm>
                <a:off x="5867526" y="3200495"/>
                <a:ext cx="453580" cy="453580"/>
              </a:xfrm>
              <a:custGeom>
                <a:avLst/>
                <a:gdLst>
                  <a:gd name="T0" fmla="*/ 226790 w 453580"/>
                  <a:gd name="T1" fmla="*/ 0 h 453580"/>
                  <a:gd name="T2" fmla="*/ 0 w 453580"/>
                  <a:gd name="T3" fmla="*/ 226790 h 453580"/>
                  <a:gd name="T4" fmla="*/ 226790 w 453580"/>
                  <a:gd name="T5" fmla="*/ 453581 h 453580"/>
                  <a:gd name="T6" fmla="*/ 453581 w 453580"/>
                  <a:gd name="T7" fmla="*/ 226790 h 453580"/>
                  <a:gd name="T8" fmla="*/ 226790 w 453580"/>
                  <a:gd name="T9" fmla="*/ 0 h 453580"/>
                  <a:gd name="T10" fmla="*/ 226790 w 453580"/>
                  <a:gd name="T11" fmla="*/ 382048 h 453580"/>
                  <a:gd name="T12" fmla="*/ 71533 w 453580"/>
                  <a:gd name="T13" fmla="*/ 226790 h 453580"/>
                  <a:gd name="T14" fmla="*/ 226790 w 453580"/>
                  <a:gd name="T15" fmla="*/ 71438 h 453580"/>
                  <a:gd name="T16" fmla="*/ 382048 w 453580"/>
                  <a:gd name="T17" fmla="*/ 226790 h 453580"/>
                  <a:gd name="T18" fmla="*/ 226790 w 453580"/>
                  <a:gd name="T19" fmla="*/ 382048 h 4535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3580" h="453580" extrusionOk="0">
                    <a:moveTo>
                      <a:pt x="226790" y="0"/>
                    </a:moveTo>
                    <a:cubicBezTo>
                      <a:pt x="101537" y="0"/>
                      <a:pt x="0" y="101537"/>
                      <a:pt x="0" y="226790"/>
                    </a:cubicBezTo>
                    <a:cubicBezTo>
                      <a:pt x="0" y="352044"/>
                      <a:pt x="101537" y="453581"/>
                      <a:pt x="226790" y="453581"/>
                    </a:cubicBezTo>
                    <a:cubicBezTo>
                      <a:pt x="352044" y="453581"/>
                      <a:pt x="453581" y="352044"/>
                      <a:pt x="453581" y="226790"/>
                    </a:cubicBezTo>
                    <a:cubicBezTo>
                      <a:pt x="453581" y="101537"/>
                      <a:pt x="352044" y="0"/>
                      <a:pt x="226790" y="0"/>
                    </a:cubicBezTo>
                    <a:close/>
                    <a:moveTo>
                      <a:pt x="226790" y="382048"/>
                    </a:moveTo>
                    <a:cubicBezTo>
                      <a:pt x="140970" y="382048"/>
                      <a:pt x="71533" y="312515"/>
                      <a:pt x="71533" y="226790"/>
                    </a:cubicBezTo>
                    <a:cubicBezTo>
                      <a:pt x="71533" y="140970"/>
                      <a:pt x="141065" y="71438"/>
                      <a:pt x="226790" y="71438"/>
                    </a:cubicBezTo>
                    <a:cubicBezTo>
                      <a:pt x="312515" y="71438"/>
                      <a:pt x="382048" y="140970"/>
                      <a:pt x="382048" y="226790"/>
                    </a:cubicBezTo>
                    <a:cubicBezTo>
                      <a:pt x="382048" y="312515"/>
                      <a:pt x="312515" y="382048"/>
                      <a:pt x="226790" y="382048"/>
                    </a:cubicBezTo>
                    <a:close/>
                  </a:path>
                </a:pathLst>
              </a:custGeom>
              <a:solidFill>
                <a:srgbClr val="FF4917"/>
              </a:solidFill>
              <a:ln w="9525" cap="flat" cmpd="sng">
                <a:solidFill>
                  <a:srgbClr val="FF4917"/>
                </a:solidFill>
                <a:prstDash val="solid"/>
                <a:miter lim="8000"/>
                <a:headEnd type="none" w="sm" len="sm"/>
                <a:tailEnd type="none" w="sm" len="sm"/>
              </a:ln>
            </p:spPr>
            <p:txBody>
              <a:bodyPr lIns="91425" tIns="45700" rIns="91425" bIns="45700" anchor="ctr"/>
              <a:lstStyle/>
              <a:p>
                <a:endParaRPr lang="en-IN"/>
              </a:p>
            </p:txBody>
          </p:sp>
        </p:grpSp>
        <p:pic>
          <p:nvPicPr>
            <p:cNvPr id="27" name="Google Shape;974;p19" descr="Single gear">
              <a:extLst>
                <a:ext uri="{FF2B5EF4-FFF2-40B4-BE49-F238E27FC236}">
                  <a16:creationId xmlns:a16="http://schemas.microsoft.com/office/drawing/2014/main" id="{C2764EBE-C338-231E-A7A6-4FD388535420}"/>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95159" y="5904861"/>
              <a:ext cx="941013" cy="94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Google Shape;975;p19" descr="Single gear">
              <a:extLst>
                <a:ext uri="{FF2B5EF4-FFF2-40B4-BE49-F238E27FC236}">
                  <a16:creationId xmlns:a16="http://schemas.microsoft.com/office/drawing/2014/main" id="{3357D627-3565-D30F-6345-5B8851DE5096}"/>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8362" y="5768064"/>
              <a:ext cx="1214604" cy="121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Google Shape;976;p19">
              <a:extLst>
                <a:ext uri="{FF2B5EF4-FFF2-40B4-BE49-F238E27FC236}">
                  <a16:creationId xmlns:a16="http://schemas.microsoft.com/office/drawing/2014/main" id="{57EB2529-57DA-9504-9E15-B2D5A2BF19CD}"/>
                </a:ext>
              </a:extLst>
            </p:cNvPr>
            <p:cNvCxnSpPr>
              <a:cxnSpLocks noChangeShapeType="1"/>
            </p:cNvCxnSpPr>
            <p:nvPr/>
          </p:nvCxnSpPr>
          <p:spPr bwMode="auto">
            <a:xfrm>
              <a:off x="3331541" y="6841906"/>
              <a:ext cx="3050209" cy="0"/>
            </a:xfrm>
            <a:prstGeom prst="straightConnector1">
              <a:avLst/>
            </a:prstGeom>
            <a:noFill/>
            <a:ln w="76200">
              <a:solidFill>
                <a:srgbClr val="58595B"/>
              </a:solidFill>
              <a:round/>
              <a:headEnd type="none" w="sm" len="sm"/>
              <a:tailEnd type="none" w="sm" len="sm"/>
            </a:ln>
            <a:extLst>
              <a:ext uri="{909E8E84-426E-40DD-AFC4-6F175D3DCCD1}">
                <a14:hiddenFill xmlns:a14="http://schemas.microsoft.com/office/drawing/2010/main">
                  <a:noFill/>
                </a14:hiddenFill>
              </a:ext>
            </a:extLst>
          </p:spPr>
        </p:cxnSp>
        <p:cxnSp>
          <p:nvCxnSpPr>
            <p:cNvPr id="30" name="Google Shape;977;p19">
              <a:extLst>
                <a:ext uri="{FF2B5EF4-FFF2-40B4-BE49-F238E27FC236}">
                  <a16:creationId xmlns:a16="http://schemas.microsoft.com/office/drawing/2014/main" id="{B05D165C-5061-9943-F00B-F48B843A5700}"/>
                </a:ext>
              </a:extLst>
            </p:cNvPr>
            <p:cNvCxnSpPr>
              <a:cxnSpLocks noChangeShapeType="1"/>
            </p:cNvCxnSpPr>
            <p:nvPr/>
          </p:nvCxnSpPr>
          <p:spPr bwMode="auto">
            <a:xfrm>
              <a:off x="-9854" y="6841906"/>
              <a:ext cx="2603482" cy="0"/>
            </a:xfrm>
            <a:prstGeom prst="straightConnector1">
              <a:avLst/>
            </a:prstGeom>
            <a:noFill/>
            <a:ln w="76200">
              <a:solidFill>
                <a:srgbClr val="58595B"/>
              </a:solidFill>
              <a:round/>
              <a:headEnd type="none" w="sm" len="sm"/>
              <a:tailEnd type="none" w="sm" len="sm"/>
            </a:ln>
            <a:extLst>
              <a:ext uri="{909E8E84-426E-40DD-AFC4-6F175D3DCCD1}">
                <a14:hiddenFill xmlns:a14="http://schemas.microsoft.com/office/drawing/2010/main">
                  <a:noFill/>
                </a14:hiddenFill>
              </a:ext>
            </a:extLst>
          </p:spPr>
        </p:cxnSp>
      </p:grpSp>
      <p:pic>
        <p:nvPicPr>
          <p:cNvPr id="57348" name="Picture 57347" descr="A picture containing text, clipart&#10;&#10;Description automatically generated">
            <a:extLst>
              <a:ext uri="{FF2B5EF4-FFF2-40B4-BE49-F238E27FC236}">
                <a16:creationId xmlns:a16="http://schemas.microsoft.com/office/drawing/2014/main" id="{3BC833CF-6769-9F5F-599E-BD378D68D165}"/>
              </a:ext>
            </a:extLst>
          </p:cNvPr>
          <p:cNvPicPr>
            <a:picLocks noChangeAspect="1"/>
          </p:cNvPicPr>
          <p:nvPr/>
        </p:nvPicPr>
        <p:blipFill>
          <a:blip r:embed="rId8"/>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189123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Google Shape;332;p4">
            <a:extLst>
              <a:ext uri="{FF2B5EF4-FFF2-40B4-BE49-F238E27FC236}">
                <a16:creationId xmlns:a16="http://schemas.microsoft.com/office/drawing/2014/main" id="{B6D65709-CE6D-099B-4C4D-2D7A714A1078}"/>
              </a:ext>
            </a:extLst>
          </p:cNvPr>
          <p:cNvSpPr txBox="1">
            <a:spLocks noGrp="1" noChangeArrowheads="1"/>
          </p:cNvSpPr>
          <p:nvPr>
            <p:ph type="ctrTitle"/>
          </p:nvPr>
        </p:nvSpPr>
        <p:spPr>
          <a:xfrm>
            <a:off x="447869" y="1978090"/>
            <a:ext cx="7723447" cy="2115279"/>
          </a:xfrm>
        </p:spPr>
        <p:txBody>
          <a:bodyPr/>
          <a:lstStyle/>
          <a:p>
            <a:pPr eaLnBrk="1" hangingPunct="1">
              <a:spcBef>
                <a:spcPct val="0"/>
              </a:spcBef>
              <a:spcAft>
                <a:spcPct val="0"/>
              </a:spcAft>
              <a:buClr>
                <a:srgbClr val="FFFFFF"/>
              </a:buClr>
              <a:buFont typeface="Arial" panose="020B0604020202020204" pitchFamily="34" charset="0"/>
              <a:buNone/>
            </a:pPr>
            <a:r>
              <a:rPr lang="en-US" altLang="en-US" sz="3200">
                <a:solidFill>
                  <a:srgbClr val="FFFFFF"/>
                </a:solidFill>
                <a:latin typeface="+mj-lt"/>
                <a:cs typeface="Times New Roman" panose="02020603050405020304" pitchFamily="18" charset="0"/>
                <a:sym typeface="Arial" panose="020B0604020202020204" pitchFamily="34" charset="0"/>
              </a:rPr>
              <a:t>AGENDA</a:t>
            </a:r>
            <a:br>
              <a:rPr lang="en-US" altLang="en-US">
                <a:solidFill>
                  <a:srgbClr val="FFFFFF"/>
                </a:solidFill>
                <a:latin typeface="+mn-lt"/>
                <a:cs typeface="Times New Roman" panose="02020603050405020304" pitchFamily="18" charset="0"/>
                <a:sym typeface="Arial" panose="020B0604020202020204" pitchFamily="34" charset="0"/>
              </a:rPr>
            </a:br>
            <a:r>
              <a:rPr lang="en-US" altLang="en-US">
                <a:solidFill>
                  <a:srgbClr val="FFFFFF"/>
                </a:solidFill>
                <a:latin typeface="+mn-lt"/>
                <a:cs typeface="Times New Roman" panose="02020603050405020304" pitchFamily="18" charset="0"/>
                <a:sym typeface="Arial" panose="020B0604020202020204" pitchFamily="34" charset="0"/>
              </a:rPr>
              <a:t>EXPLORING RPA : Careers and Opportunities</a:t>
            </a:r>
            <a:endParaRPr lang="en-US" altLang="en-US">
              <a:solidFill>
                <a:srgbClr val="FFFFFF"/>
              </a:solidFill>
              <a:latin typeface="+mj-lt"/>
              <a:cs typeface="Times New Roman" panose="02020603050405020304" pitchFamily="18" charset="0"/>
              <a:sym typeface="Arial" panose="020B0604020202020204" pitchFamily="34" charset="0"/>
            </a:endParaRPr>
          </a:p>
        </p:txBody>
      </p:sp>
      <p:pic>
        <p:nvPicPr>
          <p:cNvPr id="3" name="Picture 2">
            <a:extLst>
              <a:ext uri="{FF2B5EF4-FFF2-40B4-BE49-F238E27FC236}">
                <a16:creationId xmlns:a16="http://schemas.microsoft.com/office/drawing/2014/main" id="{32FDB477-7BD8-1BAF-CBDA-948D7541B18F}"/>
              </a:ext>
            </a:extLst>
          </p:cNvPr>
          <p:cNvPicPr>
            <a:picLocks noChangeAspect="1"/>
          </p:cNvPicPr>
          <p:nvPr/>
        </p:nvPicPr>
        <p:blipFill>
          <a:blip r:embed="rId3"/>
          <a:stretch>
            <a:fillRect/>
          </a:stretch>
        </p:blipFill>
        <p:spPr>
          <a:xfrm>
            <a:off x="10830410" y="106990"/>
            <a:ext cx="1142412" cy="1141671"/>
          </a:xfrm>
          <a:prstGeom prst="rect">
            <a:avLst/>
          </a:prstGeom>
        </p:spPr>
      </p:pic>
    </p:spTree>
    <p:extLst>
      <p:ext uri="{BB962C8B-B14F-4D97-AF65-F5344CB8AC3E}">
        <p14:creationId xmlns:p14="http://schemas.microsoft.com/office/powerpoint/2010/main" val="89828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1"/>
          <p:cNvSpPr txBox="1">
            <a:spLocks noGrp="1"/>
          </p:cNvSpPr>
          <p:nvPr>
            <p:ph type="ctrTitle"/>
          </p:nvPr>
        </p:nvSpPr>
        <p:spPr>
          <a:xfrm>
            <a:off x="487996" y="2011035"/>
            <a:ext cx="5130106" cy="885909"/>
          </a:xfrm>
          <a:prstGeom prst="rect">
            <a:avLst/>
          </a:prstGeom>
          <a:noFill/>
          <a:ln>
            <a:noFill/>
          </a:ln>
        </p:spPr>
        <p:txBody>
          <a:bodyPr spcFirstLastPara="1" vert="horz" wrap="square" lIns="0" tIns="0" rIns="0" bIns="0" rtlCol="0" anchor="b" anchorCtr="0">
            <a:spAutoFit/>
          </a:bodyPr>
          <a:lstStyle/>
          <a:p>
            <a:pPr>
              <a:buSzPts val="5200"/>
            </a:pPr>
            <a:r>
              <a:rPr lang="en-IN" dirty="0"/>
              <a:t>Next Steps</a:t>
            </a:r>
            <a:endParaRPr dirty="0"/>
          </a:p>
        </p:txBody>
      </p:sp>
      <p:pic>
        <p:nvPicPr>
          <p:cNvPr id="3" name="Picture 2">
            <a:extLst>
              <a:ext uri="{FF2B5EF4-FFF2-40B4-BE49-F238E27FC236}">
                <a16:creationId xmlns:a16="http://schemas.microsoft.com/office/drawing/2014/main" id="{9B0A35ED-2E51-F38D-3CB3-E045CC79BDBF}"/>
              </a:ext>
            </a:extLst>
          </p:cNvPr>
          <p:cNvPicPr>
            <a:picLocks noChangeAspect="1"/>
          </p:cNvPicPr>
          <p:nvPr/>
        </p:nvPicPr>
        <p:blipFill>
          <a:blip r:embed="rId3"/>
          <a:stretch>
            <a:fillRect/>
          </a:stretch>
        </p:blipFill>
        <p:spPr>
          <a:xfrm>
            <a:off x="10830410" y="106990"/>
            <a:ext cx="1142412" cy="1141671"/>
          </a:xfrm>
          <a:prstGeom prst="rect">
            <a:avLst/>
          </a:prstGeom>
        </p:spPr>
      </p:pic>
    </p:spTree>
    <p:extLst>
      <p:ext uri="{BB962C8B-B14F-4D97-AF65-F5344CB8AC3E}">
        <p14:creationId xmlns:p14="http://schemas.microsoft.com/office/powerpoint/2010/main" val="2060487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1C3F57-72EC-EEDC-176A-B11147F6949E}"/>
              </a:ext>
            </a:extLst>
          </p:cNvPr>
          <p:cNvPicPr>
            <a:picLocks noChangeAspect="1"/>
          </p:cNvPicPr>
          <p:nvPr/>
        </p:nvPicPr>
        <p:blipFill rotWithShape="1">
          <a:blip r:embed="rId2"/>
          <a:srcRect l="48641"/>
          <a:stretch/>
        </p:blipFill>
        <p:spPr>
          <a:xfrm>
            <a:off x="5396553" y="-61235"/>
            <a:ext cx="6792272" cy="6918342"/>
          </a:xfrm>
          <a:prstGeom prst="rect">
            <a:avLst/>
          </a:prstGeom>
        </p:spPr>
      </p:pic>
      <p:sp>
        <p:nvSpPr>
          <p:cNvPr id="5" name="Title 1"/>
          <p:cNvSpPr txBox="1">
            <a:spLocks/>
          </p:cNvSpPr>
          <p:nvPr/>
        </p:nvSpPr>
        <p:spPr>
          <a:xfrm>
            <a:off x="88753" y="1456452"/>
            <a:ext cx="5387343" cy="1917079"/>
          </a:xfrm>
          <a:prstGeom prst="rect">
            <a:avLst/>
          </a:prstGeom>
          <a:solidFill>
            <a:srgbClr val="EDEDED"/>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5398" b="1">
                <a:latin typeface="+mn-lt"/>
              </a:rPr>
              <a:t>Mukesh Kala</a:t>
            </a:r>
          </a:p>
        </p:txBody>
      </p:sp>
      <p:sp>
        <p:nvSpPr>
          <p:cNvPr id="8" name="Text Placeholder 5">
            <a:extLst>
              <a:ext uri="{FF2B5EF4-FFF2-40B4-BE49-F238E27FC236}">
                <a16:creationId xmlns:a16="http://schemas.microsoft.com/office/drawing/2014/main" id="{696A6E5C-1495-4AC0-A26B-B404DCC6EA1A}"/>
              </a:ext>
            </a:extLst>
          </p:cNvPr>
          <p:cNvSpPr txBox="1">
            <a:spLocks/>
          </p:cNvSpPr>
          <p:nvPr/>
        </p:nvSpPr>
        <p:spPr>
          <a:xfrm>
            <a:off x="0" y="4765700"/>
            <a:ext cx="4260171" cy="150410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600" b="1">
                <a:solidFill>
                  <a:srgbClr val="FF0000"/>
                </a:solidFill>
              </a:rPr>
              <a:t>YouTube </a:t>
            </a:r>
            <a:r>
              <a:rPr lang="en-IN" sz="1600"/>
              <a:t>: Tutorials by Mukesh Kala</a:t>
            </a:r>
          </a:p>
          <a:p>
            <a:pPr marL="0" indent="0">
              <a:buNone/>
            </a:pPr>
            <a:r>
              <a:rPr lang="en-IN" sz="1600">
                <a:hlinkClick r:id="rId3"/>
              </a:rPr>
              <a:t>https://mukeshkala.com</a:t>
            </a:r>
            <a:endParaRPr lang="en-IN" sz="1600"/>
          </a:p>
          <a:p>
            <a:pPr marL="0" indent="0">
              <a:buNone/>
            </a:pPr>
            <a:endParaRPr lang="en-IN" sz="1600"/>
          </a:p>
          <a:p>
            <a:pPr marL="0" indent="0">
              <a:buNone/>
            </a:pPr>
            <a:endParaRPr lang="en-US" sz="1600">
              <a:ea typeface="Cambria" panose="02040503050406030204" pitchFamily="18" charset="0"/>
            </a:endParaRPr>
          </a:p>
        </p:txBody>
      </p:sp>
      <p:pic>
        <p:nvPicPr>
          <p:cNvPr id="3" name="Picture 2">
            <a:extLst>
              <a:ext uri="{FF2B5EF4-FFF2-40B4-BE49-F238E27FC236}">
                <a16:creationId xmlns:a16="http://schemas.microsoft.com/office/drawing/2014/main" id="{00CED135-569B-FCFD-5E22-01F32E97DE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7720" y="4674607"/>
            <a:ext cx="1895996" cy="1895996"/>
          </a:xfrm>
          <a:prstGeom prst="rect">
            <a:avLst/>
          </a:prstGeom>
        </p:spPr>
      </p:pic>
      <p:sp>
        <p:nvSpPr>
          <p:cNvPr id="7" name="TextBox 6">
            <a:extLst>
              <a:ext uri="{FF2B5EF4-FFF2-40B4-BE49-F238E27FC236}">
                <a16:creationId xmlns:a16="http://schemas.microsoft.com/office/drawing/2014/main" id="{28929AF8-7C0D-4601-7921-793D26F48297}"/>
              </a:ext>
            </a:extLst>
          </p:cNvPr>
          <p:cNvSpPr txBox="1"/>
          <p:nvPr/>
        </p:nvSpPr>
        <p:spPr>
          <a:xfrm>
            <a:off x="658996" y="2340374"/>
            <a:ext cx="6128434" cy="523084"/>
          </a:xfrm>
          <a:prstGeom prst="rect">
            <a:avLst/>
          </a:prstGeom>
          <a:noFill/>
        </p:spPr>
        <p:txBody>
          <a:bodyPr wrap="square">
            <a:spAutoFit/>
          </a:bodyPr>
          <a:lstStyle/>
          <a:p>
            <a:r>
              <a:rPr lang="en-IN" sz="2799">
                <a:latin typeface="Bahnschrift Light SemiCondensed" panose="020B0502040204020203" pitchFamily="34" charset="0"/>
              </a:rPr>
              <a:t>3 *UiPath Most Valuable Professional</a:t>
            </a:r>
          </a:p>
        </p:txBody>
      </p:sp>
    </p:spTree>
    <p:extLst>
      <p:ext uri="{BB962C8B-B14F-4D97-AF65-F5344CB8AC3E}">
        <p14:creationId xmlns:p14="http://schemas.microsoft.com/office/powerpoint/2010/main" val="2759974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 name="Subtitle 9">
            <a:extLst>
              <a:ext uri="{FF2B5EF4-FFF2-40B4-BE49-F238E27FC236}">
                <a16:creationId xmlns:a16="http://schemas.microsoft.com/office/drawing/2014/main" id="{FA5D363A-81B0-420A-9099-D5C859F7DDAE}"/>
              </a:ext>
            </a:extLst>
          </p:cNvPr>
          <p:cNvSpPr>
            <a:spLocks noGrp="1"/>
          </p:cNvSpPr>
          <p:nvPr>
            <p:ph type="subTitle" idx="1"/>
          </p:nvPr>
        </p:nvSpPr>
        <p:spPr>
          <a:xfrm>
            <a:off x="371957" y="2638431"/>
            <a:ext cx="5590305" cy="2301084"/>
          </a:xfrm>
        </p:spPr>
        <p:txBody>
          <a:bodyPr>
            <a:noAutofit/>
          </a:bodyPr>
          <a:lstStyle/>
          <a:p>
            <a:r>
              <a:rPr lang="en-US">
                <a:latin typeface="+mj-lt"/>
                <a:cs typeface="Times New Roman" panose="02020603050405020304" pitchFamily="18" charset="0"/>
              </a:rPr>
              <a:t>Medhavi Singh</a:t>
            </a:r>
          </a:p>
          <a:p>
            <a:r>
              <a:rPr lang="en-US">
                <a:latin typeface="+mj-lt"/>
                <a:cs typeface="Times New Roman" panose="02020603050405020304" pitchFamily="18" charset="0"/>
              </a:rPr>
              <a:t>Project Dev. Lead – Open Community</a:t>
            </a:r>
          </a:p>
          <a:p>
            <a:r>
              <a:rPr lang="en-US">
                <a:latin typeface="+mj-lt"/>
                <a:cs typeface="Times New Roman" panose="02020603050405020304" pitchFamily="18" charset="0"/>
              </a:rPr>
              <a:t>2022-23 UiPath Student Champion</a:t>
            </a:r>
          </a:p>
          <a:p>
            <a:r>
              <a:rPr lang="en-US">
                <a:latin typeface="+mj-lt"/>
                <a:cs typeface="Times New Roman" panose="02020603050405020304" pitchFamily="18" charset="0"/>
              </a:rPr>
              <a:t>UPES Dehradun</a:t>
            </a:r>
          </a:p>
        </p:txBody>
      </p:sp>
      <p:pic>
        <p:nvPicPr>
          <p:cNvPr id="1026" name="Picture 2">
            <a:extLst>
              <a:ext uri="{FF2B5EF4-FFF2-40B4-BE49-F238E27FC236}">
                <a16:creationId xmlns:a16="http://schemas.microsoft.com/office/drawing/2014/main" id="{711C789B-2156-71D5-2319-7DC487C54B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2518" y="450255"/>
            <a:ext cx="2576405" cy="234319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2495971-6812-6FBC-4C07-C214DCA9CE48}"/>
              </a:ext>
            </a:extLst>
          </p:cNvPr>
          <p:cNvSpPr txBox="1"/>
          <p:nvPr/>
        </p:nvSpPr>
        <p:spPr>
          <a:xfrm>
            <a:off x="442946" y="1376193"/>
            <a:ext cx="6146722" cy="696595"/>
          </a:xfrm>
          <a:prstGeom prst="rect">
            <a:avLst/>
          </a:prstGeom>
          <a:noFill/>
        </p:spPr>
        <p:txBody>
          <a:bodyPr wrap="square" lIns="0" tIns="0" rIns="0" bIns="0" rtlCol="0" anchor="t">
            <a:noAutofit/>
          </a:bodyPr>
          <a:lstStyle/>
          <a:p>
            <a:endParaRPr lang="en-IN" sz="4800" b="1">
              <a:solidFill>
                <a:schemeClr val="bg1"/>
              </a:solidFill>
              <a:latin typeface="+mj-lt"/>
              <a:cs typeface="Arial"/>
            </a:endParaRPr>
          </a:p>
        </p:txBody>
      </p:sp>
      <p:pic>
        <p:nvPicPr>
          <p:cNvPr id="11" name="Picture 10">
            <a:extLst>
              <a:ext uri="{FF2B5EF4-FFF2-40B4-BE49-F238E27FC236}">
                <a16:creationId xmlns:a16="http://schemas.microsoft.com/office/drawing/2014/main" id="{581A7A6E-79C1-A531-9113-548BD0EA62D6}"/>
              </a:ext>
            </a:extLst>
          </p:cNvPr>
          <p:cNvPicPr>
            <a:picLocks noChangeAspect="1"/>
          </p:cNvPicPr>
          <p:nvPr/>
        </p:nvPicPr>
        <p:blipFill>
          <a:blip r:embed="rId3"/>
          <a:stretch>
            <a:fillRect/>
          </a:stretch>
        </p:blipFill>
        <p:spPr>
          <a:xfrm>
            <a:off x="5672686" y="1938249"/>
            <a:ext cx="2478147" cy="247814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 name="Picture 2">
            <a:extLst>
              <a:ext uri="{FF2B5EF4-FFF2-40B4-BE49-F238E27FC236}">
                <a16:creationId xmlns:a16="http://schemas.microsoft.com/office/drawing/2014/main" id="{0B7AA612-0DCE-4F91-FE00-AE6BCF85C70C}"/>
              </a:ext>
            </a:extLst>
          </p:cNvPr>
          <p:cNvPicPr>
            <a:picLocks noChangeAspect="1"/>
          </p:cNvPicPr>
          <p:nvPr/>
        </p:nvPicPr>
        <p:blipFill>
          <a:blip r:embed="rId4"/>
          <a:stretch>
            <a:fillRect/>
          </a:stretch>
        </p:blipFill>
        <p:spPr>
          <a:xfrm>
            <a:off x="10830410" y="106990"/>
            <a:ext cx="1142412" cy="1141671"/>
          </a:xfrm>
          <a:prstGeom prst="rect">
            <a:avLst/>
          </a:prstGeom>
        </p:spPr>
      </p:pic>
      <p:pic>
        <p:nvPicPr>
          <p:cNvPr id="6" name="Picture 2">
            <a:extLst>
              <a:ext uri="{FF2B5EF4-FFF2-40B4-BE49-F238E27FC236}">
                <a16:creationId xmlns:a16="http://schemas.microsoft.com/office/drawing/2014/main" id="{EA74E10E-F166-B272-09E6-54D85FBE29FA}"/>
              </a:ext>
            </a:extLst>
          </p:cNvPr>
          <p:cNvPicPr>
            <a:picLocks noChangeAspect="1"/>
          </p:cNvPicPr>
          <p:nvPr/>
        </p:nvPicPr>
        <p:blipFill>
          <a:blip r:embed="rId4"/>
          <a:stretch>
            <a:fillRect/>
          </a:stretch>
        </p:blipFill>
        <p:spPr>
          <a:xfrm>
            <a:off x="10982810" y="259390"/>
            <a:ext cx="1142412" cy="1141671"/>
          </a:xfrm>
          <a:prstGeom prst="rect">
            <a:avLst/>
          </a:prstGeom>
        </p:spPr>
      </p:pic>
      <p:pic>
        <p:nvPicPr>
          <p:cNvPr id="8" name="Picture 7">
            <a:extLst>
              <a:ext uri="{FF2B5EF4-FFF2-40B4-BE49-F238E27FC236}">
                <a16:creationId xmlns:a16="http://schemas.microsoft.com/office/drawing/2014/main" id="{AA6EB413-4628-E596-2660-B80CC266A349}"/>
              </a:ext>
            </a:extLst>
          </p:cNvPr>
          <p:cNvPicPr>
            <a:picLocks noChangeAspect="1"/>
          </p:cNvPicPr>
          <p:nvPr/>
        </p:nvPicPr>
        <p:blipFill>
          <a:blip r:embed="rId4"/>
          <a:stretch>
            <a:fillRect/>
          </a:stretch>
        </p:blipFill>
        <p:spPr>
          <a:xfrm>
            <a:off x="11135210" y="411790"/>
            <a:ext cx="1142412" cy="1141671"/>
          </a:xfrm>
          <a:prstGeom prst="rect">
            <a:avLst/>
          </a:prstGeom>
        </p:spPr>
      </p:pic>
    </p:spTree>
    <p:extLst>
      <p:ext uri="{BB962C8B-B14F-4D97-AF65-F5344CB8AC3E}">
        <p14:creationId xmlns:p14="http://schemas.microsoft.com/office/powerpoint/2010/main" val="2737703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
        <p:cNvGrpSpPr/>
        <p:nvPr/>
      </p:nvGrpSpPr>
      <p:grpSpPr>
        <a:xfrm>
          <a:off x="0" y="0"/>
          <a:ext cx="0" cy="0"/>
          <a:chOff x="0" y="0"/>
          <a:chExt cx="0" cy="0"/>
        </a:xfrm>
      </p:grpSpPr>
      <p:sp>
        <p:nvSpPr>
          <p:cNvPr id="26" name="Google Shape;26;p6"/>
          <p:cNvSpPr txBox="1">
            <a:spLocks noGrp="1"/>
          </p:cNvSpPr>
          <p:nvPr>
            <p:ph type="body" idx="1"/>
          </p:nvPr>
        </p:nvSpPr>
        <p:spPr>
          <a:xfrm>
            <a:off x="380901" y="1322937"/>
            <a:ext cx="9141619" cy="4894575"/>
          </a:xfrm>
          <a:prstGeom prst="rect">
            <a:avLst/>
          </a:prstGeom>
          <a:noFill/>
          <a:ln>
            <a:noFill/>
          </a:ln>
        </p:spPr>
        <p:txBody>
          <a:bodyPr spcFirstLastPara="1" vert="horz" wrap="square" lIns="0" tIns="0" rIns="0" bIns="0" rtlCol="0" anchor="t" anchorCtr="0">
            <a:noAutofit/>
          </a:bodyPr>
          <a:lstStyle/>
          <a:p>
            <a:pPr marL="0" indent="0">
              <a:spcBef>
                <a:spcPts val="0"/>
              </a:spcBef>
              <a:buClr>
                <a:srgbClr val="000000"/>
              </a:buClr>
            </a:pPr>
            <a:r>
              <a:rPr lang="en-US">
                <a:latin typeface="Arial"/>
                <a:ea typeface="Arial"/>
                <a:cs typeface="Arial"/>
                <a:sym typeface="Arial"/>
              </a:rPr>
              <a:t>RPA is the technology that enables a software program to mimic human actions while interacting with computer applications to accomplish required tasks. Some human interactions that can be automated are:</a:t>
            </a:r>
            <a:endParaRPr/>
          </a:p>
        </p:txBody>
      </p:sp>
      <p:sp>
        <p:nvSpPr>
          <p:cNvPr id="27" name="Google Shape;27;p6"/>
          <p:cNvSpPr txBox="1">
            <a:spLocks noGrp="1"/>
          </p:cNvSpPr>
          <p:nvPr>
            <p:ph type="title"/>
          </p:nvPr>
        </p:nvSpPr>
        <p:spPr>
          <a:xfrm>
            <a:off x="382488" y="365925"/>
            <a:ext cx="7548184" cy="682447"/>
          </a:xfrm>
          <a:prstGeom prst="rect">
            <a:avLst/>
          </a:prstGeom>
          <a:noFill/>
          <a:ln>
            <a:noFill/>
          </a:ln>
        </p:spPr>
        <p:txBody>
          <a:bodyPr spcFirstLastPara="1" vert="horz" wrap="square" lIns="0" tIns="0" rIns="0" bIns="0" rtlCol="0" anchor="t" anchorCtr="0">
            <a:noAutofit/>
          </a:bodyPr>
          <a:lstStyle/>
          <a:p>
            <a:pPr>
              <a:buClr>
                <a:srgbClr val="000000"/>
              </a:buClr>
              <a:buSzPts val="2800"/>
            </a:pPr>
            <a:r>
              <a:rPr lang="en-US" sz="2799">
                <a:latin typeface="Arial"/>
                <a:ea typeface="Arial"/>
              </a:rPr>
              <a:t>What is RPA?</a:t>
            </a:r>
            <a:endParaRPr/>
          </a:p>
        </p:txBody>
      </p:sp>
      <p:grpSp>
        <p:nvGrpSpPr>
          <p:cNvPr id="28" name="Google Shape;28;p6"/>
          <p:cNvGrpSpPr/>
          <p:nvPr/>
        </p:nvGrpSpPr>
        <p:grpSpPr>
          <a:xfrm>
            <a:off x="4388295" y="2551343"/>
            <a:ext cx="3277334" cy="2407610"/>
            <a:chOff x="4388326" y="2852376"/>
            <a:chExt cx="3278188" cy="2408307"/>
          </a:xfrm>
        </p:grpSpPr>
        <p:grpSp>
          <p:nvGrpSpPr>
            <p:cNvPr id="29" name="Google Shape;29;p6"/>
            <p:cNvGrpSpPr/>
            <p:nvPr/>
          </p:nvGrpSpPr>
          <p:grpSpPr>
            <a:xfrm>
              <a:off x="4388326" y="2852376"/>
              <a:ext cx="3278188" cy="2408307"/>
              <a:chOff x="4423178" y="1998459"/>
              <a:chExt cx="3278188" cy="2408307"/>
            </a:xfrm>
          </p:grpSpPr>
          <p:sp>
            <p:nvSpPr>
              <p:cNvPr id="30" name="Google Shape;30;p6"/>
              <p:cNvSpPr/>
              <p:nvPr/>
            </p:nvSpPr>
            <p:spPr>
              <a:xfrm>
                <a:off x="5448703" y="1998459"/>
                <a:ext cx="1227138" cy="1227173"/>
              </a:xfrm>
              <a:prstGeom prst="ellipse">
                <a:avLst/>
              </a:prstGeom>
              <a:solidFill>
                <a:srgbClr val="FFBC0E"/>
              </a:solidFill>
              <a:ln w="19050" cap="flat" cmpd="sng">
                <a:solidFill>
                  <a:srgbClr val="FFBC0E"/>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wrap="square" lIns="0" tIns="0" rIns="0" bIns="0" anchor="ctr" anchorCtr="0">
                <a:noAutofit/>
              </a:bodyPr>
              <a:lstStyle/>
              <a:p>
                <a:pPr algn="ctr">
                  <a:buClr>
                    <a:schemeClr val="dk1"/>
                  </a:buClr>
                  <a:buSzPts val="1400"/>
                </a:pPr>
                <a:endParaRPr sz="1799">
                  <a:solidFill>
                    <a:schemeClr val="lt1"/>
                  </a:solidFill>
                </a:endParaRPr>
              </a:p>
            </p:txBody>
          </p:sp>
          <p:sp>
            <p:nvSpPr>
              <p:cNvPr id="31" name="Google Shape;31;p6"/>
              <p:cNvSpPr/>
              <p:nvPr/>
            </p:nvSpPr>
            <p:spPr>
              <a:xfrm>
                <a:off x="4423178" y="2602473"/>
                <a:ext cx="3278188" cy="1804293"/>
              </a:xfrm>
              <a:prstGeom prst="roundRect">
                <a:avLst>
                  <a:gd name="adj" fmla="val 16667"/>
                </a:avLst>
              </a:prstGeom>
              <a:noFill/>
              <a:ln w="28575" cap="flat" cmpd="sng">
                <a:solidFill>
                  <a:srgbClr val="FFBC0E"/>
                </a:solidFill>
                <a:prstDash val="solid"/>
                <a:miter lim="800000"/>
                <a:headEnd type="none" w="sm" len="sm"/>
                <a:tailEnd type="none" w="sm" len="sm"/>
              </a:ln>
            </p:spPr>
            <p:txBody>
              <a:bodyPr spcFirstLastPara="1" wrap="square" lIns="0" tIns="0" rIns="0" bIns="0" anchor="ctr" anchorCtr="0">
                <a:noAutofit/>
              </a:bodyPr>
              <a:lstStyle/>
              <a:p>
                <a:pPr algn="ctr">
                  <a:buSzPts val="1400"/>
                </a:pPr>
                <a:endParaRPr sz="1799">
                  <a:solidFill>
                    <a:srgbClr val="FFFFFF"/>
                  </a:solidFill>
                </a:endParaRPr>
              </a:p>
            </p:txBody>
          </p:sp>
          <p:sp>
            <p:nvSpPr>
              <p:cNvPr id="32" name="Google Shape;32;p6"/>
              <p:cNvSpPr/>
              <p:nvPr/>
            </p:nvSpPr>
            <p:spPr>
              <a:xfrm>
                <a:off x="4423179" y="3491190"/>
                <a:ext cx="3278187" cy="707886"/>
              </a:xfrm>
              <a:prstGeom prst="rect">
                <a:avLst/>
              </a:prstGeom>
              <a:noFill/>
              <a:ln>
                <a:noFill/>
              </a:ln>
            </p:spPr>
            <p:txBody>
              <a:bodyPr spcFirstLastPara="1" wrap="square" lIns="91401" tIns="45688" rIns="91401" bIns="45688" anchor="t" anchorCtr="0">
                <a:spAutoFit/>
              </a:bodyPr>
              <a:lstStyle/>
              <a:p>
                <a:pPr algn="ctr">
                  <a:buSzPts val="2000"/>
                </a:pPr>
                <a:r>
                  <a:rPr lang="en-US" sz="1999"/>
                  <a:t>Mouse movements and clicks</a:t>
                </a:r>
                <a:endParaRPr sz="1799"/>
              </a:p>
            </p:txBody>
          </p:sp>
        </p:grpSp>
        <p:pic>
          <p:nvPicPr>
            <p:cNvPr id="33" name="Google Shape;33;p6"/>
            <p:cNvPicPr preferRelativeResize="0"/>
            <p:nvPr/>
          </p:nvPicPr>
          <p:blipFill rotWithShape="1">
            <a:blip r:embed="rId3">
              <a:alphaModFix/>
            </a:blip>
            <a:srcRect/>
            <a:stretch/>
          </p:blipFill>
          <p:spPr>
            <a:xfrm>
              <a:off x="5702808" y="3103398"/>
              <a:ext cx="649224" cy="649224"/>
            </a:xfrm>
            <a:prstGeom prst="rect">
              <a:avLst/>
            </a:prstGeom>
            <a:noFill/>
            <a:ln>
              <a:noFill/>
            </a:ln>
          </p:spPr>
        </p:pic>
      </p:grpSp>
      <p:grpSp>
        <p:nvGrpSpPr>
          <p:cNvPr id="34" name="Google Shape;34;p6"/>
          <p:cNvGrpSpPr/>
          <p:nvPr/>
        </p:nvGrpSpPr>
        <p:grpSpPr>
          <a:xfrm>
            <a:off x="712602" y="2551343"/>
            <a:ext cx="3277334" cy="2407610"/>
            <a:chOff x="711324" y="2852376"/>
            <a:chExt cx="3278188" cy="2408307"/>
          </a:xfrm>
        </p:grpSpPr>
        <p:sp>
          <p:nvSpPr>
            <p:cNvPr id="35" name="Google Shape;35;p6"/>
            <p:cNvSpPr/>
            <p:nvPr/>
          </p:nvSpPr>
          <p:spPr>
            <a:xfrm>
              <a:off x="711324" y="3456390"/>
              <a:ext cx="3278188" cy="1804293"/>
            </a:xfrm>
            <a:prstGeom prst="roundRect">
              <a:avLst>
                <a:gd name="adj" fmla="val 16667"/>
              </a:avLst>
            </a:prstGeom>
            <a:noFill/>
            <a:ln w="28575" cap="flat" cmpd="sng">
              <a:solidFill>
                <a:srgbClr val="0067DF"/>
              </a:solidFill>
              <a:prstDash val="solid"/>
              <a:miter lim="800000"/>
              <a:headEnd type="none" w="sm" len="sm"/>
              <a:tailEnd type="none" w="sm" len="sm"/>
            </a:ln>
          </p:spPr>
          <p:txBody>
            <a:bodyPr spcFirstLastPara="1" wrap="square" lIns="0" tIns="0" rIns="0" bIns="0" anchor="ctr" anchorCtr="0">
              <a:noAutofit/>
            </a:bodyPr>
            <a:lstStyle/>
            <a:p>
              <a:pPr algn="ctr">
                <a:buSzPts val="1400"/>
              </a:pPr>
              <a:endParaRPr sz="1799">
                <a:solidFill>
                  <a:srgbClr val="FFFFFF"/>
                </a:solidFill>
              </a:endParaRPr>
            </a:p>
          </p:txBody>
        </p:sp>
        <p:sp>
          <p:nvSpPr>
            <p:cNvPr id="36" name="Google Shape;36;p6"/>
            <p:cNvSpPr/>
            <p:nvPr/>
          </p:nvSpPr>
          <p:spPr>
            <a:xfrm>
              <a:off x="711325" y="4345107"/>
              <a:ext cx="3278187" cy="400110"/>
            </a:xfrm>
            <a:prstGeom prst="rect">
              <a:avLst/>
            </a:prstGeom>
            <a:noFill/>
            <a:ln>
              <a:noFill/>
            </a:ln>
          </p:spPr>
          <p:txBody>
            <a:bodyPr spcFirstLastPara="1" wrap="square" lIns="91401" tIns="45688" rIns="91401" bIns="45688" anchor="t" anchorCtr="0">
              <a:spAutoFit/>
            </a:bodyPr>
            <a:lstStyle/>
            <a:p>
              <a:pPr algn="ctr">
                <a:buSzPts val="2000"/>
              </a:pPr>
              <a:r>
                <a:rPr lang="en-US" sz="1999"/>
                <a:t>Keyboard inputs</a:t>
              </a:r>
              <a:endParaRPr sz="1799"/>
            </a:p>
          </p:txBody>
        </p:sp>
        <p:sp>
          <p:nvSpPr>
            <p:cNvPr id="37" name="Google Shape;37;p6"/>
            <p:cNvSpPr/>
            <p:nvPr/>
          </p:nvSpPr>
          <p:spPr>
            <a:xfrm>
              <a:off x="1736849" y="2852376"/>
              <a:ext cx="1227138" cy="1227173"/>
            </a:xfrm>
            <a:prstGeom prst="ellipse">
              <a:avLst/>
            </a:prstGeom>
            <a:solidFill>
              <a:srgbClr val="0067DF"/>
            </a:solidFill>
            <a:ln w="19050" cap="flat" cmpd="sng">
              <a:solidFill>
                <a:srgbClr val="0067DF"/>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wrap="square" lIns="0" tIns="0" rIns="0" bIns="0" anchor="ctr" anchorCtr="0">
              <a:noAutofit/>
            </a:bodyPr>
            <a:lstStyle/>
            <a:p>
              <a:pPr algn="ctr">
                <a:buClr>
                  <a:schemeClr val="dk1"/>
                </a:buClr>
                <a:buSzPts val="1400"/>
              </a:pPr>
              <a:endParaRPr sz="1799">
                <a:solidFill>
                  <a:schemeClr val="lt1"/>
                </a:solidFill>
              </a:endParaRPr>
            </a:p>
          </p:txBody>
        </p:sp>
        <p:pic>
          <p:nvPicPr>
            <p:cNvPr id="38" name="Google Shape;38;p6"/>
            <p:cNvPicPr preferRelativeResize="0"/>
            <p:nvPr/>
          </p:nvPicPr>
          <p:blipFill rotWithShape="1">
            <a:blip r:embed="rId4">
              <a:alphaModFix/>
            </a:blip>
            <a:srcRect/>
            <a:stretch/>
          </p:blipFill>
          <p:spPr>
            <a:xfrm>
              <a:off x="2025806" y="3103398"/>
              <a:ext cx="649224" cy="649224"/>
            </a:xfrm>
            <a:prstGeom prst="rect">
              <a:avLst/>
            </a:prstGeom>
            <a:noFill/>
            <a:ln>
              <a:noFill/>
            </a:ln>
          </p:spPr>
        </p:pic>
      </p:grpSp>
      <p:grpSp>
        <p:nvGrpSpPr>
          <p:cNvPr id="39" name="Google Shape;39;p6"/>
          <p:cNvGrpSpPr/>
          <p:nvPr/>
        </p:nvGrpSpPr>
        <p:grpSpPr>
          <a:xfrm>
            <a:off x="8065576" y="2551343"/>
            <a:ext cx="3277333" cy="2407610"/>
            <a:chOff x="8065327" y="2852376"/>
            <a:chExt cx="3278188" cy="2408307"/>
          </a:xfrm>
        </p:grpSpPr>
        <p:sp>
          <p:nvSpPr>
            <p:cNvPr id="40" name="Google Shape;40;p6"/>
            <p:cNvSpPr/>
            <p:nvPr/>
          </p:nvSpPr>
          <p:spPr>
            <a:xfrm>
              <a:off x="8065327" y="3455644"/>
              <a:ext cx="3278188" cy="1805039"/>
            </a:xfrm>
            <a:prstGeom prst="roundRect">
              <a:avLst>
                <a:gd name="adj" fmla="val 16667"/>
              </a:avLst>
            </a:prstGeom>
            <a:noFill/>
            <a:ln w="28575" cap="flat" cmpd="sng">
              <a:solidFill>
                <a:schemeClr val="accent5"/>
              </a:solidFill>
              <a:prstDash val="solid"/>
              <a:miter lim="800000"/>
              <a:headEnd type="none" w="sm" len="sm"/>
              <a:tailEnd type="none" w="sm" len="sm"/>
            </a:ln>
          </p:spPr>
          <p:txBody>
            <a:bodyPr spcFirstLastPara="1" wrap="square" lIns="0" tIns="0" rIns="0" bIns="0" anchor="ctr" anchorCtr="0">
              <a:noAutofit/>
            </a:bodyPr>
            <a:lstStyle/>
            <a:p>
              <a:pPr algn="ctr">
                <a:buClr>
                  <a:schemeClr val="dk1"/>
                </a:buClr>
                <a:buSzPts val="1400"/>
              </a:pPr>
              <a:endParaRPr sz="1799">
                <a:solidFill>
                  <a:schemeClr val="lt1"/>
                </a:solidFill>
              </a:endParaRPr>
            </a:p>
          </p:txBody>
        </p:sp>
        <p:sp>
          <p:nvSpPr>
            <p:cNvPr id="41" name="Google Shape;41;p6"/>
            <p:cNvSpPr/>
            <p:nvPr/>
          </p:nvSpPr>
          <p:spPr>
            <a:xfrm>
              <a:off x="8065327" y="4358536"/>
              <a:ext cx="3278187" cy="400110"/>
            </a:xfrm>
            <a:prstGeom prst="rect">
              <a:avLst/>
            </a:prstGeom>
            <a:noFill/>
            <a:ln>
              <a:noFill/>
            </a:ln>
          </p:spPr>
          <p:txBody>
            <a:bodyPr spcFirstLastPara="1" wrap="square" lIns="91401" tIns="45688" rIns="91401" bIns="45688" anchor="t" anchorCtr="0">
              <a:spAutoFit/>
            </a:bodyPr>
            <a:lstStyle/>
            <a:p>
              <a:pPr algn="ctr">
                <a:buSzPts val="2000"/>
              </a:pPr>
              <a:r>
                <a:rPr lang="en-US" sz="1999"/>
                <a:t>Reading computer screen</a:t>
              </a:r>
              <a:endParaRPr sz="1799"/>
            </a:p>
          </p:txBody>
        </p:sp>
        <p:sp>
          <p:nvSpPr>
            <p:cNvPr id="42" name="Google Shape;42;p6"/>
            <p:cNvSpPr/>
            <p:nvPr/>
          </p:nvSpPr>
          <p:spPr>
            <a:xfrm>
              <a:off x="9090852" y="2852376"/>
              <a:ext cx="1227137" cy="1227173"/>
            </a:xfrm>
            <a:prstGeom prst="ellipse">
              <a:avLst/>
            </a:prstGeom>
            <a:solidFill>
              <a:schemeClr val="accent5"/>
            </a:solidFill>
            <a:ln w="19050" cap="flat" cmpd="sng">
              <a:solidFill>
                <a:schemeClr val="accent5"/>
              </a:solidFill>
              <a:prstDash val="solid"/>
              <a:miter lim="800000"/>
              <a:headEnd type="none" w="sm" len="sm"/>
              <a:tailEnd type="none" w="sm" len="sm"/>
            </a:ln>
            <a:effectLst>
              <a:outerShdw blurRad="50800" dist="38100" dir="2700000" algn="tl" rotWithShape="0">
                <a:srgbClr val="000000">
                  <a:alpha val="40000"/>
                </a:srgbClr>
              </a:outerShdw>
            </a:effectLst>
          </p:spPr>
          <p:txBody>
            <a:bodyPr spcFirstLastPara="1" wrap="square" lIns="0" tIns="0" rIns="0" bIns="0" anchor="ctr" anchorCtr="0">
              <a:noAutofit/>
            </a:bodyPr>
            <a:lstStyle/>
            <a:p>
              <a:pPr algn="ctr">
                <a:buClr>
                  <a:schemeClr val="dk1"/>
                </a:buClr>
                <a:buSzPts val="1400"/>
              </a:pPr>
              <a:endParaRPr sz="1799">
                <a:solidFill>
                  <a:schemeClr val="lt1"/>
                </a:solidFill>
              </a:endParaRPr>
            </a:p>
          </p:txBody>
        </p:sp>
        <p:pic>
          <p:nvPicPr>
            <p:cNvPr id="43" name="Google Shape;43;p6"/>
            <p:cNvPicPr preferRelativeResize="0"/>
            <p:nvPr/>
          </p:nvPicPr>
          <p:blipFill rotWithShape="1">
            <a:blip r:embed="rId5">
              <a:alphaModFix/>
            </a:blip>
            <a:srcRect/>
            <a:stretch/>
          </p:blipFill>
          <p:spPr>
            <a:xfrm>
              <a:off x="9379808" y="3144756"/>
              <a:ext cx="649224" cy="649224"/>
            </a:xfrm>
            <a:prstGeom prst="rect">
              <a:avLst/>
            </a:prstGeom>
            <a:noFill/>
            <a:ln>
              <a:noFill/>
            </a:ln>
          </p:spPr>
        </p:pic>
      </p:grpSp>
      <p:pic>
        <p:nvPicPr>
          <p:cNvPr id="44" name="Google Shape;44;p6"/>
          <p:cNvPicPr preferRelativeResize="0"/>
          <p:nvPr/>
        </p:nvPicPr>
        <p:blipFill rotWithShape="1">
          <a:blip r:embed="rId6">
            <a:alphaModFix/>
          </a:blip>
          <a:srcRect l="7141" r="7845" b="10320"/>
          <a:stretch/>
        </p:blipFill>
        <p:spPr>
          <a:xfrm>
            <a:off x="1103021" y="4756831"/>
            <a:ext cx="2496850" cy="1755743"/>
          </a:xfrm>
          <a:prstGeom prst="roundRect">
            <a:avLst>
              <a:gd name="adj" fmla="val 5439"/>
            </a:avLst>
          </a:prstGeom>
          <a:noFill/>
          <a:ln>
            <a:noFill/>
          </a:ln>
        </p:spPr>
      </p:pic>
      <p:pic>
        <p:nvPicPr>
          <p:cNvPr id="45" name="Google Shape;45;p6"/>
          <p:cNvPicPr preferRelativeResize="0"/>
          <p:nvPr/>
        </p:nvPicPr>
        <p:blipFill rotWithShape="1">
          <a:blip r:embed="rId7">
            <a:alphaModFix/>
          </a:blip>
          <a:srcRect r="15153"/>
          <a:stretch/>
        </p:blipFill>
        <p:spPr>
          <a:xfrm>
            <a:off x="4768529" y="4761178"/>
            <a:ext cx="2651767" cy="1758086"/>
          </a:xfrm>
          <a:prstGeom prst="roundRect">
            <a:avLst>
              <a:gd name="adj" fmla="val 5439"/>
            </a:avLst>
          </a:prstGeom>
          <a:noFill/>
          <a:ln>
            <a:noFill/>
          </a:ln>
        </p:spPr>
      </p:pic>
      <p:pic>
        <p:nvPicPr>
          <p:cNvPr id="46" name="Google Shape;46;p6"/>
          <p:cNvPicPr preferRelativeResize="0"/>
          <p:nvPr/>
        </p:nvPicPr>
        <p:blipFill rotWithShape="1">
          <a:blip r:embed="rId8">
            <a:alphaModFix/>
          </a:blip>
          <a:srcRect r="32536" b="16859"/>
          <a:stretch/>
        </p:blipFill>
        <p:spPr>
          <a:xfrm>
            <a:off x="8455351" y="4751737"/>
            <a:ext cx="2496263" cy="1730582"/>
          </a:xfrm>
          <a:prstGeom prst="roundRect">
            <a:avLst>
              <a:gd name="adj" fmla="val 5439"/>
            </a:avLst>
          </a:prstGeom>
          <a:noFill/>
          <a:ln>
            <a:noFill/>
          </a:ln>
        </p:spPr>
      </p:pic>
      <p:pic>
        <p:nvPicPr>
          <p:cNvPr id="3" name="Picture 2">
            <a:extLst>
              <a:ext uri="{FF2B5EF4-FFF2-40B4-BE49-F238E27FC236}">
                <a16:creationId xmlns:a16="http://schemas.microsoft.com/office/drawing/2014/main" id="{405D21CB-A222-0AE0-7753-50F69B5062C9}"/>
              </a:ext>
            </a:extLst>
          </p:cNvPr>
          <p:cNvPicPr>
            <a:picLocks noChangeAspect="1"/>
          </p:cNvPicPr>
          <p:nvPr/>
        </p:nvPicPr>
        <p:blipFill>
          <a:blip r:embed="rId9"/>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2392129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50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par>
                          <p:cTn id="11" fill="hold">
                            <p:stCondLst>
                              <p:cond delay="500"/>
                            </p:stCondLst>
                            <p:childTnLst>
                              <p:par>
                                <p:cTn id="12" presetID="10" presetClass="entr" presetSubtype="0" fill="hold" nodeType="afterEffect">
                                  <p:stCondLst>
                                    <p:cond delay="50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par>
                                <p:cTn id="15" presetID="10" presetClass="entr" presetSubtype="0" fill="hold" nodeType="withEffect">
                                  <p:stCondLst>
                                    <p:cond delay="50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par>
                          <p:cTn id="18" fill="hold">
                            <p:stCondLst>
                              <p:cond delay="1000"/>
                            </p:stCondLst>
                            <p:childTnLst>
                              <p:par>
                                <p:cTn id="19" presetID="10" presetClass="entr" presetSubtype="0" fill="hold" nodeType="afterEffect">
                                  <p:stCondLst>
                                    <p:cond delay="50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nodeType="withEffect">
                                  <p:stCondLst>
                                    <p:cond delay="50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Google Shape;588;p10">
            <a:extLst>
              <a:ext uri="{FF2B5EF4-FFF2-40B4-BE49-F238E27FC236}">
                <a16:creationId xmlns:a16="http://schemas.microsoft.com/office/drawing/2014/main" id="{556158AB-862F-DAA5-7832-F38AD20052EC}"/>
              </a:ext>
            </a:extLst>
          </p:cNvPr>
          <p:cNvSpPr txBox="1">
            <a:spLocks noGrp="1" noChangeArrowheads="1"/>
          </p:cNvSpPr>
          <p:nvPr>
            <p:ph type="body" idx="1"/>
          </p:nvPr>
        </p:nvSpPr>
        <p:spPr>
          <a:xfrm>
            <a:off x="371475" y="1268413"/>
            <a:ext cx="9144000" cy="4895850"/>
          </a:xfrm>
        </p:spPr>
        <p:txBody>
          <a:bodyPr/>
          <a:lstStyle/>
          <a:p>
            <a:pPr marL="0" indent="0" eaLnBrk="1" hangingPunct="1">
              <a:spcBef>
                <a:spcPct val="0"/>
              </a:spcBef>
              <a:spcAft>
                <a:spcPct val="0"/>
              </a:spcAft>
              <a:buClr>
                <a:srgbClr val="000000"/>
              </a:buClr>
            </a:pPr>
            <a:r>
              <a:rPr lang="en-US" altLang="en-US">
                <a:latin typeface="Arial" panose="020B0604020202020204" pitchFamily="34" charset="0"/>
                <a:cs typeface="Arial" panose="020B0604020202020204" pitchFamily="34" charset="0"/>
              </a:rPr>
              <a:t>Some examples where RPA is deployed in businesses departments today are: </a:t>
            </a:r>
          </a:p>
        </p:txBody>
      </p:sp>
      <p:sp>
        <p:nvSpPr>
          <p:cNvPr id="27651" name="Google Shape;589;p10">
            <a:extLst>
              <a:ext uri="{FF2B5EF4-FFF2-40B4-BE49-F238E27FC236}">
                <a16:creationId xmlns:a16="http://schemas.microsoft.com/office/drawing/2014/main" id="{E82F1FDE-A1A7-1A2D-45B6-F02B5F0D2D24}"/>
              </a:ext>
            </a:extLst>
          </p:cNvPr>
          <p:cNvSpPr txBox="1">
            <a:spLocks noGrp="1" noChangeArrowheads="1"/>
          </p:cNvSpPr>
          <p:nvPr>
            <p:ph type="title"/>
          </p:nvPr>
        </p:nvSpPr>
        <p:spPr>
          <a:xfrm>
            <a:off x="381000" y="365125"/>
            <a:ext cx="7550150" cy="682625"/>
          </a:xfrm>
        </p:spPr>
        <p:txBody>
          <a:bodyPr/>
          <a:lstStyle/>
          <a:p>
            <a:pPr eaLnBrk="1" hangingPunct="1">
              <a:spcBef>
                <a:spcPct val="0"/>
              </a:spcBef>
              <a:spcAft>
                <a:spcPct val="0"/>
              </a:spcAft>
              <a:buClr>
                <a:srgbClr val="000000"/>
              </a:buClr>
              <a:buSzPts val="2800"/>
            </a:pPr>
            <a:r>
              <a:rPr lang="en-US" altLang="en-US" sz="2800" b="1">
                <a:latin typeface="Arial" panose="020B0604020202020204" pitchFamily="34" charset="0"/>
                <a:cs typeface="Arial" panose="020B0604020202020204" pitchFamily="34" charset="0"/>
              </a:rPr>
              <a:t>Use of RPA in Business</a:t>
            </a:r>
          </a:p>
        </p:txBody>
      </p:sp>
      <p:grpSp>
        <p:nvGrpSpPr>
          <p:cNvPr id="27652" name="Google Shape;590;p10">
            <a:extLst>
              <a:ext uri="{FF2B5EF4-FFF2-40B4-BE49-F238E27FC236}">
                <a16:creationId xmlns:a16="http://schemas.microsoft.com/office/drawing/2014/main" id="{600B3334-8A84-509D-B7AC-5BB9143893C6}"/>
              </a:ext>
            </a:extLst>
          </p:cNvPr>
          <p:cNvGrpSpPr>
            <a:grpSpLocks/>
          </p:cNvGrpSpPr>
          <p:nvPr/>
        </p:nvGrpSpPr>
        <p:grpSpPr bwMode="auto">
          <a:xfrm>
            <a:off x="769938" y="2000250"/>
            <a:ext cx="2138362" cy="2246313"/>
            <a:chOff x="1169669" y="1999504"/>
            <a:chExt cx="2139838" cy="2246470"/>
          </a:xfrm>
        </p:grpSpPr>
        <p:sp>
          <p:nvSpPr>
            <p:cNvPr id="29737" name="Google Shape;591;p10">
              <a:extLst>
                <a:ext uri="{FF2B5EF4-FFF2-40B4-BE49-F238E27FC236}">
                  <a16:creationId xmlns:a16="http://schemas.microsoft.com/office/drawing/2014/main" id="{812CBBE1-EFE4-F343-3EB2-DF2F2DDAF029}"/>
                </a:ext>
              </a:extLst>
            </p:cNvPr>
            <p:cNvSpPr txBox="1">
              <a:spLocks noChangeArrowheads="1"/>
            </p:cNvSpPr>
            <p:nvPr/>
          </p:nvSpPr>
          <p:spPr bwMode="auto">
            <a:xfrm>
              <a:off x="1169669" y="3046492"/>
              <a:ext cx="2009220" cy="324612"/>
            </a:xfrm>
            <a:prstGeom prst="rect">
              <a:avLst/>
            </a:prstGeom>
            <a:noFill/>
            <a:ln>
              <a:noFill/>
            </a:ln>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defRPr/>
              </a:pPr>
              <a:r>
                <a:rPr lang="en-US" altLang="en-US" sz="1800" b="1"/>
                <a:t>Education</a:t>
              </a:r>
              <a:r>
                <a:rPr lang="en-US" altLang="en-US" sz="1800" b="1">
                  <a:highlight>
                    <a:srgbClr val="FFFF00"/>
                  </a:highlight>
                </a:rPr>
                <a:t> </a:t>
              </a:r>
              <a:endParaRPr lang="en-US" altLang="en-US">
                <a:highlight>
                  <a:srgbClr val="FFFF00"/>
                </a:highlight>
              </a:endParaRPr>
            </a:p>
          </p:txBody>
        </p:sp>
        <p:sp>
          <p:nvSpPr>
            <p:cNvPr id="27690" name="Google Shape;592;p10">
              <a:extLst>
                <a:ext uri="{FF2B5EF4-FFF2-40B4-BE49-F238E27FC236}">
                  <a16:creationId xmlns:a16="http://schemas.microsoft.com/office/drawing/2014/main" id="{18D15994-AAA2-37C1-AE86-D1757DF6BF4C}"/>
                </a:ext>
              </a:extLst>
            </p:cNvPr>
            <p:cNvSpPr txBox="1">
              <a:spLocks noChangeArrowheads="1"/>
            </p:cNvSpPr>
            <p:nvPr/>
          </p:nvSpPr>
          <p:spPr bwMode="auto">
            <a:xfrm>
              <a:off x="1300287" y="3434603"/>
              <a:ext cx="2009220"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IN" altLang="en-US"/>
                <a:t>Enrolment Process</a:t>
              </a:r>
              <a:endParaRPr lang="en-US" altLang="en-US"/>
            </a:p>
            <a:p>
              <a:pPr eaLnBrk="1" hangingPunct="1">
                <a:lnSpc>
                  <a:spcPct val="110000"/>
                </a:lnSpc>
                <a:buSzPts val="1400"/>
                <a:buFont typeface="Arial" panose="020B0604020202020204" pitchFamily="34" charset="0"/>
                <a:buChar char="•"/>
              </a:pPr>
              <a:r>
                <a:rPr lang="en-US" altLang="en-US"/>
                <a:t>Attendance Robot</a:t>
              </a:r>
            </a:p>
            <a:p>
              <a:pPr eaLnBrk="1" hangingPunct="1">
                <a:lnSpc>
                  <a:spcPct val="110000"/>
                </a:lnSpc>
                <a:buSzPts val="1400"/>
                <a:buFont typeface="Arial" panose="020B0604020202020204" pitchFamily="34" charset="0"/>
                <a:buChar char="•"/>
              </a:pPr>
              <a:r>
                <a:rPr lang="en-IN" altLang="en-US"/>
                <a:t>Scheduling Meetings</a:t>
              </a:r>
            </a:p>
            <a:p>
              <a:pPr eaLnBrk="1" hangingPunct="1">
                <a:lnSpc>
                  <a:spcPct val="110000"/>
                </a:lnSpc>
                <a:buSzPts val="1400"/>
                <a:buFont typeface="Arial" panose="020B0604020202020204" pitchFamily="34" charset="0"/>
                <a:buChar char="•"/>
              </a:pPr>
              <a:r>
                <a:rPr lang="en-IN" altLang="en-US"/>
                <a:t>Classroom and Online Learning</a:t>
              </a:r>
            </a:p>
            <a:p>
              <a:pPr eaLnBrk="1" hangingPunct="1">
                <a:lnSpc>
                  <a:spcPct val="110000"/>
                </a:lnSpc>
                <a:buSzPts val="1400"/>
                <a:buFont typeface="Arial" panose="020B0604020202020204" pitchFamily="34" charset="0"/>
                <a:buChar char="•"/>
              </a:pPr>
              <a:r>
                <a:rPr lang="en-IN" altLang="en-US"/>
                <a:t>Answering Queries</a:t>
              </a:r>
            </a:p>
            <a:p>
              <a:pPr eaLnBrk="1" hangingPunct="1">
                <a:lnSpc>
                  <a:spcPct val="110000"/>
                </a:lnSpc>
                <a:buSzPts val="1400"/>
                <a:buFont typeface="Arial" panose="020B0604020202020204" pitchFamily="34" charset="0"/>
                <a:buChar char="•"/>
              </a:pPr>
              <a:r>
                <a:rPr lang="en-IN" altLang="en-US"/>
                <a:t>Library Robots - Alerts</a:t>
              </a:r>
              <a:endParaRPr lang="en-US" altLang="en-US"/>
            </a:p>
          </p:txBody>
        </p:sp>
        <p:grpSp>
          <p:nvGrpSpPr>
            <p:cNvPr id="27691" name="Google Shape;593;p10">
              <a:extLst>
                <a:ext uri="{FF2B5EF4-FFF2-40B4-BE49-F238E27FC236}">
                  <a16:creationId xmlns:a16="http://schemas.microsoft.com/office/drawing/2014/main" id="{60E7610B-EA68-9D25-43C0-2B6890754EAA}"/>
                </a:ext>
              </a:extLst>
            </p:cNvPr>
            <p:cNvGrpSpPr>
              <a:grpSpLocks/>
            </p:cNvGrpSpPr>
            <p:nvPr/>
          </p:nvGrpSpPr>
          <p:grpSpPr bwMode="auto">
            <a:xfrm>
              <a:off x="1717079" y="1999504"/>
              <a:ext cx="914400" cy="914400"/>
              <a:chOff x="1717079" y="1999504"/>
              <a:chExt cx="914400" cy="914400"/>
            </a:xfrm>
          </p:grpSpPr>
          <p:sp>
            <p:nvSpPr>
              <p:cNvPr id="27692" name="Google Shape;594;p10">
                <a:extLst>
                  <a:ext uri="{FF2B5EF4-FFF2-40B4-BE49-F238E27FC236}">
                    <a16:creationId xmlns:a16="http://schemas.microsoft.com/office/drawing/2014/main" id="{A5D15B68-8299-551F-6B51-E43B0BCBB7DB}"/>
                  </a:ext>
                </a:extLst>
              </p:cNvPr>
              <p:cNvSpPr>
                <a:spLocks noChangeArrowheads="1"/>
              </p:cNvSpPr>
              <p:nvPr/>
            </p:nvSpPr>
            <p:spPr bwMode="auto">
              <a:xfrm>
                <a:off x="1717079"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93" name="Google Shape;595;p10">
                <a:extLst>
                  <a:ext uri="{FF2B5EF4-FFF2-40B4-BE49-F238E27FC236}">
                    <a16:creationId xmlns:a16="http://schemas.microsoft.com/office/drawing/2014/main" id="{9B83887D-41A0-2886-931A-8E079B56A9D5}"/>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667"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3" name="Google Shape;596;p10">
            <a:extLst>
              <a:ext uri="{FF2B5EF4-FFF2-40B4-BE49-F238E27FC236}">
                <a16:creationId xmlns:a16="http://schemas.microsoft.com/office/drawing/2014/main" id="{88D935AB-DFD0-3BF5-5B3C-EE529FA0F414}"/>
              </a:ext>
            </a:extLst>
          </p:cNvPr>
          <p:cNvGrpSpPr>
            <a:grpSpLocks/>
          </p:cNvGrpSpPr>
          <p:nvPr/>
        </p:nvGrpSpPr>
        <p:grpSpPr bwMode="auto">
          <a:xfrm>
            <a:off x="5924550" y="2000250"/>
            <a:ext cx="2249488" cy="2246313"/>
            <a:chOff x="6057646" y="1999504"/>
            <a:chExt cx="2249490" cy="2246470"/>
          </a:xfrm>
        </p:grpSpPr>
        <p:sp>
          <p:nvSpPr>
            <p:cNvPr id="27684" name="Google Shape;597;p10">
              <a:extLst>
                <a:ext uri="{FF2B5EF4-FFF2-40B4-BE49-F238E27FC236}">
                  <a16:creationId xmlns:a16="http://schemas.microsoft.com/office/drawing/2014/main" id="{97EA410E-58FC-D786-A124-2C8928082D27}"/>
                </a:ext>
              </a:extLst>
            </p:cNvPr>
            <p:cNvSpPr txBox="1">
              <a:spLocks noChangeArrowheads="1"/>
            </p:cNvSpPr>
            <p:nvPr/>
          </p:nvSpPr>
          <p:spPr bwMode="auto">
            <a:xfrm>
              <a:off x="6177781"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IT</a:t>
              </a:r>
              <a:endParaRPr lang="en-US" altLang="en-US"/>
            </a:p>
          </p:txBody>
        </p:sp>
        <p:sp>
          <p:nvSpPr>
            <p:cNvPr id="27685" name="Google Shape;598;p10">
              <a:extLst>
                <a:ext uri="{FF2B5EF4-FFF2-40B4-BE49-F238E27FC236}">
                  <a16:creationId xmlns:a16="http://schemas.microsoft.com/office/drawing/2014/main" id="{0CDE66AE-4B8D-DAFD-9049-6D0046AB9DC7}"/>
                </a:ext>
              </a:extLst>
            </p:cNvPr>
            <p:cNvSpPr txBox="1">
              <a:spLocks noChangeArrowheads="1"/>
            </p:cNvSpPr>
            <p:nvPr/>
          </p:nvSpPr>
          <p:spPr bwMode="auto">
            <a:xfrm>
              <a:off x="6057646" y="3434603"/>
              <a:ext cx="2249490"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Server &amp; app monitoring</a:t>
              </a:r>
            </a:p>
            <a:p>
              <a:pPr eaLnBrk="1" hangingPunct="1">
                <a:lnSpc>
                  <a:spcPct val="110000"/>
                </a:lnSpc>
                <a:buSzPts val="1400"/>
                <a:buFont typeface="Arial" panose="020B0604020202020204" pitchFamily="34" charset="0"/>
                <a:buChar char="•"/>
              </a:pPr>
              <a:r>
                <a:rPr lang="en-US" altLang="en-US"/>
                <a:t>Routine maintenance &amp; monitoring</a:t>
              </a:r>
            </a:p>
          </p:txBody>
        </p:sp>
        <p:grpSp>
          <p:nvGrpSpPr>
            <p:cNvPr id="27686" name="Google Shape;599;p10">
              <a:extLst>
                <a:ext uri="{FF2B5EF4-FFF2-40B4-BE49-F238E27FC236}">
                  <a16:creationId xmlns:a16="http://schemas.microsoft.com/office/drawing/2014/main" id="{2A46A5A7-D031-F111-54A9-B2EF34F92B17}"/>
                </a:ext>
              </a:extLst>
            </p:cNvPr>
            <p:cNvGrpSpPr>
              <a:grpSpLocks/>
            </p:cNvGrpSpPr>
            <p:nvPr/>
          </p:nvGrpSpPr>
          <p:grpSpPr bwMode="auto">
            <a:xfrm>
              <a:off x="6725191" y="1999504"/>
              <a:ext cx="914400" cy="914400"/>
              <a:chOff x="6725191" y="1999504"/>
              <a:chExt cx="914400" cy="914400"/>
            </a:xfrm>
          </p:grpSpPr>
          <p:sp>
            <p:nvSpPr>
              <p:cNvPr id="27687" name="Google Shape;600;p10">
                <a:extLst>
                  <a:ext uri="{FF2B5EF4-FFF2-40B4-BE49-F238E27FC236}">
                    <a16:creationId xmlns:a16="http://schemas.microsoft.com/office/drawing/2014/main" id="{C6EAFA2B-0575-5C54-143F-3CCE95BB8E8E}"/>
                  </a:ext>
                </a:extLst>
              </p:cNvPr>
              <p:cNvSpPr>
                <a:spLocks noChangeArrowheads="1"/>
              </p:cNvSpPr>
              <p:nvPr/>
            </p:nvSpPr>
            <p:spPr bwMode="auto">
              <a:xfrm>
                <a:off x="6725191"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88" name="Google Shape;601;p10">
                <a:extLst>
                  <a:ext uri="{FF2B5EF4-FFF2-40B4-BE49-F238E27FC236}">
                    <a16:creationId xmlns:a16="http://schemas.microsoft.com/office/drawing/2014/main" id="{3CDA600F-0139-A4D5-411F-7AF07742DBBA}"/>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7779"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4" name="Google Shape;602;p10">
            <a:extLst>
              <a:ext uri="{FF2B5EF4-FFF2-40B4-BE49-F238E27FC236}">
                <a16:creationId xmlns:a16="http://schemas.microsoft.com/office/drawing/2014/main" id="{7FA32AA9-D055-AF64-7099-99D1533A8EFE}"/>
              </a:ext>
            </a:extLst>
          </p:cNvPr>
          <p:cNvGrpSpPr>
            <a:grpSpLocks/>
          </p:cNvGrpSpPr>
          <p:nvPr/>
        </p:nvGrpSpPr>
        <p:grpSpPr bwMode="auto">
          <a:xfrm>
            <a:off x="8672513" y="2000250"/>
            <a:ext cx="2346325" cy="2246313"/>
            <a:chOff x="8672515" y="1999504"/>
            <a:chExt cx="2346639" cy="2246470"/>
          </a:xfrm>
        </p:grpSpPr>
        <p:sp>
          <p:nvSpPr>
            <p:cNvPr id="27679" name="Google Shape;603;p10">
              <a:extLst>
                <a:ext uri="{FF2B5EF4-FFF2-40B4-BE49-F238E27FC236}">
                  <a16:creationId xmlns:a16="http://schemas.microsoft.com/office/drawing/2014/main" id="{5D14403B-E330-A43B-5231-1FF64D7FD070}"/>
                </a:ext>
              </a:extLst>
            </p:cNvPr>
            <p:cNvSpPr txBox="1">
              <a:spLocks noChangeArrowheads="1"/>
            </p:cNvSpPr>
            <p:nvPr/>
          </p:nvSpPr>
          <p:spPr bwMode="auto">
            <a:xfrm>
              <a:off x="8841225"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HR</a:t>
              </a:r>
              <a:endParaRPr lang="en-US" altLang="en-US"/>
            </a:p>
          </p:txBody>
        </p:sp>
        <p:sp>
          <p:nvSpPr>
            <p:cNvPr id="27680" name="Google Shape;604;p10">
              <a:extLst>
                <a:ext uri="{FF2B5EF4-FFF2-40B4-BE49-F238E27FC236}">
                  <a16:creationId xmlns:a16="http://schemas.microsoft.com/office/drawing/2014/main" id="{73376165-1DDC-14E5-D561-B0A3862F0387}"/>
                </a:ext>
              </a:extLst>
            </p:cNvPr>
            <p:cNvSpPr txBox="1">
              <a:spLocks noChangeArrowheads="1"/>
            </p:cNvSpPr>
            <p:nvPr/>
          </p:nvSpPr>
          <p:spPr bwMode="auto">
            <a:xfrm>
              <a:off x="8672515" y="3434603"/>
              <a:ext cx="2346639"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Payroll</a:t>
              </a:r>
            </a:p>
            <a:p>
              <a:pPr eaLnBrk="1" hangingPunct="1">
                <a:lnSpc>
                  <a:spcPct val="110000"/>
                </a:lnSpc>
                <a:buSzPts val="1400"/>
                <a:buFont typeface="Arial" panose="020B0604020202020204" pitchFamily="34" charset="0"/>
                <a:buChar char="•"/>
              </a:pPr>
              <a:r>
                <a:rPr lang="en-US" altLang="en-US"/>
                <a:t>Onboarding &amp; offboarding</a:t>
              </a:r>
            </a:p>
          </p:txBody>
        </p:sp>
        <p:grpSp>
          <p:nvGrpSpPr>
            <p:cNvPr id="27681" name="Google Shape;605;p10">
              <a:extLst>
                <a:ext uri="{FF2B5EF4-FFF2-40B4-BE49-F238E27FC236}">
                  <a16:creationId xmlns:a16="http://schemas.microsoft.com/office/drawing/2014/main" id="{3F1D4A7E-BD9C-449F-DA3E-3F4F4105A455}"/>
                </a:ext>
              </a:extLst>
            </p:cNvPr>
            <p:cNvGrpSpPr>
              <a:grpSpLocks/>
            </p:cNvGrpSpPr>
            <p:nvPr/>
          </p:nvGrpSpPr>
          <p:grpSpPr bwMode="auto">
            <a:xfrm>
              <a:off x="9388635" y="1999504"/>
              <a:ext cx="914400" cy="914400"/>
              <a:chOff x="9388635" y="1999504"/>
              <a:chExt cx="914400" cy="914400"/>
            </a:xfrm>
          </p:grpSpPr>
          <p:sp>
            <p:nvSpPr>
              <p:cNvPr id="27682" name="Google Shape;606;p10">
                <a:extLst>
                  <a:ext uri="{FF2B5EF4-FFF2-40B4-BE49-F238E27FC236}">
                    <a16:creationId xmlns:a16="http://schemas.microsoft.com/office/drawing/2014/main" id="{7674609D-1CA0-B5EB-4A14-04F67754863D}"/>
                  </a:ext>
                </a:extLst>
              </p:cNvPr>
              <p:cNvSpPr>
                <a:spLocks noChangeArrowheads="1"/>
              </p:cNvSpPr>
              <p:nvPr/>
            </p:nvSpPr>
            <p:spPr bwMode="auto">
              <a:xfrm>
                <a:off x="9388635"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83" name="Google Shape;607;p10">
                <a:extLst>
                  <a:ext uri="{FF2B5EF4-FFF2-40B4-BE49-F238E27FC236}">
                    <a16:creationId xmlns:a16="http://schemas.microsoft.com/office/drawing/2014/main" id="{E9225F1F-7562-5961-C49C-25004DFF70B5}"/>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223"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5" name="Google Shape;608;p10">
            <a:extLst>
              <a:ext uri="{FF2B5EF4-FFF2-40B4-BE49-F238E27FC236}">
                <a16:creationId xmlns:a16="http://schemas.microsoft.com/office/drawing/2014/main" id="{5E39C196-D7E3-430E-7AC5-D8DAA32B2969}"/>
              </a:ext>
            </a:extLst>
          </p:cNvPr>
          <p:cNvGrpSpPr>
            <a:grpSpLocks/>
          </p:cNvGrpSpPr>
          <p:nvPr/>
        </p:nvGrpSpPr>
        <p:grpSpPr bwMode="auto">
          <a:xfrm>
            <a:off x="3278188" y="2000250"/>
            <a:ext cx="2147887" cy="2246313"/>
            <a:chOff x="3544269" y="1999504"/>
            <a:chExt cx="2147997" cy="2246470"/>
          </a:xfrm>
        </p:grpSpPr>
        <p:sp>
          <p:nvSpPr>
            <p:cNvPr id="27674" name="Google Shape;609;p10">
              <a:extLst>
                <a:ext uri="{FF2B5EF4-FFF2-40B4-BE49-F238E27FC236}">
                  <a16:creationId xmlns:a16="http://schemas.microsoft.com/office/drawing/2014/main" id="{3329C913-1D2B-6BF3-F788-CCAF4912396A}"/>
                </a:ext>
              </a:extLst>
            </p:cNvPr>
            <p:cNvSpPr txBox="1">
              <a:spLocks noChangeArrowheads="1"/>
            </p:cNvSpPr>
            <p:nvPr/>
          </p:nvSpPr>
          <p:spPr bwMode="auto">
            <a:xfrm>
              <a:off x="3613658" y="3046492"/>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Supply Chain</a:t>
              </a:r>
              <a:endParaRPr lang="en-US" altLang="en-US"/>
            </a:p>
          </p:txBody>
        </p:sp>
        <p:sp>
          <p:nvSpPr>
            <p:cNvPr id="27675" name="Google Shape;610;p10">
              <a:extLst>
                <a:ext uri="{FF2B5EF4-FFF2-40B4-BE49-F238E27FC236}">
                  <a16:creationId xmlns:a16="http://schemas.microsoft.com/office/drawing/2014/main" id="{FE64C9A7-213E-19AA-EAAE-49316D822820}"/>
                </a:ext>
              </a:extLst>
            </p:cNvPr>
            <p:cNvSpPr txBox="1">
              <a:spLocks noChangeArrowheads="1"/>
            </p:cNvSpPr>
            <p:nvPr/>
          </p:nvSpPr>
          <p:spPr bwMode="auto">
            <a:xfrm>
              <a:off x="3544269" y="3434603"/>
              <a:ext cx="2147997"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Inventory management</a:t>
              </a:r>
            </a:p>
            <a:p>
              <a:pPr eaLnBrk="1" hangingPunct="1">
                <a:lnSpc>
                  <a:spcPct val="110000"/>
                </a:lnSpc>
                <a:buSzPts val="1400"/>
                <a:buFont typeface="Arial" panose="020B0604020202020204" pitchFamily="34" charset="0"/>
                <a:buChar char="•"/>
              </a:pPr>
              <a:r>
                <a:rPr lang="en-US" altLang="en-US"/>
                <a:t>Invoice &amp; contract management</a:t>
              </a:r>
            </a:p>
          </p:txBody>
        </p:sp>
        <p:grpSp>
          <p:nvGrpSpPr>
            <p:cNvPr id="27676" name="Google Shape;611;p10">
              <a:extLst>
                <a:ext uri="{FF2B5EF4-FFF2-40B4-BE49-F238E27FC236}">
                  <a16:creationId xmlns:a16="http://schemas.microsoft.com/office/drawing/2014/main" id="{6F856C8B-9577-232E-745D-595B6A2EC7D7}"/>
                </a:ext>
              </a:extLst>
            </p:cNvPr>
            <p:cNvGrpSpPr>
              <a:grpSpLocks/>
            </p:cNvGrpSpPr>
            <p:nvPr/>
          </p:nvGrpSpPr>
          <p:grpSpPr bwMode="auto">
            <a:xfrm>
              <a:off x="4161068" y="1999504"/>
              <a:ext cx="914400" cy="914400"/>
              <a:chOff x="4161068" y="1999504"/>
              <a:chExt cx="914400" cy="914400"/>
            </a:xfrm>
          </p:grpSpPr>
          <p:sp>
            <p:nvSpPr>
              <p:cNvPr id="27677" name="Google Shape;612;p10">
                <a:extLst>
                  <a:ext uri="{FF2B5EF4-FFF2-40B4-BE49-F238E27FC236}">
                    <a16:creationId xmlns:a16="http://schemas.microsoft.com/office/drawing/2014/main" id="{BF65B4AF-08B7-5B53-2AFC-DD201FB0213D}"/>
                  </a:ext>
                </a:extLst>
              </p:cNvPr>
              <p:cNvSpPr>
                <a:spLocks noChangeArrowheads="1"/>
              </p:cNvSpPr>
              <p:nvPr/>
            </p:nvSpPr>
            <p:spPr bwMode="auto">
              <a:xfrm>
                <a:off x="4161068" y="1999504"/>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78" name="Google Shape;613;p10">
                <a:extLst>
                  <a:ext uri="{FF2B5EF4-FFF2-40B4-BE49-F238E27FC236}">
                    <a16:creationId xmlns:a16="http://schemas.microsoft.com/office/drawing/2014/main" id="{FEE487E7-FE9B-E3CC-2098-C33A22BBE953}"/>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3656" y="2132092"/>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6" name="Google Shape;614;p10">
            <a:extLst>
              <a:ext uri="{FF2B5EF4-FFF2-40B4-BE49-F238E27FC236}">
                <a16:creationId xmlns:a16="http://schemas.microsoft.com/office/drawing/2014/main" id="{A7E8E37A-B691-171B-B19E-B2ECB2225CA5}"/>
              </a:ext>
            </a:extLst>
          </p:cNvPr>
          <p:cNvGrpSpPr>
            <a:grpSpLocks/>
          </p:cNvGrpSpPr>
          <p:nvPr/>
        </p:nvGrpSpPr>
        <p:grpSpPr bwMode="auto">
          <a:xfrm>
            <a:off x="2673350" y="4360863"/>
            <a:ext cx="2009775" cy="2247900"/>
            <a:chOff x="1684241" y="4429173"/>
            <a:chExt cx="2009220" cy="2246470"/>
          </a:xfrm>
        </p:grpSpPr>
        <p:sp>
          <p:nvSpPr>
            <p:cNvPr id="27669" name="Google Shape;615;p10">
              <a:extLst>
                <a:ext uri="{FF2B5EF4-FFF2-40B4-BE49-F238E27FC236}">
                  <a16:creationId xmlns:a16="http://schemas.microsoft.com/office/drawing/2014/main" id="{271DEB5A-93A6-8D50-9B64-4F6FFA5FB3C4}"/>
                </a:ext>
              </a:extLst>
            </p:cNvPr>
            <p:cNvSpPr txBox="1">
              <a:spLocks noChangeArrowheads="1"/>
            </p:cNvSpPr>
            <p:nvPr/>
          </p:nvSpPr>
          <p:spPr bwMode="auto">
            <a:xfrm>
              <a:off x="1684241" y="5476161"/>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Client Services</a:t>
              </a:r>
              <a:endParaRPr lang="en-US" altLang="en-US"/>
            </a:p>
          </p:txBody>
        </p:sp>
        <p:sp>
          <p:nvSpPr>
            <p:cNvPr id="27670" name="Google Shape;616;p10">
              <a:extLst>
                <a:ext uri="{FF2B5EF4-FFF2-40B4-BE49-F238E27FC236}">
                  <a16:creationId xmlns:a16="http://schemas.microsoft.com/office/drawing/2014/main" id="{95768EBA-253F-481A-90E1-BED5E801A52D}"/>
                </a:ext>
              </a:extLst>
            </p:cNvPr>
            <p:cNvSpPr txBox="1">
              <a:spLocks noChangeArrowheads="1"/>
            </p:cNvSpPr>
            <p:nvPr/>
          </p:nvSpPr>
          <p:spPr bwMode="auto">
            <a:xfrm>
              <a:off x="1814859" y="5864272"/>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Address change</a:t>
              </a:r>
            </a:p>
            <a:p>
              <a:pPr eaLnBrk="1" hangingPunct="1">
                <a:lnSpc>
                  <a:spcPct val="110000"/>
                </a:lnSpc>
                <a:buSzPts val="1400"/>
                <a:buFont typeface="Arial" panose="020B0604020202020204" pitchFamily="34" charset="0"/>
                <a:buChar char="•"/>
              </a:pPr>
              <a:r>
                <a:rPr lang="en-US" altLang="en-US"/>
                <a:t>Scheduling appointments</a:t>
              </a:r>
            </a:p>
          </p:txBody>
        </p:sp>
        <p:grpSp>
          <p:nvGrpSpPr>
            <p:cNvPr id="27671" name="Google Shape;617;p10">
              <a:extLst>
                <a:ext uri="{FF2B5EF4-FFF2-40B4-BE49-F238E27FC236}">
                  <a16:creationId xmlns:a16="http://schemas.microsoft.com/office/drawing/2014/main" id="{1DC24573-67C7-9E9A-8720-955F6EF2D6A6}"/>
                </a:ext>
              </a:extLst>
            </p:cNvPr>
            <p:cNvGrpSpPr>
              <a:grpSpLocks/>
            </p:cNvGrpSpPr>
            <p:nvPr/>
          </p:nvGrpSpPr>
          <p:grpSpPr bwMode="auto">
            <a:xfrm>
              <a:off x="2231651" y="4429173"/>
              <a:ext cx="914400" cy="914400"/>
              <a:chOff x="2231651" y="4429173"/>
              <a:chExt cx="914400" cy="914400"/>
            </a:xfrm>
          </p:grpSpPr>
          <p:sp>
            <p:nvSpPr>
              <p:cNvPr id="27672" name="Google Shape;618;p10">
                <a:extLst>
                  <a:ext uri="{FF2B5EF4-FFF2-40B4-BE49-F238E27FC236}">
                    <a16:creationId xmlns:a16="http://schemas.microsoft.com/office/drawing/2014/main" id="{E9974938-31EA-4067-1093-8E1354EE1D4E}"/>
                  </a:ext>
                </a:extLst>
              </p:cNvPr>
              <p:cNvSpPr>
                <a:spLocks noChangeArrowheads="1"/>
              </p:cNvSpPr>
              <p:nvPr/>
            </p:nvSpPr>
            <p:spPr bwMode="auto">
              <a:xfrm>
                <a:off x="2231651" y="4429173"/>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73" name="Google Shape;619;p10">
                <a:extLst>
                  <a:ext uri="{FF2B5EF4-FFF2-40B4-BE49-F238E27FC236}">
                    <a16:creationId xmlns:a16="http://schemas.microsoft.com/office/drawing/2014/main" id="{D64452CC-07EC-CEBE-229F-C81327FAE548}"/>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4239" y="4561761"/>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7" name="Google Shape;620;p10">
            <a:extLst>
              <a:ext uri="{FF2B5EF4-FFF2-40B4-BE49-F238E27FC236}">
                <a16:creationId xmlns:a16="http://schemas.microsoft.com/office/drawing/2014/main" id="{B235A5A6-FE3A-0126-AA0F-8F3B31313FFD}"/>
              </a:ext>
            </a:extLst>
          </p:cNvPr>
          <p:cNvGrpSpPr>
            <a:grpSpLocks/>
          </p:cNvGrpSpPr>
          <p:nvPr/>
        </p:nvGrpSpPr>
        <p:grpSpPr bwMode="auto">
          <a:xfrm>
            <a:off x="5246688" y="4411663"/>
            <a:ext cx="2009775" cy="2247900"/>
            <a:chOff x="3869122" y="4445969"/>
            <a:chExt cx="2009220" cy="2246470"/>
          </a:xfrm>
        </p:grpSpPr>
        <p:sp>
          <p:nvSpPr>
            <p:cNvPr id="27664" name="Google Shape;621;p10">
              <a:extLst>
                <a:ext uri="{FF2B5EF4-FFF2-40B4-BE49-F238E27FC236}">
                  <a16:creationId xmlns:a16="http://schemas.microsoft.com/office/drawing/2014/main" id="{E18473ED-84F0-6170-617D-097E5A534258}"/>
                </a:ext>
              </a:extLst>
            </p:cNvPr>
            <p:cNvSpPr txBox="1">
              <a:spLocks noChangeArrowheads="1"/>
            </p:cNvSpPr>
            <p:nvPr/>
          </p:nvSpPr>
          <p:spPr bwMode="auto">
            <a:xfrm>
              <a:off x="3869122" y="5492957"/>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Accounting</a:t>
              </a:r>
              <a:endParaRPr lang="en-US" altLang="en-US"/>
            </a:p>
          </p:txBody>
        </p:sp>
        <p:sp>
          <p:nvSpPr>
            <p:cNvPr id="27665" name="Google Shape;622;p10">
              <a:extLst>
                <a:ext uri="{FF2B5EF4-FFF2-40B4-BE49-F238E27FC236}">
                  <a16:creationId xmlns:a16="http://schemas.microsoft.com/office/drawing/2014/main" id="{976D2F2F-E4CA-00B6-EDC2-1E4210C1C7F6}"/>
                </a:ext>
              </a:extLst>
            </p:cNvPr>
            <p:cNvSpPr txBox="1">
              <a:spLocks noChangeArrowheads="1"/>
            </p:cNvSpPr>
            <p:nvPr/>
          </p:nvSpPr>
          <p:spPr bwMode="auto">
            <a:xfrm>
              <a:off x="3999740" y="5881068"/>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Accounts/Reports Reconciliation</a:t>
              </a:r>
            </a:p>
            <a:p>
              <a:pPr eaLnBrk="1" hangingPunct="1">
                <a:lnSpc>
                  <a:spcPct val="110000"/>
                </a:lnSpc>
                <a:buSzPts val="1400"/>
                <a:buFont typeface="Arial" panose="020B0604020202020204" pitchFamily="34" charset="0"/>
                <a:buChar char="•"/>
              </a:pPr>
              <a:r>
                <a:rPr lang="en-US" altLang="en-US"/>
                <a:t>Account Creation &amp; Update</a:t>
              </a:r>
            </a:p>
          </p:txBody>
        </p:sp>
        <p:grpSp>
          <p:nvGrpSpPr>
            <p:cNvPr id="27666" name="Google Shape;623;p10">
              <a:extLst>
                <a:ext uri="{FF2B5EF4-FFF2-40B4-BE49-F238E27FC236}">
                  <a16:creationId xmlns:a16="http://schemas.microsoft.com/office/drawing/2014/main" id="{4E1C601A-D7AF-4306-2659-6E98618CA891}"/>
                </a:ext>
              </a:extLst>
            </p:cNvPr>
            <p:cNvGrpSpPr>
              <a:grpSpLocks/>
            </p:cNvGrpSpPr>
            <p:nvPr/>
          </p:nvGrpSpPr>
          <p:grpSpPr bwMode="auto">
            <a:xfrm>
              <a:off x="4416532" y="4445969"/>
              <a:ext cx="914400" cy="914400"/>
              <a:chOff x="4416532" y="4445969"/>
              <a:chExt cx="914400" cy="914400"/>
            </a:xfrm>
          </p:grpSpPr>
          <p:sp>
            <p:nvSpPr>
              <p:cNvPr id="27667" name="Google Shape;624;p10">
                <a:extLst>
                  <a:ext uri="{FF2B5EF4-FFF2-40B4-BE49-F238E27FC236}">
                    <a16:creationId xmlns:a16="http://schemas.microsoft.com/office/drawing/2014/main" id="{8A30D4C5-6359-D08F-D4C6-9315AD333C86}"/>
                  </a:ext>
                </a:extLst>
              </p:cNvPr>
              <p:cNvSpPr>
                <a:spLocks noChangeArrowheads="1"/>
              </p:cNvSpPr>
              <p:nvPr/>
            </p:nvSpPr>
            <p:spPr bwMode="auto">
              <a:xfrm>
                <a:off x="4416532" y="4445969"/>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68" name="Google Shape;625;p10">
                <a:extLst>
                  <a:ext uri="{FF2B5EF4-FFF2-40B4-BE49-F238E27FC236}">
                    <a16:creationId xmlns:a16="http://schemas.microsoft.com/office/drawing/2014/main" id="{06E07C5C-8671-0AE1-07D5-E9463935FBE6}"/>
                  </a:ext>
                </a:extLst>
              </p:cNvPr>
              <p:cNvPicPr preferRelativeResize="0">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49120" y="4578557"/>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7658" name="Google Shape;626;p10">
            <a:extLst>
              <a:ext uri="{FF2B5EF4-FFF2-40B4-BE49-F238E27FC236}">
                <a16:creationId xmlns:a16="http://schemas.microsoft.com/office/drawing/2014/main" id="{15A4D714-04EC-BF00-18F1-3A80AED803C5}"/>
              </a:ext>
            </a:extLst>
          </p:cNvPr>
          <p:cNvGrpSpPr>
            <a:grpSpLocks/>
          </p:cNvGrpSpPr>
          <p:nvPr/>
        </p:nvGrpSpPr>
        <p:grpSpPr bwMode="auto">
          <a:xfrm>
            <a:off x="7669213" y="4411663"/>
            <a:ext cx="2008187" cy="2247900"/>
            <a:chOff x="6310480" y="4429173"/>
            <a:chExt cx="2009220" cy="2246470"/>
          </a:xfrm>
        </p:grpSpPr>
        <p:sp>
          <p:nvSpPr>
            <p:cNvPr id="27659" name="Google Shape;627;p10">
              <a:extLst>
                <a:ext uri="{FF2B5EF4-FFF2-40B4-BE49-F238E27FC236}">
                  <a16:creationId xmlns:a16="http://schemas.microsoft.com/office/drawing/2014/main" id="{F1B60375-9FDB-AA02-70FF-A08207BD96A2}"/>
                </a:ext>
              </a:extLst>
            </p:cNvPr>
            <p:cNvSpPr txBox="1">
              <a:spLocks noChangeArrowheads="1"/>
            </p:cNvSpPr>
            <p:nvPr/>
          </p:nvSpPr>
          <p:spPr bwMode="auto">
            <a:xfrm>
              <a:off x="6310480" y="5476161"/>
              <a:ext cx="2009220" cy="32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buSzPts val="1800"/>
              </a:pPr>
              <a:r>
                <a:rPr lang="en-US" altLang="en-US" sz="1800" b="1"/>
                <a:t>Operations</a:t>
              </a:r>
              <a:endParaRPr lang="en-US" altLang="en-US"/>
            </a:p>
          </p:txBody>
        </p:sp>
        <p:sp>
          <p:nvSpPr>
            <p:cNvPr id="27660" name="Google Shape;628;p10">
              <a:extLst>
                <a:ext uri="{FF2B5EF4-FFF2-40B4-BE49-F238E27FC236}">
                  <a16:creationId xmlns:a16="http://schemas.microsoft.com/office/drawing/2014/main" id="{448872A2-064C-BD18-327B-F3B6845EAA5D}"/>
                </a:ext>
              </a:extLst>
            </p:cNvPr>
            <p:cNvSpPr txBox="1">
              <a:spLocks noChangeArrowheads="1"/>
            </p:cNvSpPr>
            <p:nvPr/>
          </p:nvSpPr>
          <p:spPr bwMode="auto">
            <a:xfrm>
              <a:off x="6439017" y="5864272"/>
              <a:ext cx="1747984" cy="81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0000"/>
                </a:lnSpc>
                <a:buSzPts val="1400"/>
                <a:buFont typeface="Arial" panose="020B0604020202020204" pitchFamily="34" charset="0"/>
                <a:buChar char="•"/>
              </a:pPr>
              <a:r>
                <a:rPr lang="en-US" altLang="en-US"/>
                <a:t>Order Creation &amp; Update</a:t>
              </a:r>
            </a:p>
            <a:p>
              <a:pPr eaLnBrk="1" hangingPunct="1">
                <a:lnSpc>
                  <a:spcPct val="110000"/>
                </a:lnSpc>
                <a:buSzPts val="1400"/>
                <a:buFont typeface="Arial" panose="020B0604020202020204" pitchFamily="34" charset="0"/>
                <a:buChar char="•"/>
              </a:pPr>
              <a:r>
                <a:rPr lang="en-US" altLang="en-US"/>
                <a:t>Work Order Request</a:t>
              </a:r>
            </a:p>
          </p:txBody>
        </p:sp>
        <p:grpSp>
          <p:nvGrpSpPr>
            <p:cNvPr id="27661" name="Google Shape;629;p10">
              <a:extLst>
                <a:ext uri="{FF2B5EF4-FFF2-40B4-BE49-F238E27FC236}">
                  <a16:creationId xmlns:a16="http://schemas.microsoft.com/office/drawing/2014/main" id="{90808102-93E4-C2DD-2601-9E8602EA7091}"/>
                </a:ext>
              </a:extLst>
            </p:cNvPr>
            <p:cNvGrpSpPr>
              <a:grpSpLocks/>
            </p:cNvGrpSpPr>
            <p:nvPr/>
          </p:nvGrpSpPr>
          <p:grpSpPr bwMode="auto">
            <a:xfrm>
              <a:off x="6857890" y="4429173"/>
              <a:ext cx="914400" cy="914400"/>
              <a:chOff x="6857890" y="4429173"/>
              <a:chExt cx="914400" cy="914400"/>
            </a:xfrm>
          </p:grpSpPr>
          <p:sp>
            <p:nvSpPr>
              <p:cNvPr id="27662" name="Google Shape;630;p10">
                <a:extLst>
                  <a:ext uri="{FF2B5EF4-FFF2-40B4-BE49-F238E27FC236}">
                    <a16:creationId xmlns:a16="http://schemas.microsoft.com/office/drawing/2014/main" id="{C257BB77-D7F0-9483-D3D8-EEDCBDA92E1E}"/>
                  </a:ext>
                </a:extLst>
              </p:cNvPr>
              <p:cNvSpPr>
                <a:spLocks noChangeArrowheads="1"/>
              </p:cNvSpPr>
              <p:nvPr/>
            </p:nvSpPr>
            <p:spPr bwMode="auto">
              <a:xfrm>
                <a:off x="6857890" y="4429173"/>
                <a:ext cx="914400" cy="914400"/>
              </a:xfrm>
              <a:prstGeom prst="ellipse">
                <a:avLst/>
              </a:prstGeom>
              <a:noFill/>
              <a:ln w="38100">
                <a:solidFill>
                  <a:srgbClr val="BBBBBD"/>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ts val="1400"/>
                </a:pPr>
                <a:endParaRPr lang="en-US" altLang="en-US">
                  <a:solidFill>
                    <a:srgbClr val="FFFFFF"/>
                  </a:solidFill>
                </a:endParaRPr>
              </a:p>
            </p:txBody>
          </p:sp>
          <p:pic>
            <p:nvPicPr>
              <p:cNvPr id="27663" name="Google Shape;631;p10">
                <a:extLst>
                  <a:ext uri="{FF2B5EF4-FFF2-40B4-BE49-F238E27FC236}">
                    <a16:creationId xmlns:a16="http://schemas.microsoft.com/office/drawing/2014/main" id="{E6881A24-9FD5-81BA-6FEB-060F3355EDB7}"/>
                  </a:ext>
                </a:extLst>
              </p:cNvPr>
              <p:cNvPicPr preferRelativeResize="0">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90478" y="4561761"/>
                <a:ext cx="649224"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3" name="Picture 2" descr="A picture containing text, clipart&#10;&#10;Description automatically generated">
            <a:extLst>
              <a:ext uri="{FF2B5EF4-FFF2-40B4-BE49-F238E27FC236}">
                <a16:creationId xmlns:a16="http://schemas.microsoft.com/office/drawing/2014/main" id="{AF9DC6C9-8CD9-5E9F-395A-E6933784D5BC}"/>
              </a:ext>
            </a:extLst>
          </p:cNvPr>
          <p:cNvPicPr>
            <a:picLocks noChangeAspect="1"/>
          </p:cNvPicPr>
          <p:nvPr/>
        </p:nvPicPr>
        <p:blipFill>
          <a:blip r:embed="rId10"/>
          <a:stretch>
            <a:fillRect/>
          </a:stretch>
        </p:blipFill>
        <p:spPr>
          <a:xfrm>
            <a:off x="10640895" y="705071"/>
            <a:ext cx="753407" cy="752919"/>
          </a:xfrm>
          <a:prstGeom prst="rect">
            <a:avLst/>
          </a:prstGeom>
        </p:spPr>
      </p:pic>
    </p:spTree>
    <p:extLst>
      <p:ext uri="{BB962C8B-B14F-4D97-AF65-F5344CB8AC3E}">
        <p14:creationId xmlns:p14="http://schemas.microsoft.com/office/powerpoint/2010/main" val="3755304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2.xml><?xml version="1.0" encoding="utf-8"?>
<a:theme xmlns:a="http://schemas.openxmlformats.org/drawingml/2006/main" name="Second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3.xml><?xml version="1.0" encoding="utf-8"?>
<a:theme xmlns:a="http://schemas.openxmlformats.org/drawingml/2006/main" name="Icon template_DO NOT USE for presentation">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4.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extLst>
    <a:ext uri="{05A4C25C-085E-4340-85A3-A5531E510DB2}">
      <thm15:themeFamily xmlns:thm15="http://schemas.microsoft.com/office/thememl/2012/main" name="19-UIP-0019_UiPath_PPT_Template_m03_SOURCE" id="{4B192790-002F-3D48-B1F1-6444C353B5BB}" vid="{BCBBA195-C160-C64D-926E-FE6B93B5FCDC}"/>
    </a:ext>
  </a:extLst>
</a:theme>
</file>

<file path=ppt/theme/theme5.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econd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imary Presentation Layouts">
  <a:themeElements>
    <a:clrScheme name="Custom 25">
      <a:dk1>
        <a:srgbClr val="000000"/>
      </a:dk1>
      <a:lt1>
        <a:srgbClr val="FFFFFF"/>
      </a:lt1>
      <a:dk2>
        <a:srgbClr val="58595B"/>
      </a:dk2>
      <a:lt2>
        <a:srgbClr val="DFE3E3"/>
      </a:lt2>
      <a:accent1>
        <a:srgbClr val="FA4616"/>
      </a:accent1>
      <a:accent2>
        <a:srgbClr val="0067DF"/>
      </a:accent2>
      <a:accent3>
        <a:srgbClr val="ED145B"/>
      </a:accent3>
      <a:accent4>
        <a:srgbClr val="FFB40E"/>
      </a:accent4>
      <a:accent5>
        <a:srgbClr val="933692"/>
      </a:accent5>
      <a:accent6>
        <a:srgbClr val="38C6F4"/>
      </a:accent6>
      <a:hlink>
        <a:srgbClr val="38C6F4"/>
      </a:hlink>
      <a:folHlink>
        <a:srgbClr val="84848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58EE890FFFCF48BD720151CFB43A30" ma:contentTypeVersion="9" ma:contentTypeDescription="Create a new document." ma:contentTypeScope="" ma:versionID="065b61561669233cf7bb411eff1c9976">
  <xsd:schema xmlns:xsd="http://www.w3.org/2001/XMLSchema" xmlns:xs="http://www.w3.org/2001/XMLSchema" xmlns:p="http://schemas.microsoft.com/office/2006/metadata/properties" xmlns:ns3="e64008d2-ed49-4767-91e6-69f53a08cef2" targetNamespace="http://schemas.microsoft.com/office/2006/metadata/properties" ma:root="true" ma:fieldsID="8804fc6362a60b21bfd0735142bf4a99" ns3:_="">
    <xsd:import namespace="e64008d2-ed49-4767-91e6-69f53a08cef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4008d2-ed49-4767-91e6-69f53a08ce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_activity" ma:index="16"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e64008d2-ed49-4767-91e6-69f53a08cef2" xsi:nil="true"/>
  </documentManagement>
</p:properties>
</file>

<file path=customXml/itemProps1.xml><?xml version="1.0" encoding="utf-8"?>
<ds:datastoreItem xmlns:ds="http://schemas.openxmlformats.org/officeDocument/2006/customXml" ds:itemID="{23FF3D86-180F-4DEA-B9A1-FE7063DE5251}">
  <ds:schemaRefs>
    <ds:schemaRef ds:uri="http://schemas.microsoft.com/sharepoint/v3/contenttype/forms"/>
  </ds:schemaRefs>
</ds:datastoreItem>
</file>

<file path=customXml/itemProps2.xml><?xml version="1.0" encoding="utf-8"?>
<ds:datastoreItem xmlns:ds="http://schemas.openxmlformats.org/officeDocument/2006/customXml" ds:itemID="{3E782068-4017-40FB-8430-458D6C1D1BFE}">
  <ds:schemaRefs>
    <ds:schemaRef ds:uri="e64008d2-ed49-4767-91e6-69f53a08ce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F6CF532-9C2E-4FCC-89D7-66021AEDF50E}">
  <ds:schemaRefs>
    <ds:schemaRef ds:uri="e64008d2-ed49-4767-91e6-69f53a08ce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19-UIP-0019_UiPath_PPT_Template_m03</Template>
  <Application>Microsoft Office PowerPoint</Application>
  <PresentationFormat>Custom</PresentationFormat>
  <Slides>36</Slides>
  <Notes>20</Notes>
  <HiddenSlides>0</HiddenSlides>
  <ScaleCrop>false</ScaleCrop>
  <HeadingPairs>
    <vt:vector size="4" baseType="variant">
      <vt:variant>
        <vt:lpstr>Theme</vt:lpstr>
      </vt:variant>
      <vt:variant>
        <vt:i4>7</vt:i4>
      </vt:variant>
      <vt:variant>
        <vt:lpstr>Slide Titles</vt:lpstr>
      </vt:variant>
      <vt:variant>
        <vt:i4>36</vt:i4>
      </vt:variant>
    </vt:vector>
  </HeadingPairs>
  <TitlesOfParts>
    <vt:vector size="43" baseType="lpstr">
      <vt:lpstr>Primary Presentation Layouts</vt:lpstr>
      <vt:lpstr>Secondary Presentation Layouts</vt:lpstr>
      <vt:lpstr>Icon template_DO NOT USE for presentation</vt:lpstr>
      <vt:lpstr>Primary Presentation Layouts</vt:lpstr>
      <vt:lpstr>Primary Presentation Layouts</vt:lpstr>
      <vt:lpstr>Secondary Presentation Layouts</vt:lpstr>
      <vt:lpstr>Primary Presentation Layouts</vt:lpstr>
      <vt:lpstr>PowerPoint Presentation</vt:lpstr>
      <vt:lpstr>Don’t Forget to mark your Attendance!</vt:lpstr>
      <vt:lpstr>WHO ARE WE?</vt:lpstr>
      <vt:lpstr>AGENDA EXPLORING RPA : Careers and Opportunities</vt:lpstr>
      <vt:lpstr>Next Steps</vt:lpstr>
      <vt:lpstr>PowerPoint Presentation</vt:lpstr>
      <vt:lpstr>PowerPoint Presentation</vt:lpstr>
      <vt:lpstr>What is RPA?</vt:lpstr>
      <vt:lpstr>Use of RPA in Business</vt:lpstr>
      <vt:lpstr>PowerPoint Presentation</vt:lpstr>
      <vt:lpstr>PowerPoint Presentation</vt:lpstr>
      <vt:lpstr>By working with robots, employees save time – unlocking capacity at sca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OBOTS VS RO(BOTS)</vt:lpstr>
      <vt:lpstr>What Robots Can Do ?</vt:lpstr>
      <vt:lpstr>Why UiPath?</vt:lpstr>
      <vt:lpstr>Automation &amp; us</vt:lpstr>
      <vt:lpstr>Today:  global coverage, local expertise</vt:lpstr>
      <vt:lpstr>Users:  The UiPath Platform is top-rated</vt:lpstr>
      <vt:lpstr>UiPath Platform</vt:lpstr>
      <vt:lpstr>PowerPoint Presentation</vt:lpstr>
      <vt:lpstr>PowerPoint Presentation</vt:lpstr>
      <vt:lpstr>PowerPoint Presentation</vt:lpstr>
      <vt:lpstr>Install UiPath Studio/StudioX and Plugins</vt:lpstr>
      <vt:lpstr>PowerPoint Presentation</vt:lpstr>
      <vt:lpstr>PowerPoint Presentation</vt:lpstr>
      <vt:lpstr>It’s time to win!</vt:lpstr>
      <vt:lpstr>THANKS TO OUR CONVENER</vt:lpstr>
      <vt:lpstr>Time to feedbac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nk Automation First</dc:title>
  <dc:creator>Barbara Dorf</dc:creator>
  <cp:revision>107</cp:revision>
  <dcterms:created xsi:type="dcterms:W3CDTF">2019-04-27T00:55:32Z</dcterms:created>
  <dcterms:modified xsi:type="dcterms:W3CDTF">2023-04-19T07:4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58EE890FFFCF48BD720151CFB43A30</vt:lpwstr>
  </property>
  <property fmtid="{D5CDD505-2E9C-101B-9397-08002B2CF9AE}" pid="3" name="_dlc_DocIdItemGuid">
    <vt:lpwstr>e3af7822-760b-4f92-9bc2-a94ecc8b0934</vt:lpwstr>
  </property>
</Properties>
</file>